
<file path=[Content_Types].xml><?xml version="1.0" encoding="utf-8"?>
<Types xmlns="http://schemas.openxmlformats.org/package/2006/content-types">
  <Default Extension="png" ContentType="image/png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wdp" ContentType="image/vnd.ms-photo"/>
  <Default Extension="gif" ContentType="image/gif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drawings/drawing1.xml" ContentType="application/vnd.openxmlformats-officedocument.drawingml.chartshape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648" r:id="rId1"/>
  </p:sldMasterIdLst>
  <p:notesMasterIdLst>
    <p:notesMasterId r:id="rId27"/>
  </p:notesMasterIdLst>
  <p:handoutMasterIdLst>
    <p:handoutMasterId r:id="rId28"/>
  </p:handoutMasterIdLst>
  <p:sldIdLst>
    <p:sldId id="294" r:id="rId2"/>
    <p:sldId id="550" r:id="rId3"/>
    <p:sldId id="547" r:id="rId4"/>
    <p:sldId id="557" r:id="rId5"/>
    <p:sldId id="553" r:id="rId6"/>
    <p:sldId id="554" r:id="rId7"/>
    <p:sldId id="555" r:id="rId8"/>
    <p:sldId id="559" r:id="rId9"/>
    <p:sldId id="558" r:id="rId10"/>
    <p:sldId id="560" r:id="rId11"/>
    <p:sldId id="546" r:id="rId12"/>
    <p:sldId id="549" r:id="rId13"/>
    <p:sldId id="496" r:id="rId14"/>
    <p:sldId id="522" r:id="rId15"/>
    <p:sldId id="548" r:id="rId16"/>
    <p:sldId id="528" r:id="rId17"/>
    <p:sldId id="533" r:id="rId18"/>
    <p:sldId id="523" r:id="rId19"/>
    <p:sldId id="556" r:id="rId20"/>
    <p:sldId id="501" r:id="rId21"/>
    <p:sldId id="502" r:id="rId22"/>
    <p:sldId id="503" r:id="rId23"/>
    <p:sldId id="526" r:id="rId24"/>
    <p:sldId id="527" r:id="rId25"/>
    <p:sldId id="524" r:id="rId26"/>
  </p:sldIdLst>
  <p:sldSz cx="9144000" cy="6858000" type="screen4x3"/>
  <p:notesSz cx="6769100" cy="99060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3200" b="1" kern="1200">
        <a:solidFill>
          <a:srgbClr val="336699"/>
        </a:solidFill>
        <a:latin typeface="Verdana" pitchFamily="34" charset="0"/>
        <a:ea typeface="ＭＳ Ｐゴシック" pitchFamily="34" charset="-128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3200" b="1" kern="1200">
        <a:solidFill>
          <a:srgbClr val="336699"/>
        </a:solidFill>
        <a:latin typeface="Verdana" pitchFamily="34" charset="0"/>
        <a:ea typeface="ＭＳ Ｐゴシック" pitchFamily="34" charset="-128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3200" b="1" kern="1200">
        <a:solidFill>
          <a:srgbClr val="336699"/>
        </a:solidFill>
        <a:latin typeface="Verdana" pitchFamily="34" charset="0"/>
        <a:ea typeface="ＭＳ Ｐゴシック" pitchFamily="34" charset="-128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3200" b="1" kern="1200">
        <a:solidFill>
          <a:srgbClr val="336699"/>
        </a:solidFill>
        <a:latin typeface="Verdana" pitchFamily="34" charset="0"/>
        <a:ea typeface="ＭＳ Ｐゴシック" pitchFamily="34" charset="-128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3200" b="1" kern="1200">
        <a:solidFill>
          <a:srgbClr val="336699"/>
        </a:solidFill>
        <a:latin typeface="Verdana" pitchFamily="34" charset="0"/>
        <a:ea typeface="ＭＳ Ｐゴシック" pitchFamily="34" charset="-128"/>
        <a:cs typeface="+mn-cs"/>
      </a:defRPr>
    </a:lvl5pPr>
    <a:lvl6pPr marL="2286000" algn="l" defTabSz="914400" rtl="0" eaLnBrk="1" latinLnBrk="0" hangingPunct="1">
      <a:defRPr sz="3200" b="1" kern="1200">
        <a:solidFill>
          <a:srgbClr val="336699"/>
        </a:solidFill>
        <a:latin typeface="Verdana" pitchFamily="34" charset="0"/>
        <a:ea typeface="ＭＳ Ｐゴシック" pitchFamily="34" charset="-128"/>
        <a:cs typeface="+mn-cs"/>
      </a:defRPr>
    </a:lvl6pPr>
    <a:lvl7pPr marL="2743200" algn="l" defTabSz="914400" rtl="0" eaLnBrk="1" latinLnBrk="0" hangingPunct="1">
      <a:defRPr sz="3200" b="1" kern="1200">
        <a:solidFill>
          <a:srgbClr val="336699"/>
        </a:solidFill>
        <a:latin typeface="Verdana" pitchFamily="34" charset="0"/>
        <a:ea typeface="ＭＳ Ｐゴシック" pitchFamily="34" charset="-128"/>
        <a:cs typeface="+mn-cs"/>
      </a:defRPr>
    </a:lvl7pPr>
    <a:lvl8pPr marL="3200400" algn="l" defTabSz="914400" rtl="0" eaLnBrk="1" latinLnBrk="0" hangingPunct="1">
      <a:defRPr sz="3200" b="1" kern="1200">
        <a:solidFill>
          <a:srgbClr val="336699"/>
        </a:solidFill>
        <a:latin typeface="Verdana" pitchFamily="34" charset="0"/>
        <a:ea typeface="ＭＳ Ｐゴシック" pitchFamily="34" charset="-128"/>
        <a:cs typeface="+mn-cs"/>
      </a:defRPr>
    </a:lvl8pPr>
    <a:lvl9pPr marL="3657600" algn="l" defTabSz="914400" rtl="0" eaLnBrk="1" latinLnBrk="0" hangingPunct="1">
      <a:defRPr sz="3200" b="1" kern="1200">
        <a:solidFill>
          <a:srgbClr val="336699"/>
        </a:solidFill>
        <a:latin typeface="Verdana" pitchFamily="34" charset="0"/>
        <a:ea typeface="ＭＳ Ｐゴシック" pitchFamily="34" charset="-128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t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CC"/>
    <a:srgbClr val="336699"/>
    <a:srgbClr val="EBF0F9"/>
    <a:srgbClr val="3399FF"/>
    <a:srgbClr val="69A2E1"/>
    <a:srgbClr val="D4E0F4"/>
    <a:srgbClr val="FFBDCE"/>
    <a:srgbClr val="0000FF"/>
    <a:srgbClr val="66FFFF"/>
    <a:srgbClr val="00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338" autoAdjust="0"/>
    <p:restoredTop sz="94344" autoAdjust="0"/>
  </p:normalViewPr>
  <p:slideViewPr>
    <p:cSldViewPr showGuides="1">
      <p:cViewPr>
        <p:scale>
          <a:sx n="80" d="100"/>
          <a:sy n="80" d="100"/>
        </p:scale>
        <p:origin x="-2094" y="-690"/>
      </p:cViewPr>
      <p:guideLst>
        <p:guide orient="horz" pos="864"/>
        <p:guide orient="horz" pos="4128"/>
        <p:guide pos="5576"/>
        <p:guide pos="2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30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1.xml"/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8.5596590017881224E-2"/>
          <c:y val="2.2479372398892129E-2"/>
          <c:w val="0.52980594293183236"/>
          <c:h val="0.9488834268644595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Tabelle1!$H$24</c:f>
              <c:strCache>
                <c:ptCount val="1"/>
                <c:pt idx="0">
                  <c:v>Baseline (NEDC)</c:v>
                </c:pt>
              </c:strCache>
            </c:strRef>
          </c:tx>
          <c:invertIfNegative val="0"/>
          <c:dPt>
            <c:idx val="1"/>
            <c:invertIfNegative val="0"/>
            <c:bubble3D val="0"/>
            <c:spPr>
              <a:solidFill>
                <a:schemeClr val="accent1">
                  <a:lumMod val="40000"/>
                  <a:lumOff val="60000"/>
                </a:schemeClr>
              </a:solidFill>
            </c:spPr>
          </c:dPt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Tabelle1!$I$23:$J$23</c:f>
              <c:strCache>
                <c:ptCount val="2"/>
                <c:pt idx="0">
                  <c:v>1. CF typical</c:v>
                </c:pt>
                <c:pt idx="1">
                  <c:v>delta border/ typical</c:v>
                </c:pt>
              </c:strCache>
            </c:strRef>
          </c:cat>
          <c:val>
            <c:numRef>
              <c:f>Tabelle1!$I$24:$J$24</c:f>
              <c:numCache>
                <c:formatCode>0.00</c:formatCode>
                <c:ptCount val="2"/>
                <c:pt idx="0">
                  <c:v>0.97777777777777786</c:v>
                </c:pt>
                <c:pt idx="1">
                  <c:v>3.2686111111111114</c:v>
                </c:pt>
              </c:numCache>
            </c:numRef>
          </c:val>
        </c:ser>
        <c:ser>
          <c:idx val="1"/>
          <c:order val="1"/>
          <c:tx>
            <c:strRef>
              <c:f>Tabelle1!$H$25</c:f>
              <c:strCache>
                <c:ptCount val="1"/>
                <c:pt idx="0">
                  <c:v>Acceleration (v*apos.95%ile</c:v>
                </c:pt>
              </c:strCache>
            </c:strRef>
          </c:tx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Tabelle1!$I$23:$J$23</c:f>
              <c:strCache>
                <c:ptCount val="2"/>
                <c:pt idx="0">
                  <c:v>1. CF typical</c:v>
                </c:pt>
                <c:pt idx="1">
                  <c:v>delta border/ typical</c:v>
                </c:pt>
              </c:strCache>
            </c:strRef>
          </c:cat>
          <c:val>
            <c:numRef>
              <c:f>Tabelle1!$I$25:$J$25</c:f>
              <c:numCache>
                <c:formatCode>0.00</c:formatCode>
                <c:ptCount val="2"/>
                <c:pt idx="0">
                  <c:v>0.53749999999999998</c:v>
                </c:pt>
                <c:pt idx="1">
                  <c:v>0.62499999999999989</c:v>
                </c:pt>
              </c:numCache>
            </c:numRef>
          </c:val>
        </c:ser>
        <c:ser>
          <c:idx val="2"/>
          <c:order val="2"/>
          <c:tx>
            <c:strRef>
              <c:f>Tabelle1!$H$26</c:f>
              <c:strCache>
                <c:ptCount val="1"/>
                <c:pt idx="0">
                  <c:v>Grades</c:v>
                </c:pt>
              </c:strCache>
            </c:strRef>
          </c:tx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Tabelle1!$I$23:$J$23</c:f>
              <c:strCache>
                <c:ptCount val="2"/>
                <c:pt idx="0">
                  <c:v>1. CF typical</c:v>
                </c:pt>
                <c:pt idx="1">
                  <c:v>delta border/ typical</c:v>
                </c:pt>
              </c:strCache>
            </c:strRef>
          </c:cat>
          <c:val>
            <c:numRef>
              <c:f>Tabelle1!$I$26:$J$26</c:f>
              <c:numCache>
                <c:formatCode>0.00</c:formatCode>
                <c:ptCount val="2"/>
                <c:pt idx="0">
                  <c:v>0.3125</c:v>
                </c:pt>
                <c:pt idx="1">
                  <c:v>0.57499999999999996</c:v>
                </c:pt>
              </c:numCache>
            </c:numRef>
          </c:val>
        </c:ser>
        <c:ser>
          <c:idx val="3"/>
          <c:order val="3"/>
          <c:tx>
            <c:strRef>
              <c:f>Tabelle1!$H$27</c:f>
              <c:strCache>
                <c:ptCount val="1"/>
                <c:pt idx="0">
                  <c:v>Mass &amp; Road Load</c:v>
                </c:pt>
              </c:strCache>
            </c:strRef>
          </c:tx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Tabelle1!$I$23:$J$23</c:f>
              <c:strCache>
                <c:ptCount val="2"/>
                <c:pt idx="0">
                  <c:v>1. CF typical</c:v>
                </c:pt>
                <c:pt idx="1">
                  <c:v>delta border/ typical</c:v>
                </c:pt>
              </c:strCache>
            </c:strRef>
          </c:cat>
          <c:val>
            <c:numRef>
              <c:f>Tabelle1!$I$27:$J$27</c:f>
              <c:numCache>
                <c:formatCode>0.00</c:formatCode>
                <c:ptCount val="2"/>
                <c:pt idx="0">
                  <c:v>0.29444444444444451</c:v>
                </c:pt>
                <c:pt idx="1">
                  <c:v>0.24444444444444435</c:v>
                </c:pt>
              </c:numCache>
            </c:numRef>
          </c:val>
        </c:ser>
        <c:ser>
          <c:idx val="4"/>
          <c:order val="4"/>
          <c:tx>
            <c:strRef>
              <c:f>Tabelle1!$H$28</c:f>
              <c:strCache>
                <c:ptCount val="1"/>
                <c:pt idx="0">
                  <c:v>Ambient temp.</c:v>
                </c:pt>
              </c:strCache>
            </c:strRef>
          </c:tx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Tabelle1!$I$23:$J$23</c:f>
              <c:strCache>
                <c:ptCount val="2"/>
                <c:pt idx="0">
                  <c:v>1. CF typical</c:v>
                </c:pt>
                <c:pt idx="1">
                  <c:v>delta border/ typical</c:v>
                </c:pt>
              </c:strCache>
            </c:strRef>
          </c:cat>
          <c:val>
            <c:numRef>
              <c:f>Tabelle1!$I$28:$J$28</c:f>
              <c:numCache>
                <c:formatCode>0.00</c:formatCode>
                <c:ptCount val="2"/>
                <c:pt idx="0">
                  <c:v>0.25777777777777777</c:v>
                </c:pt>
                <c:pt idx="1">
                  <c:v>0.11444444444444446</c:v>
                </c:pt>
              </c:numCache>
            </c:numRef>
          </c:val>
        </c:ser>
        <c:ser>
          <c:idx val="5"/>
          <c:order val="5"/>
          <c:tx>
            <c:strRef>
              <c:f>Tabelle1!$H$29</c:f>
              <c:strCache>
                <c:ptCount val="1"/>
                <c:pt idx="0">
                  <c:v>Shifting Strategy</c:v>
                </c:pt>
              </c:strCache>
            </c:strRef>
          </c:tx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Tabelle1!$I$23:$J$23</c:f>
              <c:strCache>
                <c:ptCount val="2"/>
                <c:pt idx="0">
                  <c:v>1. CF typical</c:v>
                </c:pt>
                <c:pt idx="1">
                  <c:v>delta border/ typical</c:v>
                </c:pt>
              </c:strCache>
            </c:strRef>
          </c:cat>
          <c:val>
            <c:numRef>
              <c:f>Tabelle1!$I$29:$J$29</c:f>
              <c:numCache>
                <c:formatCode>0.00</c:formatCode>
                <c:ptCount val="2"/>
                <c:pt idx="0">
                  <c:v>3.3333333333333333E-2</c:v>
                </c:pt>
                <c:pt idx="1">
                  <c:v>0.19999999999999998</c:v>
                </c:pt>
              </c:numCache>
            </c:numRef>
          </c:val>
        </c:ser>
        <c:ser>
          <c:idx val="6"/>
          <c:order val="6"/>
          <c:tx>
            <c:strRef>
              <c:f>Tabelle1!$H$30</c:f>
              <c:strCache>
                <c:ptCount val="1"/>
                <c:pt idx="0">
                  <c:v>Altitude</c:v>
                </c:pt>
              </c:strCache>
            </c:strRef>
          </c:tx>
          <c:invertIfNegative val="0"/>
          <c:dLbls>
            <c:dLbl>
              <c:idx val="0"/>
              <c:layout>
                <c:manualLayout>
                  <c:x val="6.1528950447459131E-2"/>
                  <c:y val="-2.302025782688766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Tabelle1!$I$23:$J$23</c:f>
              <c:strCache>
                <c:ptCount val="2"/>
                <c:pt idx="0">
                  <c:v>1. CF typical</c:v>
                </c:pt>
                <c:pt idx="1">
                  <c:v>delta border/ typical</c:v>
                </c:pt>
              </c:strCache>
            </c:strRef>
          </c:cat>
          <c:val>
            <c:numRef>
              <c:f>Tabelle1!$I$30:$J$30</c:f>
              <c:numCache>
                <c:formatCode>0.00</c:formatCode>
                <c:ptCount val="2"/>
                <c:pt idx="0">
                  <c:v>0.09</c:v>
                </c:pt>
                <c:pt idx="1">
                  <c:v>0.11333333333333334</c:v>
                </c:pt>
              </c:numCache>
            </c:numRef>
          </c:val>
        </c:ser>
        <c:ser>
          <c:idx val="7"/>
          <c:order val="7"/>
          <c:tx>
            <c:strRef>
              <c:f>Tabelle1!$H$31</c:f>
              <c:strCache>
                <c:ptCount val="1"/>
                <c:pt idx="0">
                  <c:v>maximum speed</c:v>
                </c:pt>
              </c:strCache>
            </c:strRef>
          </c:tx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Tabelle1!$I$23:$J$23</c:f>
              <c:strCache>
                <c:ptCount val="2"/>
                <c:pt idx="0">
                  <c:v>1. CF typical</c:v>
                </c:pt>
                <c:pt idx="1">
                  <c:v>delta border/ typical</c:v>
                </c:pt>
              </c:strCache>
            </c:strRef>
          </c:cat>
          <c:val>
            <c:numRef>
              <c:f>Tabelle1!$I$31:$J$31</c:f>
              <c:numCache>
                <c:formatCode>0.00</c:formatCode>
                <c:ptCount val="2"/>
                <c:pt idx="0">
                  <c:v>0</c:v>
                </c:pt>
                <c:pt idx="1">
                  <c:v>0.13333333333333333</c:v>
                </c:pt>
              </c:numCache>
            </c:numRef>
          </c:val>
        </c:ser>
        <c:ser>
          <c:idx val="8"/>
          <c:order val="8"/>
          <c:tx>
            <c:strRef>
              <c:f>Tabelle1!$H$32</c:f>
              <c:strCache>
                <c:ptCount val="1"/>
                <c:pt idx="0">
                  <c:v>auxillary devices, fuel, </c:v>
                </c:pt>
              </c:strCache>
            </c:strRef>
          </c:tx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Tabelle1!$I$23:$J$23</c:f>
              <c:strCache>
                <c:ptCount val="2"/>
                <c:pt idx="0">
                  <c:v>1. CF typical</c:v>
                </c:pt>
                <c:pt idx="1">
                  <c:v>delta border/ typical</c:v>
                </c:pt>
              </c:strCache>
            </c:strRef>
          </c:cat>
          <c:val>
            <c:numRef>
              <c:f>Tabelle1!$I$32:$J$32</c:f>
              <c:numCache>
                <c:formatCode>0.00</c:formatCode>
                <c:ptCount val="2"/>
                <c:pt idx="0">
                  <c:v>0.1</c:v>
                </c:pt>
                <c:pt idx="1">
                  <c:v>3.3333333333333354E-2</c:v>
                </c:pt>
              </c:numCache>
            </c:numRef>
          </c:val>
        </c:ser>
        <c:ser>
          <c:idx val="9"/>
          <c:order val="9"/>
          <c:tx>
            <c:strRef>
              <c:f>Tabelle1!$H$33</c:f>
              <c:strCache>
                <c:ptCount val="1"/>
                <c:pt idx="0">
                  <c:v>Normalization</c:v>
                </c:pt>
              </c:strCache>
            </c:strRef>
          </c:tx>
          <c:spPr>
            <a:solidFill>
              <a:srgbClr val="92D050">
                <a:alpha val="17000"/>
              </a:srgbClr>
            </a:solidFill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Tabelle1!$I$23:$J$23</c:f>
              <c:strCache>
                <c:ptCount val="2"/>
                <c:pt idx="0">
                  <c:v>1. CF typical</c:v>
                </c:pt>
                <c:pt idx="1">
                  <c:v>delta border/ typical</c:v>
                </c:pt>
              </c:strCache>
            </c:strRef>
          </c:cat>
          <c:val>
            <c:numRef>
              <c:f>Tabelle1!$I$33:$J$33</c:f>
              <c:numCache>
                <c:formatCode>0.00</c:formatCode>
                <c:ptCount val="2"/>
                <c:pt idx="0">
                  <c:v>8.8888888888888892E-2</c:v>
                </c:pt>
                <c:pt idx="1">
                  <c:v>-0.28888888888888892</c:v>
                </c:pt>
              </c:numCache>
            </c:numRef>
          </c:val>
        </c:ser>
        <c:ser>
          <c:idx val="10"/>
          <c:order val="10"/>
          <c:tx>
            <c:strRef>
              <c:f>Tabelle1!$H$34</c:f>
              <c:strCache>
                <c:ptCount val="1"/>
                <c:pt idx="0">
                  <c:v>Measurement Principle</c:v>
                </c:pt>
              </c:strCache>
            </c:strRef>
          </c:tx>
          <c:spPr>
            <a:solidFill>
              <a:srgbClr val="92D050">
                <a:alpha val="23000"/>
              </a:srgbClr>
            </a:solidFill>
          </c:spPr>
          <c:invertIfNegative val="0"/>
          <c:dLbls>
            <c:spPr>
              <a:solidFill>
                <a:srgbClr val="92D050">
                  <a:alpha val="20000"/>
                </a:srgbClr>
              </a:solidFill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Tabelle1!$I$23:$J$23</c:f>
              <c:strCache>
                <c:ptCount val="2"/>
                <c:pt idx="0">
                  <c:v>1. CF typical</c:v>
                </c:pt>
                <c:pt idx="1">
                  <c:v>delta border/ typical</c:v>
                </c:pt>
              </c:strCache>
            </c:strRef>
          </c:cat>
          <c:val>
            <c:numRef>
              <c:f>Tabelle1!$I$34:$J$34</c:f>
              <c:numCache>
                <c:formatCode>0.00</c:formatCode>
                <c:ptCount val="2"/>
                <c:pt idx="0">
                  <c:v>0.18888888888888888</c:v>
                </c:pt>
                <c:pt idx="1">
                  <c:v>3.3333333333333326E-2</c:v>
                </c:pt>
              </c:numCache>
            </c:numRef>
          </c:val>
        </c:ser>
        <c:ser>
          <c:idx val="11"/>
          <c:order val="11"/>
          <c:tx>
            <c:strRef>
              <c:f>Tabelle1!$H$35</c:f>
              <c:strCache>
                <c:ptCount val="1"/>
                <c:pt idx="0">
                  <c:v>Safety margin</c:v>
                </c:pt>
              </c:strCache>
            </c:strRef>
          </c:tx>
          <c:spPr>
            <a:solidFill>
              <a:srgbClr val="92D050">
                <a:alpha val="15000"/>
              </a:srgbClr>
            </a:solidFill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Tabelle1!$I$23:$J$23</c:f>
              <c:strCache>
                <c:ptCount val="2"/>
                <c:pt idx="0">
                  <c:v>1. CF typical</c:v>
                </c:pt>
                <c:pt idx="1">
                  <c:v>delta border/ typical</c:v>
                </c:pt>
              </c:strCache>
            </c:strRef>
          </c:cat>
          <c:val>
            <c:numRef>
              <c:f>Tabelle1!$I$35:$J$35</c:f>
              <c:numCache>
                <c:formatCode>0.00</c:formatCode>
                <c:ptCount val="2"/>
                <c:pt idx="0">
                  <c:v>0.38749999999999996</c:v>
                </c:pt>
                <c:pt idx="1">
                  <c:v>0.2125000000000000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19823360"/>
        <c:axId val="119849728"/>
      </c:barChart>
      <c:catAx>
        <c:axId val="119823360"/>
        <c:scaling>
          <c:orientation val="minMax"/>
        </c:scaling>
        <c:delete val="0"/>
        <c:axPos val="b"/>
        <c:majorTickMark val="out"/>
        <c:minorTickMark val="none"/>
        <c:tickLblPos val="low"/>
        <c:txPr>
          <a:bodyPr/>
          <a:lstStyle/>
          <a:p>
            <a:pPr>
              <a:defRPr sz="2000"/>
            </a:pPr>
            <a:endParaRPr lang="de-DE"/>
          </a:p>
        </c:txPr>
        <c:crossAx val="119849728"/>
        <c:crosses val="autoZero"/>
        <c:auto val="1"/>
        <c:lblAlgn val="ctr"/>
        <c:lblOffset val="100"/>
        <c:noMultiLvlLbl val="0"/>
      </c:catAx>
      <c:valAx>
        <c:axId val="119849728"/>
        <c:scaling>
          <c:orientation val="minMax"/>
        </c:scaling>
        <c:delete val="0"/>
        <c:axPos val="l"/>
        <c:majorGridlines/>
        <c:numFmt formatCode="0" sourceLinked="0"/>
        <c:majorTickMark val="out"/>
        <c:minorTickMark val="none"/>
        <c:tickLblPos val="nextTo"/>
        <c:txPr>
          <a:bodyPr/>
          <a:lstStyle/>
          <a:p>
            <a:pPr>
              <a:defRPr sz="1600"/>
            </a:pPr>
            <a:endParaRPr lang="de-DE"/>
          </a:p>
        </c:txPr>
        <c:crossAx val="119823360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6368375338624841"/>
          <c:y val="4.3053682516204811E-2"/>
          <c:w val="0.34249280586914588"/>
          <c:h val="0.86094604196574875"/>
        </c:manualLayout>
      </c:layout>
      <c:overlay val="0"/>
      <c:txPr>
        <a:bodyPr/>
        <a:lstStyle/>
        <a:p>
          <a:pPr>
            <a:defRPr sz="1600"/>
          </a:pPr>
          <a:endParaRPr lang="de-DE"/>
        </a:p>
      </c:txPr>
    </c:legend>
    <c:plotVisOnly val="1"/>
    <c:dispBlanksAs val="gap"/>
    <c:showDLblsOverMax val="0"/>
  </c:chart>
  <c:externalData r:id="rId2">
    <c:autoUpdate val="0"/>
  </c:externalData>
  <c:userShapes r:id="rId3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798</cdr:x>
      <cdr:y>0.73481</cdr:y>
    </cdr:from>
    <cdr:to>
      <cdr:x>0.26147</cdr:x>
      <cdr:y>0.77901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1705719" y="4053840"/>
          <a:ext cx="774826" cy="24384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en-US" sz="1100"/>
            <a:t>NEDC</a:t>
          </a:r>
        </a:p>
      </cdr:txBody>
    </cdr:sp>
  </cdr:relSizeAnchor>
  <cdr:relSizeAnchor xmlns:cdr="http://schemas.openxmlformats.org/drawingml/2006/chartDrawing">
    <cdr:from>
      <cdr:x>0.44316</cdr:x>
      <cdr:y>0.68462</cdr:y>
    </cdr:from>
    <cdr:to>
      <cdr:x>0.52483</cdr:x>
      <cdr:y>0.72882</cdr:y>
    </cdr:to>
    <cdr:sp macro="" textlink="">
      <cdr:nvSpPr>
        <cdr:cNvPr id="3" name="Textfeld 1"/>
        <cdr:cNvSpPr txBox="1"/>
      </cdr:nvSpPr>
      <cdr:spPr>
        <a:xfrm xmlns:a="http://schemas.openxmlformats.org/drawingml/2006/main">
          <a:off x="4204168" y="3776980"/>
          <a:ext cx="774827" cy="24384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1100"/>
            <a:t>Typical </a:t>
          </a:r>
        </a:p>
        <a:p xmlns:a="http://schemas.openxmlformats.org/drawingml/2006/main">
          <a:pPr algn="ctr"/>
          <a:r>
            <a:rPr lang="en-US" sz="1100"/>
            <a:t>Boundary Conditions</a:t>
          </a:r>
        </a:p>
      </cdr:txBody>
    </cdr:sp>
  </cdr:relSizeAnchor>
  <cdr:relSizeAnchor xmlns:cdr="http://schemas.openxmlformats.org/drawingml/2006/chartDrawing">
    <cdr:from>
      <cdr:x>0.30504</cdr:x>
      <cdr:y>0.38398</cdr:y>
    </cdr:from>
    <cdr:to>
      <cdr:x>0.40962</cdr:x>
      <cdr:y>0.79558</cdr:y>
    </cdr:to>
    <cdr:sp macro="" textlink="">
      <cdr:nvSpPr>
        <cdr:cNvPr id="4" name="Pfeil nach rechts 3"/>
        <cdr:cNvSpPr/>
      </cdr:nvSpPr>
      <cdr:spPr>
        <a:xfrm xmlns:a="http://schemas.openxmlformats.org/drawingml/2006/main">
          <a:off x="2893877" y="2118360"/>
          <a:ext cx="992156" cy="2270760"/>
        </a:xfrm>
        <a:prstGeom xmlns:a="http://schemas.openxmlformats.org/drawingml/2006/main" prst="rightArrow">
          <a:avLst>
            <a:gd name="adj1" fmla="val 68557"/>
            <a:gd name="adj2" fmla="val 50000"/>
          </a:avLst>
        </a:prstGeom>
        <a:solidFill xmlns:a="http://schemas.openxmlformats.org/drawingml/2006/main">
          <a:schemeClr val="accent1">
            <a:lumMod val="40000"/>
            <a:lumOff val="60000"/>
          </a:schemeClr>
        </a:solidFill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en-US"/>
        </a:p>
      </cdr:txBody>
    </cdr:sp>
  </cdr:relSizeAnchor>
  <cdr:relSizeAnchor xmlns:cdr="http://schemas.openxmlformats.org/drawingml/2006/chartDrawing">
    <cdr:from>
      <cdr:x>0.18666</cdr:x>
      <cdr:y>0.31169</cdr:y>
    </cdr:from>
    <cdr:to>
      <cdr:x>0.26834</cdr:x>
      <cdr:y>0.35589</cdr:y>
    </cdr:to>
    <cdr:sp macro="" textlink="">
      <cdr:nvSpPr>
        <cdr:cNvPr id="5" name="Textfeld 1"/>
        <cdr:cNvSpPr txBox="1"/>
      </cdr:nvSpPr>
      <cdr:spPr>
        <a:xfrm xmlns:a="http://schemas.openxmlformats.org/drawingml/2006/main">
          <a:off x="1770853" y="1719580"/>
          <a:ext cx="774827" cy="24384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100" b="1" dirty="0"/>
            <a:t>∑ 3,27</a:t>
          </a:r>
        </a:p>
      </cdr:txBody>
    </cdr:sp>
  </cdr:relSizeAnchor>
  <cdr:relSizeAnchor xmlns:cdr="http://schemas.openxmlformats.org/drawingml/2006/chartDrawing">
    <cdr:from>
      <cdr:x>0.44406</cdr:x>
      <cdr:y>0.02762</cdr:y>
    </cdr:from>
    <cdr:to>
      <cdr:x>0.52555</cdr:x>
      <cdr:y>0.07211</cdr:y>
    </cdr:to>
    <cdr:sp macro="" textlink="">
      <cdr:nvSpPr>
        <cdr:cNvPr id="6" name="Textfeld 1"/>
        <cdr:cNvSpPr txBox="1"/>
      </cdr:nvSpPr>
      <cdr:spPr>
        <a:xfrm xmlns:a="http://schemas.openxmlformats.org/drawingml/2006/main">
          <a:off x="4212771" y="152400"/>
          <a:ext cx="773083" cy="24544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100" b="1" dirty="0"/>
            <a:t>∑ 5,26</a:t>
          </a: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2" y="0"/>
            <a:ext cx="2933276" cy="4950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95393" tIns="47697" rIns="95393" bIns="47697" numCol="1" anchor="t" anchorCtr="0" compatLnSpc="1">
            <a:prstTxWarp prst="textNoShape">
              <a:avLst/>
            </a:prstTxWarp>
          </a:bodyPr>
          <a:lstStyle>
            <a:lvl1pPr defTabSz="953993">
              <a:defRPr sz="1300" b="0">
                <a:solidFill>
                  <a:schemeClr val="tx1"/>
                </a:solidFill>
                <a:latin typeface="Times New Roman" pitchFamily="18" charset="0"/>
                <a:ea typeface="ＭＳ Ｐゴシック" pitchFamily="50" charset="-128"/>
              </a:defRPr>
            </a:lvl1pPr>
          </a:lstStyle>
          <a:p>
            <a:pPr>
              <a:defRPr/>
            </a:pPr>
            <a:endParaRPr lang="de-DE" altLang="de-DE"/>
          </a:p>
        </p:txBody>
      </p:sp>
      <p:sp>
        <p:nvSpPr>
          <p:cNvPr id="1331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35825" y="0"/>
            <a:ext cx="2933276" cy="4950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95393" tIns="47697" rIns="95393" bIns="47697" numCol="1" anchor="t" anchorCtr="0" compatLnSpc="1">
            <a:prstTxWarp prst="textNoShape">
              <a:avLst/>
            </a:prstTxWarp>
          </a:bodyPr>
          <a:lstStyle>
            <a:lvl1pPr algn="r" defTabSz="953993">
              <a:defRPr sz="1300" b="0">
                <a:solidFill>
                  <a:schemeClr val="tx1"/>
                </a:solidFill>
                <a:latin typeface="Times New Roman" pitchFamily="18" charset="0"/>
                <a:ea typeface="ＭＳ Ｐゴシック" pitchFamily="50" charset="-128"/>
              </a:defRPr>
            </a:lvl1pPr>
          </a:lstStyle>
          <a:p>
            <a:pPr>
              <a:defRPr/>
            </a:pPr>
            <a:endParaRPr lang="de-DE" altLang="de-DE"/>
          </a:p>
        </p:txBody>
      </p:sp>
      <p:sp>
        <p:nvSpPr>
          <p:cNvPr id="1331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2" y="9410939"/>
            <a:ext cx="2933276" cy="4950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95393" tIns="47697" rIns="95393" bIns="47697" numCol="1" anchor="b" anchorCtr="0" compatLnSpc="1">
            <a:prstTxWarp prst="textNoShape">
              <a:avLst/>
            </a:prstTxWarp>
          </a:bodyPr>
          <a:lstStyle>
            <a:lvl1pPr defTabSz="953993">
              <a:defRPr sz="1300" b="0">
                <a:solidFill>
                  <a:schemeClr val="tx1"/>
                </a:solidFill>
                <a:latin typeface="Times New Roman" pitchFamily="18" charset="0"/>
                <a:ea typeface="ＭＳ Ｐゴシック" pitchFamily="50" charset="-128"/>
              </a:defRPr>
            </a:lvl1pPr>
          </a:lstStyle>
          <a:p>
            <a:pPr>
              <a:defRPr/>
            </a:pPr>
            <a:endParaRPr lang="de-DE" altLang="de-DE"/>
          </a:p>
        </p:txBody>
      </p:sp>
      <p:sp>
        <p:nvSpPr>
          <p:cNvPr id="1331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35825" y="9410939"/>
            <a:ext cx="2933276" cy="4950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95393" tIns="47697" rIns="95393" bIns="47697" numCol="1" anchor="b" anchorCtr="0" compatLnSpc="1">
            <a:prstTxWarp prst="textNoShape">
              <a:avLst/>
            </a:prstTxWarp>
          </a:bodyPr>
          <a:lstStyle>
            <a:lvl1pPr algn="r" defTabSz="953993">
              <a:defRPr sz="1300" b="0">
                <a:solidFill>
                  <a:schemeClr val="tx1"/>
                </a:solidFill>
                <a:latin typeface="Times New Roman" pitchFamily="18" charset="0"/>
                <a:ea typeface="ＭＳ Ｐゴシック" pitchFamily="50" charset="-128"/>
              </a:defRPr>
            </a:lvl1pPr>
          </a:lstStyle>
          <a:p>
            <a:pPr>
              <a:defRPr/>
            </a:pPr>
            <a:fld id="{0ACBE766-C1B6-4113-9FD0-6D63F80C0423}" type="slidenum">
              <a:rPr lang="en-US" altLang="de-DE"/>
              <a:pPr>
                <a:defRPr/>
              </a:pPr>
              <a:t>‹Nr.›</a:t>
            </a:fld>
            <a:endParaRPr lang="en-US" altLang="de-DE"/>
          </a:p>
        </p:txBody>
      </p:sp>
    </p:spTree>
    <p:extLst>
      <p:ext uri="{BB962C8B-B14F-4D97-AF65-F5344CB8AC3E}">
        <p14:creationId xmlns:p14="http://schemas.microsoft.com/office/powerpoint/2010/main" val="105470870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2" y="0"/>
            <a:ext cx="2933276" cy="4950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95393" tIns="47697" rIns="95393" bIns="47697" numCol="1" anchor="t" anchorCtr="0" compatLnSpc="1">
            <a:prstTxWarp prst="textNoShape">
              <a:avLst/>
            </a:prstTxWarp>
          </a:bodyPr>
          <a:lstStyle>
            <a:lvl1pPr defTabSz="953993">
              <a:defRPr sz="1300" b="0">
                <a:solidFill>
                  <a:schemeClr val="tx1"/>
                </a:solidFill>
                <a:latin typeface="Times New Roman" pitchFamily="18" charset="0"/>
                <a:ea typeface="ＭＳ Ｐゴシック" pitchFamily="50" charset="-128"/>
              </a:defRPr>
            </a:lvl1pPr>
          </a:lstStyle>
          <a:p>
            <a:pPr>
              <a:defRPr/>
            </a:pPr>
            <a:endParaRPr lang="de-DE" altLang="de-DE"/>
          </a:p>
        </p:txBody>
      </p:sp>
      <p:sp>
        <p:nvSpPr>
          <p:cNvPr id="296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35825" y="0"/>
            <a:ext cx="2933276" cy="4950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95393" tIns="47697" rIns="95393" bIns="47697" numCol="1" anchor="t" anchorCtr="0" compatLnSpc="1">
            <a:prstTxWarp prst="textNoShape">
              <a:avLst/>
            </a:prstTxWarp>
          </a:bodyPr>
          <a:lstStyle>
            <a:lvl1pPr algn="r" defTabSz="953993">
              <a:defRPr sz="1300" b="0">
                <a:solidFill>
                  <a:schemeClr val="tx1"/>
                </a:solidFill>
                <a:latin typeface="Times New Roman" pitchFamily="18" charset="0"/>
                <a:ea typeface="ＭＳ Ｐゴシック" pitchFamily="50" charset="-128"/>
              </a:defRPr>
            </a:lvl1pPr>
          </a:lstStyle>
          <a:p>
            <a:pPr>
              <a:defRPr/>
            </a:pPr>
            <a:endParaRPr lang="de-DE" altLang="de-DE"/>
          </a:p>
        </p:txBody>
      </p:sp>
      <p:sp>
        <p:nvSpPr>
          <p:cNvPr id="2970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09638" y="742950"/>
            <a:ext cx="4951412" cy="37147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297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2548" y="4705471"/>
            <a:ext cx="4964006" cy="44571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95393" tIns="47697" rIns="95393" bIns="4769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297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2" y="9410939"/>
            <a:ext cx="2933276" cy="4950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95393" tIns="47697" rIns="95393" bIns="47697" numCol="1" anchor="b" anchorCtr="0" compatLnSpc="1">
            <a:prstTxWarp prst="textNoShape">
              <a:avLst/>
            </a:prstTxWarp>
          </a:bodyPr>
          <a:lstStyle>
            <a:lvl1pPr defTabSz="953993">
              <a:defRPr sz="1300" b="0">
                <a:solidFill>
                  <a:schemeClr val="tx1"/>
                </a:solidFill>
                <a:latin typeface="Times New Roman" pitchFamily="18" charset="0"/>
                <a:ea typeface="ＭＳ Ｐゴシック" pitchFamily="50" charset="-128"/>
              </a:defRPr>
            </a:lvl1pPr>
          </a:lstStyle>
          <a:p>
            <a:pPr>
              <a:defRPr/>
            </a:pPr>
            <a:endParaRPr lang="de-DE" altLang="de-DE"/>
          </a:p>
        </p:txBody>
      </p:sp>
      <p:sp>
        <p:nvSpPr>
          <p:cNvPr id="297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35825" y="9410939"/>
            <a:ext cx="2933276" cy="4950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95393" tIns="47697" rIns="95393" bIns="47697" numCol="1" anchor="b" anchorCtr="0" compatLnSpc="1">
            <a:prstTxWarp prst="textNoShape">
              <a:avLst/>
            </a:prstTxWarp>
          </a:bodyPr>
          <a:lstStyle>
            <a:lvl1pPr algn="r" defTabSz="953993">
              <a:defRPr sz="1300" b="0">
                <a:solidFill>
                  <a:schemeClr val="tx1"/>
                </a:solidFill>
                <a:latin typeface="Times New Roman" pitchFamily="18" charset="0"/>
                <a:ea typeface="ＭＳ Ｐゴシック" pitchFamily="50" charset="-128"/>
              </a:defRPr>
            </a:lvl1pPr>
          </a:lstStyle>
          <a:p>
            <a:pPr>
              <a:defRPr/>
            </a:pPr>
            <a:fld id="{D6C604AD-050A-46F4-A932-BDA0DE255B34}" type="slidenum">
              <a:rPr lang="en-US" altLang="de-DE"/>
              <a:pPr>
                <a:defRPr/>
              </a:pPr>
              <a:t>‹Nr.›</a:t>
            </a:fld>
            <a:endParaRPr lang="en-US" altLang="de-DE"/>
          </a:p>
        </p:txBody>
      </p:sp>
    </p:spTree>
    <p:extLst>
      <p:ext uri="{BB962C8B-B14F-4D97-AF65-F5344CB8AC3E}">
        <p14:creationId xmlns:p14="http://schemas.microsoft.com/office/powerpoint/2010/main" val="1829078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ＭＳ Ｐゴシック" pitchFamily="50" charset="-128"/>
        <a:cs typeface="Times New Roman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Times New Roman" charset="0"/>
        <a:cs typeface="Times New Roman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Times New Roman" charset="0"/>
        <a:cs typeface="Times New Roman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Times New Roman" charset="0"/>
        <a:cs typeface="Times New Roman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Times New Roman" charset="0"/>
        <a:cs typeface="Times New Roman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6C604AD-050A-46F4-A932-BDA0DE255B34}" type="slidenum">
              <a:rPr lang="en-US" altLang="de-DE" smtClean="0"/>
              <a:pPr>
                <a:defRPr/>
              </a:pPr>
              <a:t>1</a:t>
            </a:fld>
            <a:endParaRPr lang="en-US" altLang="de-DE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6C604AD-050A-46F4-A932-BDA0DE255B34}" type="slidenum">
              <a:rPr lang="en-US" altLang="de-DE" smtClean="0"/>
              <a:pPr>
                <a:defRPr/>
              </a:pPr>
              <a:t>9</a:t>
            </a:fld>
            <a:endParaRPr lang="en-US" altLang="de-DE" dirty="0"/>
          </a:p>
        </p:txBody>
      </p:sp>
    </p:spTree>
    <p:extLst>
      <p:ext uri="{BB962C8B-B14F-4D97-AF65-F5344CB8AC3E}">
        <p14:creationId xmlns:p14="http://schemas.microsoft.com/office/powerpoint/2010/main" val="15502786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43700" y="304800"/>
            <a:ext cx="2019300" cy="61722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5800" y="304800"/>
            <a:ext cx="5905500" cy="61722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liennummernplatzhalter 10"/>
          <p:cNvSpPr>
            <a:spLocks noGrp="1"/>
          </p:cNvSpPr>
          <p:nvPr>
            <p:ph type="sldNum" sz="quarter" idx="4"/>
          </p:nvPr>
        </p:nvSpPr>
        <p:spPr>
          <a:xfrm>
            <a:off x="8088923" y="6548439"/>
            <a:ext cx="677008" cy="179387"/>
          </a:xfrm>
          <a:prstGeom prst="rect">
            <a:avLst/>
          </a:prstGeom>
        </p:spPr>
        <p:txBody>
          <a:bodyPr/>
          <a:lstStyle>
            <a:lvl1pPr algn="r">
              <a:defRPr sz="1000" b="0">
                <a:solidFill>
                  <a:srgbClr val="336699"/>
                </a:solidFill>
              </a:defRPr>
            </a:lvl1pPr>
          </a:lstStyle>
          <a:p>
            <a:fld id="{B8BD4307-8E25-4063-B042-91C9BB9E4C20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1524000"/>
            <a:ext cx="3962400" cy="49530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00600" y="1524000"/>
            <a:ext cx="3962400" cy="49530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90600" y="304800"/>
            <a:ext cx="7772400" cy="762000"/>
          </a:xfrm>
          <a:prstGeom prst="rect">
            <a:avLst/>
          </a:prstGeom>
          <a:solidFill>
            <a:srgbClr val="DDDDD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Tit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524000"/>
            <a:ext cx="8077200" cy="495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de-DE" dirty="0" smtClean="0"/>
              <a:t>Add text</a:t>
            </a:r>
          </a:p>
          <a:p>
            <a:pPr lvl="1"/>
            <a:r>
              <a:rPr lang="en-GB" altLang="de-DE" dirty="0" smtClean="0"/>
              <a:t>Second level</a:t>
            </a:r>
          </a:p>
          <a:p>
            <a:pPr lvl="2"/>
            <a:r>
              <a:rPr lang="en-GB" altLang="de-DE" dirty="0" smtClean="0"/>
              <a:t>Third level</a:t>
            </a:r>
            <a:endParaRPr lang="en-US" altLang="de-DE" dirty="0" smtClean="0"/>
          </a:p>
        </p:txBody>
      </p:sp>
      <p:pic>
        <p:nvPicPr>
          <p:cNvPr id="1031" name="Picture 7"/>
          <p:cNvPicPr>
            <a:picLocks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228600" y="304800"/>
            <a:ext cx="685800" cy="60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  <p:sp>
        <p:nvSpPr>
          <p:cNvPr id="1032" name="Line 8"/>
          <p:cNvSpPr>
            <a:spLocks noChangeShapeType="1"/>
          </p:cNvSpPr>
          <p:nvPr/>
        </p:nvSpPr>
        <p:spPr bwMode="auto">
          <a:xfrm>
            <a:off x="1066800" y="152400"/>
            <a:ext cx="7848600" cy="0"/>
          </a:xfrm>
          <a:prstGeom prst="line">
            <a:avLst/>
          </a:prstGeom>
          <a:noFill/>
          <a:ln w="28575">
            <a:solidFill>
              <a:srgbClr val="C0C0C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 algn="ctr">
              <a:defRPr/>
            </a:pPr>
            <a:endParaRPr lang="en-US">
              <a:latin typeface="Verdana" charset="0"/>
              <a:ea typeface="ＭＳ Ｐゴシック" charset="0"/>
              <a:cs typeface="Arial" charset="0"/>
            </a:endParaRPr>
          </a:p>
        </p:txBody>
      </p:sp>
      <p:sp>
        <p:nvSpPr>
          <p:cNvPr id="1033" name="Line 9"/>
          <p:cNvSpPr>
            <a:spLocks noChangeShapeType="1"/>
          </p:cNvSpPr>
          <p:nvPr/>
        </p:nvSpPr>
        <p:spPr bwMode="auto">
          <a:xfrm>
            <a:off x="228600" y="914400"/>
            <a:ext cx="0" cy="5791200"/>
          </a:xfrm>
          <a:prstGeom prst="line">
            <a:avLst/>
          </a:prstGeom>
          <a:noFill/>
          <a:ln w="28575">
            <a:solidFill>
              <a:srgbClr val="C0C0C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 algn="ctr">
              <a:defRPr/>
            </a:pPr>
            <a:endParaRPr lang="en-US">
              <a:latin typeface="Verdana" charset="0"/>
              <a:ea typeface="ＭＳ Ｐゴシック" charset="0"/>
              <a:cs typeface="Arial" charset="0"/>
            </a:endParaRPr>
          </a:p>
        </p:txBody>
      </p:sp>
      <p:sp>
        <p:nvSpPr>
          <p:cNvPr id="12" name="Foliennummernplatzhalter 10"/>
          <p:cNvSpPr>
            <a:spLocks noGrp="1"/>
          </p:cNvSpPr>
          <p:nvPr>
            <p:ph type="sldNum" sz="quarter" idx="4"/>
          </p:nvPr>
        </p:nvSpPr>
        <p:spPr>
          <a:xfrm>
            <a:off x="8088923" y="6548439"/>
            <a:ext cx="677008" cy="179387"/>
          </a:xfrm>
          <a:prstGeom prst="rect">
            <a:avLst/>
          </a:prstGeom>
        </p:spPr>
        <p:txBody>
          <a:bodyPr/>
          <a:lstStyle>
            <a:lvl1pPr algn="r">
              <a:defRPr sz="1000" b="0">
                <a:solidFill>
                  <a:srgbClr val="336699"/>
                </a:solidFill>
              </a:defRPr>
            </a:lvl1pPr>
          </a:lstStyle>
          <a:p>
            <a:fld id="{B8BD4307-8E25-4063-B042-91C9BB9E4C20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1" r:id="rId2"/>
    <p:sldLayoutId id="2147483652" r:id="rId3"/>
    <p:sldLayoutId id="2147483653" r:id="rId4"/>
    <p:sldLayoutId id="2147483654" r:id="rId5"/>
    <p:sldLayoutId id="2147483655" r:id="rId6"/>
    <p:sldLayoutId id="2147483656" r:id="rId7"/>
    <p:sldLayoutId id="2147483657" r:id="rId8"/>
    <p:sldLayoutId id="2147483658" r:id="rId9"/>
    <p:sldLayoutId id="2147483659" r:id="rId10"/>
    <p:sldLayoutId id="2147483660" r:id="rId11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336699"/>
          </a:solidFill>
          <a:latin typeface="+mj-lt"/>
          <a:ea typeface="ＭＳ Ｐゴシック" pitchFamily="50" charset="-128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336699"/>
          </a:solidFill>
          <a:latin typeface="Verdana" charset="0"/>
          <a:ea typeface="ＭＳ Ｐゴシック" pitchFamily="50" charset="-128"/>
          <a:cs typeface="Times New Roman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336699"/>
          </a:solidFill>
          <a:latin typeface="Verdana" charset="0"/>
          <a:ea typeface="ＭＳ Ｐゴシック" pitchFamily="50" charset="-128"/>
          <a:cs typeface="Times New Roman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336699"/>
          </a:solidFill>
          <a:latin typeface="Verdana" charset="0"/>
          <a:ea typeface="ＭＳ Ｐゴシック" pitchFamily="50" charset="-128"/>
          <a:cs typeface="Times New Roman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336699"/>
          </a:solidFill>
          <a:latin typeface="Verdana" charset="0"/>
          <a:ea typeface="ＭＳ Ｐゴシック" pitchFamily="50" charset="-128"/>
          <a:cs typeface="Times New Roman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800" b="1">
          <a:solidFill>
            <a:srgbClr val="336699"/>
          </a:solidFill>
          <a:latin typeface="Verdana" charset="0"/>
          <a:ea typeface="ＭＳ Ｐゴシック" charset="0"/>
          <a:cs typeface="Times New Roman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800" b="1">
          <a:solidFill>
            <a:srgbClr val="336699"/>
          </a:solidFill>
          <a:latin typeface="Verdana" charset="0"/>
          <a:ea typeface="ＭＳ Ｐゴシック" charset="0"/>
          <a:cs typeface="Times New Roman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800" b="1">
          <a:solidFill>
            <a:srgbClr val="336699"/>
          </a:solidFill>
          <a:latin typeface="Verdana" charset="0"/>
          <a:ea typeface="ＭＳ Ｐゴシック" charset="0"/>
          <a:cs typeface="Times New Roman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800" b="1">
          <a:solidFill>
            <a:srgbClr val="336699"/>
          </a:solidFill>
          <a:latin typeface="Verdana" charset="0"/>
          <a:ea typeface="ＭＳ Ｐゴシック" charset="0"/>
          <a:cs typeface="Times New Roman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2400" b="1">
          <a:solidFill>
            <a:srgbClr val="336699"/>
          </a:solidFill>
          <a:latin typeface="+mn-lt"/>
          <a:ea typeface="ＭＳ Ｐゴシック" pitchFamily="50" charset="-128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400">
          <a:solidFill>
            <a:schemeClr val="tx1"/>
          </a:solidFill>
          <a:latin typeface="+mn-lt"/>
          <a:ea typeface="Times New Roman" charset="0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ð"/>
        <a:defRPr sz="2400">
          <a:solidFill>
            <a:schemeClr val="tx1"/>
          </a:solidFill>
          <a:latin typeface="+mn-lt"/>
          <a:ea typeface="Times New Roman" charset="0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Times New Roman" charset="0"/>
          <a:ea typeface="Times New Roman" charset="0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Times New Roman" charset="0"/>
          <a:ea typeface="Times New Roman" charset="0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Times New Roman" charset="0"/>
          <a:ea typeface="Times New Roman" charset="0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Times New Roman" charset="0"/>
          <a:ea typeface="Times New Roman" charset="0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Times New Roman" charset="0"/>
          <a:ea typeface="Times New Roman" charset="0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Times New Roman" charset="0"/>
          <a:ea typeface="Times New Roman" charset="0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4.jpeg"/><Relationship Id="rId4" Type="http://schemas.openxmlformats.org/officeDocument/2006/relationships/image" Target="../media/image3.jpe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mailto:amp@acea.be" TargetMode="External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://upload.wikimedia.org/wikipedia/commons/5/53/Danger_of_slipping_(Israel_road_sign).png" TargetMode="External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.jpeg"/><Relationship Id="rId4" Type="http://schemas.openxmlformats.org/officeDocument/2006/relationships/image" Target="../media/image5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7.gif"/><Relationship Id="rId7" Type="http://schemas.openxmlformats.org/officeDocument/2006/relationships/image" Target="../media/image15.jpeg"/><Relationship Id="rId12" Type="http://schemas.openxmlformats.org/officeDocument/2006/relationships/image" Target="../media/image18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png"/><Relationship Id="rId11" Type="http://schemas.microsoft.com/office/2007/relationships/hdphoto" Target="../media/hdphoto2.wdp"/><Relationship Id="rId5" Type="http://schemas.openxmlformats.org/officeDocument/2006/relationships/image" Target="../media/image13.jpeg"/><Relationship Id="rId10" Type="http://schemas.openxmlformats.org/officeDocument/2006/relationships/image" Target="../media/image17.png"/><Relationship Id="rId4" Type="http://schemas.openxmlformats.org/officeDocument/2006/relationships/image" Target="../media/image12.png"/><Relationship Id="rId9" Type="http://schemas.microsoft.com/office/2007/relationships/hdphoto" Target="../media/hdphoto1.wdp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13" Type="http://schemas.openxmlformats.org/officeDocument/2006/relationships/image" Target="../media/image22.png"/><Relationship Id="rId3" Type="http://schemas.openxmlformats.org/officeDocument/2006/relationships/image" Target="../media/image19.wmf"/><Relationship Id="rId7" Type="http://schemas.openxmlformats.org/officeDocument/2006/relationships/image" Target="../media/image8.png"/><Relationship Id="rId12" Type="http://schemas.openxmlformats.org/officeDocument/2006/relationships/image" Target="../media/image7.gif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.png"/><Relationship Id="rId11" Type="http://schemas.openxmlformats.org/officeDocument/2006/relationships/image" Target="../media/image14.png"/><Relationship Id="rId5" Type="http://schemas.openxmlformats.org/officeDocument/2006/relationships/image" Target="../media/image11.png"/><Relationship Id="rId10" Type="http://schemas.openxmlformats.org/officeDocument/2006/relationships/image" Target="../media/image13.jpeg"/><Relationship Id="rId4" Type="http://schemas.openxmlformats.org/officeDocument/2006/relationships/image" Target="../media/image20.png"/><Relationship Id="rId9" Type="http://schemas.openxmlformats.org/officeDocument/2006/relationships/image" Target="../media/image18.png"/><Relationship Id="rId14" Type="http://schemas.openxmlformats.org/officeDocument/2006/relationships/image" Target="../media/image23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13" Type="http://schemas.openxmlformats.org/officeDocument/2006/relationships/image" Target="../media/image22.png"/><Relationship Id="rId3" Type="http://schemas.openxmlformats.org/officeDocument/2006/relationships/image" Target="../media/image19.wmf"/><Relationship Id="rId7" Type="http://schemas.openxmlformats.org/officeDocument/2006/relationships/image" Target="../media/image8.png"/><Relationship Id="rId12" Type="http://schemas.openxmlformats.org/officeDocument/2006/relationships/image" Target="../media/image7.gif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.png"/><Relationship Id="rId11" Type="http://schemas.openxmlformats.org/officeDocument/2006/relationships/image" Target="../media/image14.png"/><Relationship Id="rId5" Type="http://schemas.openxmlformats.org/officeDocument/2006/relationships/image" Target="../media/image11.png"/><Relationship Id="rId10" Type="http://schemas.openxmlformats.org/officeDocument/2006/relationships/image" Target="../media/image13.jpeg"/><Relationship Id="rId4" Type="http://schemas.openxmlformats.org/officeDocument/2006/relationships/image" Target="../media/image20.png"/><Relationship Id="rId9" Type="http://schemas.openxmlformats.org/officeDocument/2006/relationships/image" Target="../media/image18.png"/><Relationship Id="rId14" Type="http://schemas.openxmlformats.org/officeDocument/2006/relationships/image" Target="../media/image23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5.jpeg"/><Relationship Id="rId4" Type="http://schemas.openxmlformats.org/officeDocument/2006/relationships/image" Target="../media/image24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://upload.wikimedia.org/wikipedia/commons/5/53/Danger_of_slipping_(Israel_road_sign).png" TargetMode="External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.jpeg"/><Relationship Id="rId4" Type="http://schemas.openxmlformats.org/officeDocument/2006/relationships/image" Target="../media/image5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28.png"/><Relationship Id="rId2" Type="http://schemas.openxmlformats.org/officeDocument/2006/relationships/image" Target="../media/image7.gif"/><Relationship Id="rId1" Type="http://schemas.openxmlformats.org/officeDocument/2006/relationships/slideLayout" Target="../slideLayouts/slideLayout2.xml"/><Relationship Id="rId6" Type="http://schemas.microsoft.com/office/2007/relationships/hdphoto" Target="../media/hdphoto3.wdp"/><Relationship Id="rId5" Type="http://schemas.openxmlformats.org/officeDocument/2006/relationships/image" Target="../media/image27.png"/><Relationship Id="rId4" Type="http://schemas.openxmlformats.org/officeDocument/2006/relationships/image" Target="../media/image26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28.png"/><Relationship Id="rId2" Type="http://schemas.openxmlformats.org/officeDocument/2006/relationships/image" Target="../media/image7.gif"/><Relationship Id="rId1" Type="http://schemas.openxmlformats.org/officeDocument/2006/relationships/slideLayout" Target="../slideLayouts/slideLayout2.xml"/><Relationship Id="rId6" Type="http://schemas.microsoft.com/office/2007/relationships/hdphoto" Target="../media/hdphoto3.wdp"/><Relationship Id="rId5" Type="http://schemas.openxmlformats.org/officeDocument/2006/relationships/image" Target="../media/image27.png"/><Relationship Id="rId4" Type="http://schemas.openxmlformats.org/officeDocument/2006/relationships/image" Target="../media/image26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hyperlink" Target="http://upload.wikimedia.org/wikipedia/commons/5/53/Danger_of_slipping_(Israel_road_sign).png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gif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4274" name="Picture 2"/>
          <p:cNvPicPr>
            <a:picLocks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070725" y="0"/>
            <a:ext cx="2073275" cy="684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  <p:sp>
        <p:nvSpPr>
          <p:cNvPr id="8" name="Rechteck 7"/>
          <p:cNvSpPr/>
          <p:nvPr/>
        </p:nvSpPr>
        <p:spPr bwMode="auto">
          <a:xfrm>
            <a:off x="285752" y="6477000"/>
            <a:ext cx="6781800" cy="381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3200" b="1" i="0" u="none" strike="noStrike" cap="none" normalizeH="0" baseline="0" dirty="0">
              <a:ln>
                <a:noFill/>
              </a:ln>
              <a:solidFill>
                <a:srgbClr val="336699"/>
              </a:solidFill>
              <a:effectLst/>
              <a:latin typeface="Verdana" charset="0"/>
              <a:ea typeface="ＭＳ Ｐゴシック" charset="0"/>
              <a:cs typeface="Arial" charset="0"/>
            </a:endParaRPr>
          </a:p>
        </p:txBody>
      </p:sp>
      <p:pic>
        <p:nvPicPr>
          <p:cNvPr id="3075" name="Picture 11" descr="ACEAtxt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215900" y="228600"/>
            <a:ext cx="2454275" cy="976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76" name="Picture 12" descr="FULLpictos_GREY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304800" y="6172200"/>
            <a:ext cx="4191000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 Box 3"/>
          <p:cNvSpPr txBox="1">
            <a:spLocks noChangeArrowheads="1"/>
          </p:cNvSpPr>
          <p:nvPr/>
        </p:nvSpPr>
        <p:spPr bwMode="auto">
          <a:xfrm>
            <a:off x="838200" y="1502471"/>
            <a:ext cx="6858000" cy="43827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defTabSz="762000" eaLnBrk="0" hangingPunct="0">
              <a:defRPr sz="3200" b="1">
                <a:solidFill>
                  <a:srgbClr val="336699"/>
                </a:solidFill>
                <a:latin typeface="Verdana" pitchFamily="34" charset="0"/>
                <a:ea typeface="ＭＳ Ｐゴシック" pitchFamily="50" charset="-128"/>
              </a:defRPr>
            </a:lvl1pPr>
            <a:lvl2pPr marL="742950" indent="-285750" defTabSz="762000" eaLnBrk="0" hangingPunct="0">
              <a:defRPr sz="3200" b="1">
                <a:solidFill>
                  <a:srgbClr val="336699"/>
                </a:solidFill>
                <a:latin typeface="Verdana" pitchFamily="34" charset="0"/>
                <a:ea typeface="ＭＳ Ｐゴシック" pitchFamily="50" charset="-128"/>
              </a:defRPr>
            </a:lvl2pPr>
            <a:lvl3pPr marL="1143000" indent="-228600" defTabSz="762000" eaLnBrk="0" hangingPunct="0">
              <a:defRPr sz="3200" b="1">
                <a:solidFill>
                  <a:srgbClr val="336699"/>
                </a:solidFill>
                <a:latin typeface="Verdana" pitchFamily="34" charset="0"/>
                <a:ea typeface="ＭＳ Ｐゴシック" pitchFamily="50" charset="-128"/>
              </a:defRPr>
            </a:lvl3pPr>
            <a:lvl4pPr marL="1600200" indent="-228600" defTabSz="762000" eaLnBrk="0" hangingPunct="0">
              <a:defRPr sz="3200" b="1">
                <a:solidFill>
                  <a:srgbClr val="336699"/>
                </a:solidFill>
                <a:latin typeface="Verdana" pitchFamily="34" charset="0"/>
                <a:ea typeface="ＭＳ Ｐゴシック" pitchFamily="50" charset="-128"/>
              </a:defRPr>
            </a:lvl4pPr>
            <a:lvl5pPr marL="2057400" indent="-228600" defTabSz="762000" eaLnBrk="0" hangingPunct="0">
              <a:defRPr sz="3200" b="1">
                <a:solidFill>
                  <a:srgbClr val="336699"/>
                </a:solidFill>
                <a:latin typeface="Verdana" pitchFamily="34" charset="0"/>
                <a:ea typeface="ＭＳ Ｐゴシック" pitchFamily="50" charset="-128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336699"/>
                </a:solidFill>
                <a:latin typeface="Verdana" pitchFamily="34" charset="0"/>
                <a:ea typeface="ＭＳ Ｐゴシック" pitchFamily="50" charset="-128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336699"/>
                </a:solidFill>
                <a:latin typeface="Verdana" pitchFamily="34" charset="0"/>
                <a:ea typeface="ＭＳ Ｐゴシック" pitchFamily="50" charset="-128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336699"/>
                </a:solidFill>
                <a:latin typeface="Verdana" pitchFamily="34" charset="0"/>
                <a:ea typeface="ＭＳ Ｐゴシック" pitchFamily="50" charset="-128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336699"/>
                </a:solidFill>
                <a:latin typeface="Verdana" pitchFamily="34" charset="0"/>
                <a:ea typeface="ＭＳ Ｐゴシック" pitchFamily="50" charset="-128"/>
              </a:defRPr>
            </a:lvl9pPr>
          </a:lstStyle>
          <a:p>
            <a:pPr algn="ctr">
              <a:lnSpc>
                <a:spcPct val="90000"/>
              </a:lnSpc>
              <a:spcBef>
                <a:spcPct val="50000"/>
              </a:spcBef>
              <a:defRPr/>
            </a:pPr>
            <a:endParaRPr lang="en-GB" altLang="de-DE" sz="800" i="1" dirty="0" smtClean="0">
              <a:solidFill>
                <a:srgbClr val="000099"/>
              </a:solidFill>
            </a:endParaRPr>
          </a:p>
          <a:p>
            <a:pPr algn="ctr">
              <a:lnSpc>
                <a:spcPct val="90000"/>
              </a:lnSpc>
              <a:spcBef>
                <a:spcPct val="50000"/>
              </a:spcBef>
              <a:defRPr/>
            </a:pPr>
            <a:endParaRPr lang="en-GB" altLang="de-DE" dirty="0" smtClean="0"/>
          </a:p>
          <a:p>
            <a:pPr lvl="0" algn="ctr" defTabSz="914400" eaLnBrk="1" hangingPunct="1">
              <a:lnSpc>
                <a:spcPct val="90000"/>
              </a:lnSpc>
              <a:spcBef>
                <a:spcPct val="50000"/>
              </a:spcBef>
              <a:defRPr/>
            </a:pPr>
            <a:r>
              <a:rPr lang="en-GB" altLang="de-DE" dirty="0">
                <a:ea typeface="ＭＳ Ｐゴシック" pitchFamily="34" charset="-128"/>
              </a:rPr>
              <a:t>ACEA RDE </a:t>
            </a:r>
          </a:p>
          <a:p>
            <a:pPr lvl="0" algn="ctr" defTabSz="914400" eaLnBrk="1" hangingPunct="1">
              <a:lnSpc>
                <a:spcPct val="90000"/>
              </a:lnSpc>
              <a:spcBef>
                <a:spcPct val="50000"/>
              </a:spcBef>
              <a:defRPr/>
            </a:pPr>
            <a:r>
              <a:rPr lang="de-DE" dirty="0" err="1" smtClean="0"/>
              <a:t>Compromise</a:t>
            </a:r>
            <a:r>
              <a:rPr lang="de-DE" dirty="0" smtClean="0"/>
              <a:t> Status</a:t>
            </a:r>
            <a:endParaRPr lang="en-GB" altLang="de-DE" sz="1400" dirty="0">
              <a:ea typeface="ＭＳ Ｐゴシック" pitchFamily="34" charset="-128"/>
            </a:endParaRPr>
          </a:p>
          <a:p>
            <a:pPr algn="ctr">
              <a:lnSpc>
                <a:spcPct val="90000"/>
              </a:lnSpc>
              <a:spcBef>
                <a:spcPct val="50000"/>
              </a:spcBef>
              <a:defRPr/>
            </a:pPr>
            <a:endParaRPr lang="en-GB" altLang="de-DE" sz="1400" dirty="0" smtClean="0"/>
          </a:p>
          <a:p>
            <a:pPr algn="ctr">
              <a:lnSpc>
                <a:spcPct val="90000"/>
              </a:lnSpc>
              <a:spcBef>
                <a:spcPct val="50000"/>
              </a:spcBef>
              <a:defRPr/>
            </a:pPr>
            <a:endParaRPr lang="en-GB" altLang="de-DE" sz="1400" dirty="0"/>
          </a:p>
          <a:p>
            <a:pPr algn="ctr">
              <a:lnSpc>
                <a:spcPct val="90000"/>
              </a:lnSpc>
              <a:spcBef>
                <a:spcPct val="50000"/>
              </a:spcBef>
              <a:defRPr/>
            </a:pPr>
            <a:endParaRPr lang="en-GB" altLang="de-DE" sz="1400" dirty="0" smtClean="0"/>
          </a:p>
          <a:p>
            <a:pPr algn="ctr">
              <a:lnSpc>
                <a:spcPct val="90000"/>
              </a:lnSpc>
              <a:spcBef>
                <a:spcPct val="50000"/>
              </a:spcBef>
              <a:defRPr/>
            </a:pPr>
            <a:endParaRPr lang="en-GB" altLang="de-DE" sz="1400" dirty="0" smtClean="0"/>
          </a:p>
          <a:p>
            <a:pPr algn="ctr">
              <a:lnSpc>
                <a:spcPct val="90000"/>
              </a:lnSpc>
              <a:spcBef>
                <a:spcPct val="50000"/>
              </a:spcBef>
              <a:defRPr/>
            </a:pPr>
            <a:endParaRPr lang="en-GB" altLang="de-DE" sz="1400" dirty="0" smtClean="0"/>
          </a:p>
          <a:p>
            <a:pPr algn="ctr">
              <a:lnSpc>
                <a:spcPct val="90000"/>
              </a:lnSpc>
              <a:spcBef>
                <a:spcPct val="50000"/>
              </a:spcBef>
              <a:defRPr/>
            </a:pPr>
            <a:endParaRPr lang="en-GB" altLang="de-DE" sz="1400" dirty="0"/>
          </a:p>
          <a:p>
            <a:pPr algn="ctr">
              <a:lnSpc>
                <a:spcPct val="90000"/>
              </a:lnSpc>
              <a:spcBef>
                <a:spcPct val="50000"/>
              </a:spcBef>
              <a:defRPr/>
            </a:pPr>
            <a:r>
              <a:rPr lang="en-GB" altLang="de-DE" sz="1400" dirty="0" smtClean="0"/>
              <a:t>17</a:t>
            </a:r>
            <a:r>
              <a:rPr lang="en-GB" altLang="de-DE" sz="1400" baseline="30000" dirty="0" smtClean="0"/>
              <a:t>th</a:t>
            </a:r>
            <a:r>
              <a:rPr lang="en-GB" altLang="de-DE" sz="1400" dirty="0" smtClean="0"/>
              <a:t> February 2015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/>
          <p:cNvSpPr/>
          <p:nvPr/>
        </p:nvSpPr>
        <p:spPr bwMode="auto">
          <a:xfrm>
            <a:off x="990599" y="3561608"/>
            <a:ext cx="7737413" cy="721056"/>
          </a:xfrm>
          <a:prstGeom prst="rect">
            <a:avLst/>
          </a:prstGeom>
          <a:solidFill>
            <a:srgbClr val="DDDDD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3200" b="1" i="0" u="none" strike="noStrike" cap="none" normalizeH="0" baseline="0" dirty="0">
              <a:ln>
                <a:noFill/>
              </a:ln>
              <a:solidFill>
                <a:srgbClr val="336699"/>
              </a:solidFill>
              <a:effectLst/>
              <a:latin typeface="Verdana" charset="0"/>
              <a:ea typeface="ＭＳ Ｐゴシック" charset="0"/>
              <a:cs typeface="Arial" charset="0"/>
            </a:endParaRPr>
          </a:p>
        </p:txBody>
      </p:sp>
      <p:sp>
        <p:nvSpPr>
          <p:cNvPr id="9" name="Rechteck 8"/>
          <p:cNvSpPr/>
          <p:nvPr/>
        </p:nvSpPr>
        <p:spPr bwMode="auto">
          <a:xfrm>
            <a:off x="990600" y="1260144"/>
            <a:ext cx="7737413" cy="340056"/>
          </a:xfrm>
          <a:prstGeom prst="rect">
            <a:avLst/>
          </a:prstGeom>
          <a:solidFill>
            <a:srgbClr val="DDDDD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3200" b="1" i="0" u="none" strike="noStrike" cap="none" normalizeH="0" baseline="0" dirty="0">
              <a:ln>
                <a:noFill/>
              </a:ln>
              <a:solidFill>
                <a:srgbClr val="336699"/>
              </a:solidFill>
              <a:effectLst/>
              <a:latin typeface="Verdana" charset="0"/>
              <a:ea typeface="ＭＳ Ｐゴシック" charset="0"/>
              <a:cs typeface="Arial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Conclusion of ACEA </a:t>
            </a:r>
            <a:r>
              <a:rPr lang="en-US" dirty="0" smtClean="0"/>
              <a:t>compromise</a:t>
            </a:r>
            <a:r>
              <a:rPr lang="de-DE" dirty="0" smtClean="0"/>
              <a:t> Version B ??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BD4307-8E25-4063-B042-91C9BB9E4C20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6" name="Textfeld 5"/>
          <p:cNvSpPr txBox="1"/>
          <p:nvPr/>
        </p:nvSpPr>
        <p:spPr>
          <a:xfrm>
            <a:off x="990600" y="1260144"/>
            <a:ext cx="7737412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b="0" dirty="0" smtClean="0">
                <a:solidFill>
                  <a:schemeClr val="tx1"/>
                </a:solidFill>
              </a:rPr>
              <a:t>ACEA </a:t>
            </a:r>
            <a:r>
              <a:rPr lang="de-DE" sz="1600" b="0" dirty="0" err="1" smtClean="0">
                <a:solidFill>
                  <a:schemeClr val="tx1"/>
                </a:solidFill>
              </a:rPr>
              <a:t>offers</a:t>
            </a:r>
            <a:r>
              <a:rPr lang="de-DE" sz="1600" b="0" dirty="0" smtClean="0">
                <a:solidFill>
                  <a:schemeClr val="tx1"/>
                </a:solidFill>
              </a:rPr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b="0" dirty="0" smtClean="0">
              <a:solidFill>
                <a:schemeClr val="tx1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600" b="0" dirty="0" smtClean="0">
                <a:solidFill>
                  <a:schemeClr val="tx1"/>
                </a:solidFill>
              </a:rPr>
              <a:t>A medium </a:t>
            </a:r>
            <a:r>
              <a:rPr lang="de-DE" sz="1600" b="0" dirty="0" err="1" smtClean="0">
                <a:solidFill>
                  <a:schemeClr val="tx1"/>
                </a:solidFill>
              </a:rPr>
              <a:t>step</a:t>
            </a:r>
            <a:r>
              <a:rPr lang="de-DE" sz="1600" b="0" dirty="0" smtClean="0">
                <a:solidFill>
                  <a:schemeClr val="tx1"/>
                </a:solidFill>
              </a:rPr>
              <a:t> </a:t>
            </a:r>
            <a:r>
              <a:rPr lang="de-DE" sz="1600" b="0" dirty="0" err="1" smtClean="0">
                <a:solidFill>
                  <a:schemeClr val="tx1"/>
                </a:solidFill>
              </a:rPr>
              <a:t>forward</a:t>
            </a:r>
            <a:r>
              <a:rPr lang="de-DE" sz="1600" b="0" dirty="0" smtClean="0">
                <a:solidFill>
                  <a:schemeClr val="tx1"/>
                </a:solidFill>
              </a:rPr>
              <a:t> </a:t>
            </a:r>
            <a:r>
              <a:rPr lang="de-DE" sz="1600" b="0" dirty="0" err="1" smtClean="0">
                <a:solidFill>
                  <a:schemeClr val="tx1"/>
                </a:solidFill>
              </a:rPr>
              <a:t>by</a:t>
            </a:r>
            <a:r>
              <a:rPr lang="de-DE" sz="1600" b="0" dirty="0" smtClean="0">
                <a:solidFill>
                  <a:schemeClr val="tx1"/>
                </a:solidFill>
              </a:rPr>
              <a:t> BC </a:t>
            </a:r>
            <a:r>
              <a:rPr lang="de-DE" sz="1600" b="0" dirty="0" err="1" smtClean="0">
                <a:solidFill>
                  <a:schemeClr val="tx1"/>
                </a:solidFill>
              </a:rPr>
              <a:t>temperature</a:t>
            </a:r>
            <a:endParaRPr lang="de-DE" sz="1600" b="0" dirty="0" smtClean="0">
              <a:solidFill>
                <a:schemeClr val="tx1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600" b="0" dirty="0" smtClean="0">
                <a:solidFill>
                  <a:schemeClr val="tx1"/>
                </a:solidFill>
              </a:rPr>
              <a:t>A medium </a:t>
            </a:r>
            <a:r>
              <a:rPr lang="de-DE" sz="1600" b="0" dirty="0" err="1" smtClean="0">
                <a:solidFill>
                  <a:schemeClr val="tx1"/>
                </a:solidFill>
              </a:rPr>
              <a:t>step</a:t>
            </a:r>
            <a:r>
              <a:rPr lang="de-DE" sz="1600" b="0" dirty="0" smtClean="0">
                <a:solidFill>
                  <a:schemeClr val="tx1"/>
                </a:solidFill>
              </a:rPr>
              <a:t> </a:t>
            </a:r>
            <a:r>
              <a:rPr lang="de-DE" sz="1600" b="0" dirty="0" err="1" smtClean="0">
                <a:solidFill>
                  <a:schemeClr val="tx1"/>
                </a:solidFill>
              </a:rPr>
              <a:t>forward</a:t>
            </a:r>
            <a:r>
              <a:rPr lang="de-DE" sz="1600" b="0" dirty="0" smtClean="0">
                <a:solidFill>
                  <a:schemeClr val="tx1"/>
                </a:solidFill>
              </a:rPr>
              <a:t> </a:t>
            </a:r>
            <a:r>
              <a:rPr lang="de-DE" sz="1600" b="0" dirty="0" err="1" smtClean="0">
                <a:solidFill>
                  <a:schemeClr val="tx1"/>
                </a:solidFill>
              </a:rPr>
              <a:t>by</a:t>
            </a:r>
            <a:r>
              <a:rPr lang="de-DE" sz="1600" b="0" dirty="0" smtClean="0">
                <a:solidFill>
                  <a:schemeClr val="tx1"/>
                </a:solidFill>
              </a:rPr>
              <a:t> </a:t>
            </a:r>
            <a:r>
              <a:rPr lang="de-DE" sz="1600" b="0" dirty="0" err="1" smtClean="0">
                <a:solidFill>
                  <a:schemeClr val="tx1"/>
                </a:solidFill>
              </a:rPr>
              <a:t>including</a:t>
            </a:r>
            <a:r>
              <a:rPr lang="de-DE" sz="1600" b="0" dirty="0" smtClean="0">
                <a:solidFill>
                  <a:schemeClr val="tx1"/>
                </a:solidFill>
              </a:rPr>
              <a:t> AT 9/2019 </a:t>
            </a:r>
            <a:r>
              <a:rPr lang="de-DE" sz="1600" b="0" dirty="0" err="1" smtClean="0">
                <a:solidFill>
                  <a:schemeClr val="tx1"/>
                </a:solidFill>
              </a:rPr>
              <a:t>for</a:t>
            </a:r>
            <a:r>
              <a:rPr lang="de-DE" sz="1600" b="0" dirty="0" smtClean="0">
                <a:solidFill>
                  <a:schemeClr val="tx1"/>
                </a:solidFill>
              </a:rPr>
              <a:t> RDE </a:t>
            </a:r>
            <a:r>
              <a:rPr lang="de-DE" sz="1600" b="0" dirty="0" err="1" smtClean="0">
                <a:solidFill>
                  <a:schemeClr val="tx1"/>
                </a:solidFill>
              </a:rPr>
              <a:t>step</a:t>
            </a:r>
            <a:r>
              <a:rPr lang="de-DE" sz="1600" b="0" dirty="0" smtClean="0">
                <a:solidFill>
                  <a:schemeClr val="tx1"/>
                </a:solidFill>
              </a:rPr>
              <a:t> 1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600" b="0" dirty="0" smtClean="0">
                <a:solidFill>
                  <a:schemeClr val="tx1"/>
                </a:solidFill>
              </a:rPr>
              <a:t>Big </a:t>
            </a:r>
            <a:r>
              <a:rPr lang="de-DE" sz="1600" b="0" dirty="0" err="1" smtClean="0">
                <a:solidFill>
                  <a:schemeClr val="tx1"/>
                </a:solidFill>
              </a:rPr>
              <a:t>step</a:t>
            </a:r>
            <a:r>
              <a:rPr lang="de-DE" sz="1600" b="0" dirty="0" smtClean="0">
                <a:solidFill>
                  <a:schemeClr val="tx1"/>
                </a:solidFill>
              </a:rPr>
              <a:t> BC </a:t>
            </a:r>
            <a:r>
              <a:rPr lang="de-DE" sz="1600" b="0" dirty="0" err="1">
                <a:solidFill>
                  <a:schemeClr val="tx1"/>
                </a:solidFill>
              </a:rPr>
              <a:t>vehicle</a:t>
            </a:r>
            <a:r>
              <a:rPr lang="de-DE" sz="1600" b="0" dirty="0">
                <a:solidFill>
                  <a:schemeClr val="tx1"/>
                </a:solidFill>
              </a:rPr>
              <a:t> </a:t>
            </a:r>
            <a:r>
              <a:rPr lang="de-DE" sz="1600" b="0" dirty="0" err="1">
                <a:solidFill>
                  <a:schemeClr val="tx1"/>
                </a:solidFill>
              </a:rPr>
              <a:t>speed</a:t>
            </a:r>
            <a:r>
              <a:rPr lang="de-DE" sz="1600" b="0" dirty="0">
                <a:solidFill>
                  <a:schemeClr val="tx1"/>
                </a:solidFill>
              </a:rPr>
              <a:t>	</a:t>
            </a:r>
            <a:endParaRPr lang="de-DE" sz="1600" b="0" dirty="0" smtClean="0">
              <a:solidFill>
                <a:schemeClr val="tx1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600" b="0" dirty="0" smtClean="0">
                <a:solidFill>
                  <a:schemeClr val="tx1"/>
                </a:solidFill>
              </a:rPr>
              <a:t>Medium </a:t>
            </a:r>
            <a:r>
              <a:rPr lang="de-DE" sz="1600" b="0" dirty="0" err="1">
                <a:solidFill>
                  <a:schemeClr val="tx1"/>
                </a:solidFill>
              </a:rPr>
              <a:t>s</a:t>
            </a:r>
            <a:r>
              <a:rPr lang="de-DE" sz="1600" b="0" dirty="0" err="1" smtClean="0">
                <a:solidFill>
                  <a:schemeClr val="tx1"/>
                </a:solidFill>
              </a:rPr>
              <a:t>tep</a:t>
            </a:r>
            <a:r>
              <a:rPr lang="de-DE" sz="1600" b="0" dirty="0" smtClean="0">
                <a:solidFill>
                  <a:schemeClr val="tx1"/>
                </a:solidFill>
              </a:rPr>
              <a:t> BC </a:t>
            </a:r>
            <a:r>
              <a:rPr lang="de-DE" sz="1600" b="0" dirty="0" err="1" smtClean="0">
                <a:solidFill>
                  <a:schemeClr val="tx1"/>
                </a:solidFill>
              </a:rPr>
              <a:t>mass</a:t>
            </a:r>
            <a:endParaRPr lang="de-DE" sz="1600" b="0" dirty="0" smtClean="0">
              <a:solidFill>
                <a:schemeClr val="tx1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600" b="0" dirty="0" smtClean="0">
                <a:solidFill>
                  <a:schemeClr val="tx1"/>
                </a:solidFill>
              </a:rPr>
              <a:t>3 </a:t>
            </a:r>
            <a:r>
              <a:rPr lang="de-DE" sz="1600" b="0" dirty="0" err="1" smtClean="0">
                <a:solidFill>
                  <a:schemeClr val="tx1"/>
                </a:solidFill>
              </a:rPr>
              <a:t>package</a:t>
            </a:r>
            <a:r>
              <a:rPr lang="de-DE" sz="1600" b="0" dirty="0" smtClean="0">
                <a:solidFill>
                  <a:schemeClr val="tx1"/>
                </a:solidFill>
              </a:rPr>
              <a:t> </a:t>
            </a:r>
            <a:r>
              <a:rPr lang="de-DE" sz="1600" b="0" dirty="0" err="1" smtClean="0">
                <a:solidFill>
                  <a:schemeClr val="tx1"/>
                </a:solidFill>
              </a:rPr>
              <a:t>introduction</a:t>
            </a:r>
            <a:r>
              <a:rPr lang="de-DE" sz="1600" b="0" dirty="0" smtClean="0">
                <a:solidFill>
                  <a:schemeClr val="tx1"/>
                </a:solidFill>
              </a:rPr>
              <a:t> </a:t>
            </a:r>
            <a:r>
              <a:rPr lang="de-DE" sz="1600" b="0" dirty="0" err="1" smtClean="0">
                <a:solidFill>
                  <a:schemeClr val="tx1"/>
                </a:solidFill>
              </a:rPr>
              <a:t>to</a:t>
            </a:r>
            <a:r>
              <a:rPr lang="de-DE" sz="1600" b="0" dirty="0" smtClean="0">
                <a:solidFill>
                  <a:schemeClr val="tx1"/>
                </a:solidFill>
              </a:rPr>
              <a:t> </a:t>
            </a:r>
            <a:r>
              <a:rPr lang="de-DE" sz="1600" b="0" dirty="0" err="1" smtClean="0">
                <a:solidFill>
                  <a:schemeClr val="tx1"/>
                </a:solidFill>
              </a:rPr>
              <a:t>define</a:t>
            </a:r>
            <a:r>
              <a:rPr lang="de-DE" sz="1600" b="0" dirty="0" smtClean="0">
                <a:solidFill>
                  <a:schemeClr val="tx1"/>
                </a:solidFill>
              </a:rPr>
              <a:t> CFs etc.</a:t>
            </a:r>
            <a:endParaRPr lang="de-DE" sz="1600" b="0" dirty="0">
              <a:solidFill>
                <a:schemeClr val="tx1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de-DE" sz="1600" b="0" dirty="0" smtClean="0">
              <a:solidFill>
                <a:schemeClr val="tx1"/>
              </a:solidFill>
            </a:endParaRPr>
          </a:p>
        </p:txBody>
      </p:sp>
      <p:sp>
        <p:nvSpPr>
          <p:cNvPr id="7" name="Textfeld 6"/>
          <p:cNvSpPr txBox="1"/>
          <p:nvPr/>
        </p:nvSpPr>
        <p:spPr>
          <a:xfrm>
            <a:off x="990600" y="3581400"/>
            <a:ext cx="7737413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b="0" dirty="0" smtClean="0">
                <a:solidFill>
                  <a:schemeClr val="tx1"/>
                </a:solidFill>
              </a:rPr>
              <a:t>On </a:t>
            </a:r>
            <a:r>
              <a:rPr lang="de-DE" sz="1600" b="0" dirty="0" err="1" smtClean="0">
                <a:solidFill>
                  <a:schemeClr val="tx1"/>
                </a:solidFill>
              </a:rPr>
              <a:t>the</a:t>
            </a:r>
            <a:r>
              <a:rPr lang="de-DE" sz="1600" b="0" dirty="0" smtClean="0">
                <a:solidFill>
                  <a:schemeClr val="tx1"/>
                </a:solidFill>
              </a:rPr>
              <a:t> </a:t>
            </a:r>
            <a:r>
              <a:rPr lang="de-DE" sz="1600" b="0" dirty="0" err="1" smtClean="0">
                <a:solidFill>
                  <a:schemeClr val="tx1"/>
                </a:solidFill>
              </a:rPr>
              <a:t>other</a:t>
            </a:r>
            <a:r>
              <a:rPr lang="de-DE" sz="1600" b="0" dirty="0" smtClean="0">
                <a:solidFill>
                  <a:schemeClr val="tx1"/>
                </a:solidFill>
              </a:rPr>
              <a:t> </a:t>
            </a:r>
            <a:r>
              <a:rPr lang="de-DE" sz="1600" b="0" dirty="0" err="1" smtClean="0">
                <a:solidFill>
                  <a:schemeClr val="tx1"/>
                </a:solidFill>
              </a:rPr>
              <a:t>side</a:t>
            </a:r>
            <a:r>
              <a:rPr lang="de-DE" sz="1600" b="0" dirty="0" smtClean="0">
                <a:solidFill>
                  <a:schemeClr val="tx1"/>
                </a:solidFill>
              </a:rPr>
              <a:t> ACEA </a:t>
            </a:r>
            <a:r>
              <a:rPr lang="de-DE" sz="1600" b="0" dirty="0" err="1" smtClean="0">
                <a:solidFill>
                  <a:schemeClr val="tx1"/>
                </a:solidFill>
              </a:rPr>
              <a:t>demands</a:t>
            </a:r>
            <a:r>
              <a:rPr lang="de-DE" sz="1600" b="0" dirty="0">
                <a:solidFill>
                  <a:schemeClr val="tx1"/>
                </a:solidFill>
              </a:rPr>
              <a:t> </a:t>
            </a:r>
            <a:r>
              <a:rPr lang="de-DE" sz="1600" b="0" dirty="0" err="1" smtClean="0">
                <a:solidFill>
                  <a:schemeClr val="tx1"/>
                </a:solidFill>
              </a:rPr>
              <a:t>from</a:t>
            </a:r>
            <a:r>
              <a:rPr lang="de-DE" sz="1600" b="0" dirty="0" smtClean="0">
                <a:solidFill>
                  <a:schemeClr val="tx1"/>
                </a:solidFill>
              </a:rPr>
              <a:t> DG </a:t>
            </a:r>
            <a:r>
              <a:rPr lang="de-DE" sz="1600" b="0" dirty="0" err="1" smtClean="0">
                <a:solidFill>
                  <a:schemeClr val="tx1"/>
                </a:solidFill>
              </a:rPr>
              <a:t>Grow</a:t>
            </a:r>
            <a:r>
              <a:rPr lang="de-DE" sz="1600" b="0" dirty="0" smtClean="0">
                <a:solidFill>
                  <a:schemeClr val="tx1"/>
                </a:solidFill>
              </a:rPr>
              <a:t> </a:t>
            </a:r>
            <a:r>
              <a:rPr lang="de-DE" sz="1600" b="0" dirty="0" err="1" smtClean="0">
                <a:solidFill>
                  <a:schemeClr val="tx1"/>
                </a:solidFill>
              </a:rPr>
              <a:t>to</a:t>
            </a:r>
            <a:r>
              <a:rPr lang="de-DE" sz="1600" b="0" dirty="0" smtClean="0">
                <a:solidFill>
                  <a:schemeClr val="tx1"/>
                </a:solidFill>
              </a:rPr>
              <a:t> </a:t>
            </a:r>
            <a:r>
              <a:rPr lang="de-DE" sz="1600" b="0" dirty="0" err="1" smtClean="0">
                <a:solidFill>
                  <a:schemeClr val="tx1"/>
                </a:solidFill>
              </a:rPr>
              <a:t>take</a:t>
            </a:r>
            <a:r>
              <a:rPr lang="de-DE" sz="1600" b="0" dirty="0" smtClean="0">
                <a:solidFill>
                  <a:schemeClr val="tx1"/>
                </a:solidFill>
              </a:rPr>
              <a:t> </a:t>
            </a:r>
            <a:r>
              <a:rPr lang="de-DE" sz="1600" b="0" dirty="0" err="1" smtClean="0">
                <a:solidFill>
                  <a:schemeClr val="tx1"/>
                </a:solidFill>
              </a:rPr>
              <a:t>over</a:t>
            </a:r>
            <a:r>
              <a:rPr lang="de-DE" sz="1600" b="0" dirty="0">
                <a:solidFill>
                  <a:schemeClr val="tx1"/>
                </a:solidFill>
              </a:rPr>
              <a:t> </a:t>
            </a:r>
            <a:r>
              <a:rPr lang="de-DE" sz="1600" b="0" dirty="0" smtClean="0">
                <a:solidFill>
                  <a:schemeClr val="tx1"/>
                </a:solidFill>
              </a:rPr>
              <a:t>ACEA RDE </a:t>
            </a:r>
            <a:r>
              <a:rPr lang="de-DE" sz="1600" b="0" dirty="0" err="1" smtClean="0">
                <a:solidFill>
                  <a:schemeClr val="tx1"/>
                </a:solidFill>
              </a:rPr>
              <a:t>draft</a:t>
            </a:r>
            <a:r>
              <a:rPr lang="de-DE" sz="1600" b="0" dirty="0" smtClean="0">
                <a:solidFill>
                  <a:schemeClr val="tx1"/>
                </a:solidFill>
              </a:rPr>
              <a:t> 17.12.2014 </a:t>
            </a:r>
            <a:r>
              <a:rPr lang="de-DE" sz="1600" b="0" dirty="0" err="1" smtClean="0">
                <a:solidFill>
                  <a:schemeClr val="tx1"/>
                </a:solidFill>
              </a:rPr>
              <a:t>content</a:t>
            </a:r>
            <a:r>
              <a:rPr lang="de-DE" sz="1600" b="0" dirty="0" smtClean="0">
                <a:solidFill>
                  <a:schemeClr val="tx1"/>
                </a:solidFill>
              </a:rPr>
              <a:t> </a:t>
            </a:r>
            <a:r>
              <a:rPr lang="de-DE" sz="1600" b="0" dirty="0" err="1" smtClean="0">
                <a:solidFill>
                  <a:schemeClr val="tx1"/>
                </a:solidFill>
              </a:rPr>
              <a:t>for</a:t>
            </a:r>
            <a:r>
              <a:rPr lang="de-DE" sz="1600" b="0" dirty="0" smtClean="0">
                <a:solidFill>
                  <a:schemeClr val="tx1"/>
                </a:solidFill>
              </a:rPr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b="0" dirty="0" smtClean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b="0" dirty="0">
              <a:solidFill>
                <a:schemeClr val="tx1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600" b="0" dirty="0" smtClean="0">
                <a:solidFill>
                  <a:schemeClr val="tx1"/>
                </a:solidFill>
              </a:rPr>
              <a:t>BC </a:t>
            </a:r>
            <a:r>
              <a:rPr lang="de-DE" sz="1600" b="0" dirty="0" err="1" smtClean="0">
                <a:solidFill>
                  <a:schemeClr val="tx1"/>
                </a:solidFill>
              </a:rPr>
              <a:t>idle</a:t>
            </a:r>
            <a:r>
              <a:rPr lang="de-DE" sz="1600" b="0" dirty="0" smtClean="0">
                <a:solidFill>
                  <a:schemeClr val="tx1"/>
                </a:solidFill>
              </a:rPr>
              <a:t> </a:t>
            </a:r>
            <a:r>
              <a:rPr lang="de-DE" sz="1600" b="0" dirty="0" err="1" smtClean="0">
                <a:solidFill>
                  <a:schemeClr val="tx1"/>
                </a:solidFill>
              </a:rPr>
              <a:t>fraction</a:t>
            </a:r>
            <a:endParaRPr lang="de-DE" sz="1600" b="0" dirty="0">
              <a:solidFill>
                <a:schemeClr val="tx1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600" b="0" dirty="0" smtClean="0">
                <a:solidFill>
                  <a:schemeClr val="tx1"/>
                </a:solidFill>
              </a:rPr>
              <a:t>BC </a:t>
            </a:r>
            <a:r>
              <a:rPr lang="de-DE" sz="1600" b="0" dirty="0" err="1" smtClean="0">
                <a:solidFill>
                  <a:schemeClr val="tx1"/>
                </a:solidFill>
              </a:rPr>
              <a:t>city</a:t>
            </a:r>
            <a:r>
              <a:rPr lang="de-DE" sz="1600" b="0" dirty="0" smtClean="0">
                <a:solidFill>
                  <a:schemeClr val="tx1"/>
                </a:solidFill>
              </a:rPr>
              <a:t> </a:t>
            </a:r>
            <a:r>
              <a:rPr lang="de-DE" sz="1600" b="0" dirty="0" err="1" smtClean="0">
                <a:solidFill>
                  <a:schemeClr val="tx1"/>
                </a:solidFill>
              </a:rPr>
              <a:t>average</a:t>
            </a:r>
            <a:r>
              <a:rPr lang="de-DE" sz="1600" b="0" dirty="0" smtClean="0">
                <a:solidFill>
                  <a:schemeClr val="tx1"/>
                </a:solidFill>
              </a:rPr>
              <a:t> </a:t>
            </a:r>
            <a:r>
              <a:rPr lang="de-DE" sz="1600" b="0" dirty="0" err="1" smtClean="0">
                <a:solidFill>
                  <a:schemeClr val="tx1"/>
                </a:solidFill>
              </a:rPr>
              <a:t>speed</a:t>
            </a:r>
            <a:endParaRPr lang="de-DE" sz="1600" b="0" dirty="0" smtClean="0">
              <a:solidFill>
                <a:schemeClr val="tx1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600" b="0" dirty="0" smtClean="0">
                <a:solidFill>
                  <a:schemeClr val="tx1"/>
                </a:solidFill>
              </a:rPr>
              <a:t>Add BCs : grade, </a:t>
            </a:r>
            <a:r>
              <a:rPr lang="de-DE" sz="1600" b="0" dirty="0" err="1" smtClean="0">
                <a:solidFill>
                  <a:schemeClr val="tx1"/>
                </a:solidFill>
              </a:rPr>
              <a:t>dynamic</a:t>
            </a:r>
            <a:r>
              <a:rPr lang="de-DE" sz="1600" b="0" dirty="0" smtClean="0">
                <a:solidFill>
                  <a:schemeClr val="tx1"/>
                </a:solidFill>
              </a:rPr>
              <a:t> (v x </a:t>
            </a:r>
            <a:r>
              <a:rPr lang="de-DE" sz="1600" b="0" dirty="0" err="1" smtClean="0">
                <a:solidFill>
                  <a:schemeClr val="tx1"/>
                </a:solidFill>
              </a:rPr>
              <a:t>a</a:t>
            </a:r>
            <a:r>
              <a:rPr lang="de-DE" sz="1600" b="0" baseline="-25000" dirty="0" err="1" smtClean="0">
                <a:solidFill>
                  <a:schemeClr val="tx1"/>
                </a:solidFill>
              </a:rPr>
              <a:t>pos</a:t>
            </a:r>
            <a:r>
              <a:rPr lang="de-DE" sz="1600" b="0" dirty="0" smtClean="0">
                <a:solidFill>
                  <a:schemeClr val="tx1"/>
                </a:solidFill>
              </a:rPr>
              <a:t>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600" b="0" dirty="0" err="1" smtClean="0">
                <a:solidFill>
                  <a:schemeClr val="tx1"/>
                </a:solidFill>
              </a:rPr>
              <a:t>Excluding</a:t>
            </a:r>
            <a:r>
              <a:rPr lang="de-DE" sz="1600" b="0" dirty="0" smtClean="0">
                <a:solidFill>
                  <a:schemeClr val="tx1"/>
                </a:solidFill>
              </a:rPr>
              <a:t> GDI </a:t>
            </a:r>
            <a:r>
              <a:rPr lang="de-DE" sz="1600" b="0" dirty="0" err="1" smtClean="0">
                <a:solidFill>
                  <a:schemeClr val="tx1"/>
                </a:solidFill>
              </a:rPr>
              <a:t>and</a:t>
            </a:r>
            <a:r>
              <a:rPr lang="de-DE" sz="1600" b="0" dirty="0" smtClean="0">
                <a:solidFill>
                  <a:schemeClr val="tx1"/>
                </a:solidFill>
              </a:rPr>
              <a:t> N1 </a:t>
            </a:r>
            <a:r>
              <a:rPr lang="de-DE" sz="1600" b="0" dirty="0" err="1" smtClean="0">
                <a:solidFill>
                  <a:schemeClr val="tx1"/>
                </a:solidFill>
              </a:rPr>
              <a:t>class</a:t>
            </a:r>
            <a:r>
              <a:rPr lang="de-DE" sz="1600" b="0" dirty="0" smtClean="0">
                <a:solidFill>
                  <a:schemeClr val="tx1"/>
                </a:solidFill>
              </a:rPr>
              <a:t> II&amp;III </a:t>
            </a:r>
            <a:r>
              <a:rPr lang="de-DE" sz="1600" b="0" dirty="0" err="1" smtClean="0">
                <a:solidFill>
                  <a:schemeClr val="tx1"/>
                </a:solidFill>
              </a:rPr>
              <a:t>from</a:t>
            </a:r>
            <a:r>
              <a:rPr lang="de-DE" sz="1600" b="0" dirty="0" smtClean="0">
                <a:solidFill>
                  <a:schemeClr val="tx1"/>
                </a:solidFill>
              </a:rPr>
              <a:t> </a:t>
            </a:r>
            <a:r>
              <a:rPr lang="de-DE" sz="1600" b="0" dirty="0" err="1" smtClean="0">
                <a:solidFill>
                  <a:schemeClr val="tx1"/>
                </a:solidFill>
              </a:rPr>
              <a:t>step</a:t>
            </a:r>
            <a:r>
              <a:rPr lang="de-DE" sz="1600" b="0" dirty="0" smtClean="0">
                <a:solidFill>
                  <a:schemeClr val="tx1"/>
                </a:solidFill>
              </a:rPr>
              <a:t> 1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600" b="0" dirty="0" err="1" smtClean="0">
                <a:solidFill>
                  <a:schemeClr val="tx1"/>
                </a:solidFill>
              </a:rPr>
              <a:t>Use</a:t>
            </a:r>
            <a:r>
              <a:rPr lang="de-DE" sz="1600" b="0" dirty="0" smtClean="0">
                <a:solidFill>
                  <a:schemeClr val="tx1"/>
                </a:solidFill>
              </a:rPr>
              <a:t> of OBD </a:t>
            </a:r>
            <a:r>
              <a:rPr lang="de-DE" sz="1600" b="0" dirty="0" err="1" smtClean="0">
                <a:solidFill>
                  <a:schemeClr val="tx1"/>
                </a:solidFill>
              </a:rPr>
              <a:t>signals</a:t>
            </a:r>
            <a:endParaRPr lang="de-DE" sz="1600" b="0" dirty="0" smtClean="0">
              <a:solidFill>
                <a:schemeClr val="tx1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600" b="0" dirty="0" err="1" smtClean="0">
                <a:solidFill>
                  <a:schemeClr val="tx1"/>
                </a:solidFill>
              </a:rPr>
              <a:t>No</a:t>
            </a:r>
            <a:r>
              <a:rPr lang="de-DE" sz="1600" b="0" dirty="0" smtClean="0">
                <a:solidFill>
                  <a:schemeClr val="tx1"/>
                </a:solidFill>
              </a:rPr>
              <a:t> </a:t>
            </a:r>
            <a:r>
              <a:rPr lang="de-DE" sz="1600" b="0" dirty="0" err="1" smtClean="0">
                <a:solidFill>
                  <a:schemeClr val="tx1"/>
                </a:solidFill>
              </a:rPr>
              <a:t>detailed</a:t>
            </a:r>
            <a:r>
              <a:rPr lang="de-DE" sz="1600" b="0" dirty="0" smtClean="0">
                <a:solidFill>
                  <a:schemeClr val="tx1"/>
                </a:solidFill>
              </a:rPr>
              <a:t> PEMS </a:t>
            </a:r>
            <a:r>
              <a:rPr lang="de-DE" sz="1600" b="0" dirty="0" err="1" smtClean="0">
                <a:solidFill>
                  <a:schemeClr val="tx1"/>
                </a:solidFill>
              </a:rPr>
              <a:t>trip</a:t>
            </a:r>
            <a:r>
              <a:rPr lang="de-DE" sz="1600" b="0" dirty="0" smtClean="0">
                <a:solidFill>
                  <a:schemeClr val="tx1"/>
                </a:solidFill>
              </a:rPr>
              <a:t> </a:t>
            </a:r>
            <a:r>
              <a:rPr lang="de-DE" sz="1600" b="0" dirty="0" err="1" smtClean="0">
                <a:solidFill>
                  <a:schemeClr val="tx1"/>
                </a:solidFill>
              </a:rPr>
              <a:t>data</a:t>
            </a:r>
            <a:r>
              <a:rPr lang="de-DE" sz="1600" b="0" dirty="0" smtClean="0">
                <a:solidFill>
                  <a:schemeClr val="tx1"/>
                </a:solidFill>
              </a:rPr>
              <a:t> </a:t>
            </a:r>
            <a:r>
              <a:rPr lang="de-DE" sz="1600" b="0" dirty="0" err="1" smtClean="0">
                <a:solidFill>
                  <a:schemeClr val="tx1"/>
                </a:solidFill>
              </a:rPr>
              <a:t>for</a:t>
            </a:r>
            <a:r>
              <a:rPr lang="de-DE" sz="1600" b="0" dirty="0" smtClean="0">
                <a:solidFill>
                  <a:schemeClr val="tx1"/>
                </a:solidFill>
              </a:rPr>
              <a:t> 3rd </a:t>
            </a:r>
            <a:r>
              <a:rPr lang="de-DE" sz="1600" b="0" dirty="0" err="1" smtClean="0">
                <a:solidFill>
                  <a:schemeClr val="tx1"/>
                </a:solidFill>
              </a:rPr>
              <a:t>parties</a:t>
            </a:r>
            <a:endParaRPr lang="de-DE" sz="1600" b="0" dirty="0" smtClean="0">
              <a:solidFill>
                <a:schemeClr val="tx1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600" b="0" dirty="0" err="1" smtClean="0">
                <a:solidFill>
                  <a:schemeClr val="tx1"/>
                </a:solidFill>
              </a:rPr>
              <a:t>no</a:t>
            </a:r>
            <a:r>
              <a:rPr lang="de-DE" sz="1600" b="0" dirty="0" smtClean="0">
                <a:solidFill>
                  <a:schemeClr val="tx1"/>
                </a:solidFill>
              </a:rPr>
              <a:t> </a:t>
            </a:r>
            <a:r>
              <a:rPr lang="de-DE" sz="1600" b="0" dirty="0" err="1" smtClean="0">
                <a:solidFill>
                  <a:schemeClr val="tx1"/>
                </a:solidFill>
              </a:rPr>
              <a:t>actions</a:t>
            </a:r>
            <a:r>
              <a:rPr lang="de-DE" sz="1600" b="0" dirty="0" smtClean="0">
                <a:solidFill>
                  <a:schemeClr val="tx1"/>
                </a:solidFill>
              </a:rPr>
              <a:t> </a:t>
            </a:r>
            <a:r>
              <a:rPr lang="de-DE" sz="1600" b="0" dirty="0" err="1" smtClean="0">
                <a:solidFill>
                  <a:schemeClr val="tx1"/>
                </a:solidFill>
              </a:rPr>
              <a:t>regarding</a:t>
            </a:r>
            <a:r>
              <a:rPr lang="de-DE" sz="1600" b="0" dirty="0" smtClean="0">
                <a:solidFill>
                  <a:schemeClr val="tx1"/>
                </a:solidFill>
              </a:rPr>
              <a:t> type </a:t>
            </a:r>
            <a:r>
              <a:rPr lang="de-DE" sz="1600" b="0" dirty="0" err="1" smtClean="0">
                <a:solidFill>
                  <a:schemeClr val="tx1"/>
                </a:solidFill>
              </a:rPr>
              <a:t>approval</a:t>
            </a:r>
            <a:r>
              <a:rPr lang="de-DE" sz="1600" b="0" dirty="0" smtClean="0">
                <a:solidFill>
                  <a:schemeClr val="tx1"/>
                </a:solidFill>
              </a:rPr>
              <a:t> </a:t>
            </a:r>
            <a:r>
              <a:rPr lang="de-DE" sz="1600" b="0" dirty="0" err="1" smtClean="0">
                <a:solidFill>
                  <a:schemeClr val="tx1"/>
                </a:solidFill>
              </a:rPr>
              <a:t>by</a:t>
            </a:r>
            <a:r>
              <a:rPr lang="de-DE" sz="1600" b="0" dirty="0" smtClean="0">
                <a:solidFill>
                  <a:schemeClr val="tx1"/>
                </a:solidFill>
              </a:rPr>
              <a:t> 3rd </a:t>
            </a:r>
            <a:r>
              <a:rPr lang="de-DE" sz="1600" b="0" dirty="0" err="1" smtClean="0">
                <a:solidFill>
                  <a:schemeClr val="tx1"/>
                </a:solidFill>
              </a:rPr>
              <a:t>parties</a:t>
            </a:r>
            <a:r>
              <a:rPr lang="de-DE" sz="1600" b="0" dirty="0" smtClean="0">
                <a:solidFill>
                  <a:schemeClr val="tx1"/>
                </a:solidFill>
              </a:rPr>
              <a:t> due </a:t>
            </a:r>
            <a:r>
              <a:rPr lang="de-DE" sz="1600" b="0" dirty="0" err="1" smtClean="0">
                <a:solidFill>
                  <a:schemeClr val="tx1"/>
                </a:solidFill>
              </a:rPr>
              <a:t>to</a:t>
            </a:r>
            <a:r>
              <a:rPr lang="de-DE" sz="1600" b="0" dirty="0" smtClean="0">
                <a:solidFill>
                  <a:schemeClr val="tx1"/>
                </a:solidFill>
              </a:rPr>
              <a:t> </a:t>
            </a:r>
            <a:r>
              <a:rPr lang="de-DE" sz="1600" b="0" dirty="0" err="1" smtClean="0">
                <a:solidFill>
                  <a:schemeClr val="tx1"/>
                </a:solidFill>
              </a:rPr>
              <a:t>failed</a:t>
            </a:r>
            <a:r>
              <a:rPr lang="de-DE" sz="1600" b="0" dirty="0" smtClean="0">
                <a:solidFill>
                  <a:schemeClr val="tx1"/>
                </a:solidFill>
              </a:rPr>
              <a:t> PEMS </a:t>
            </a:r>
            <a:r>
              <a:rPr lang="de-DE" sz="1600" b="0" dirty="0" err="1" smtClean="0">
                <a:solidFill>
                  <a:schemeClr val="tx1"/>
                </a:solidFill>
              </a:rPr>
              <a:t>trips</a:t>
            </a:r>
            <a:r>
              <a:rPr lang="de-DE" sz="1600" b="0" dirty="0">
                <a:solidFill>
                  <a:schemeClr val="tx1"/>
                </a:solidFill>
              </a:rPr>
              <a:t>	</a:t>
            </a:r>
            <a:r>
              <a:rPr lang="de-DE" sz="1600" b="0" dirty="0" smtClean="0">
                <a:solidFill>
                  <a:schemeClr val="tx1"/>
                </a:solidFill>
              </a:rPr>
              <a:t>	</a:t>
            </a:r>
            <a:endParaRPr lang="de-DE" sz="1600" b="0" dirty="0">
              <a:solidFill>
                <a:schemeClr val="tx1"/>
              </a:solidFill>
            </a:endParaRPr>
          </a:p>
        </p:txBody>
      </p:sp>
      <p:sp>
        <p:nvSpPr>
          <p:cNvPr id="3" name="Textfeld 2"/>
          <p:cNvSpPr txBox="1"/>
          <p:nvPr/>
        </p:nvSpPr>
        <p:spPr>
          <a:xfrm rot="21015144">
            <a:off x="5968649" y="1199340"/>
            <a:ext cx="320273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b="0" dirty="0" err="1" smtClean="0">
                <a:solidFill>
                  <a:srgbClr val="FF0000"/>
                </a:solidFill>
              </a:rPr>
              <a:t>Is</a:t>
            </a:r>
            <a:r>
              <a:rPr lang="de-DE" sz="1200" b="0" dirty="0" smtClean="0">
                <a:solidFill>
                  <a:srgbClr val="FF0000"/>
                </a:solidFill>
              </a:rPr>
              <a:t> </a:t>
            </a:r>
            <a:r>
              <a:rPr lang="de-DE" sz="1200" b="0" dirty="0" err="1" smtClean="0">
                <a:solidFill>
                  <a:srgbClr val="FF0000"/>
                </a:solidFill>
              </a:rPr>
              <a:t>this</a:t>
            </a:r>
            <a:r>
              <a:rPr lang="de-DE" sz="1200" b="0" dirty="0" smtClean="0">
                <a:solidFill>
                  <a:srgbClr val="FF0000"/>
                </a:solidFill>
              </a:rPr>
              <a:t> a </a:t>
            </a:r>
            <a:r>
              <a:rPr lang="de-DE" sz="1200" b="0" dirty="0" err="1" smtClean="0">
                <a:solidFill>
                  <a:srgbClr val="FF0000"/>
                </a:solidFill>
              </a:rPr>
              <a:t>realistic</a:t>
            </a:r>
            <a:r>
              <a:rPr lang="de-DE" sz="1200" b="0" dirty="0" smtClean="0">
                <a:solidFill>
                  <a:srgbClr val="FF0000"/>
                </a:solidFill>
              </a:rPr>
              <a:t> </a:t>
            </a:r>
            <a:r>
              <a:rPr lang="de-DE" sz="1200" b="0" dirty="0" err="1" smtClean="0">
                <a:solidFill>
                  <a:srgbClr val="FF0000"/>
                </a:solidFill>
              </a:rPr>
              <a:t>compromise</a:t>
            </a:r>
            <a:r>
              <a:rPr lang="de-DE" sz="1200" b="0" dirty="0" smtClean="0">
                <a:solidFill>
                  <a:srgbClr val="FF0000"/>
                </a:solidFill>
              </a:rPr>
              <a:t> </a:t>
            </a:r>
            <a:r>
              <a:rPr lang="de-DE" sz="1200" b="0" dirty="0" err="1" smtClean="0">
                <a:solidFill>
                  <a:srgbClr val="FF0000"/>
                </a:solidFill>
              </a:rPr>
              <a:t>which</a:t>
            </a:r>
            <a:r>
              <a:rPr lang="de-DE" sz="1200" b="0" dirty="0" smtClean="0">
                <a:solidFill>
                  <a:srgbClr val="FF0000"/>
                </a:solidFill>
              </a:rPr>
              <a:t>  </a:t>
            </a:r>
          </a:p>
          <a:p>
            <a:r>
              <a:rPr lang="de-DE" sz="1200" b="0" dirty="0" err="1" smtClean="0">
                <a:solidFill>
                  <a:srgbClr val="FF0000"/>
                </a:solidFill>
              </a:rPr>
              <a:t>can</a:t>
            </a:r>
            <a:r>
              <a:rPr lang="de-DE" sz="1200" b="0" dirty="0" smtClean="0">
                <a:solidFill>
                  <a:srgbClr val="FF0000"/>
                </a:solidFill>
              </a:rPr>
              <a:t> </a:t>
            </a:r>
            <a:r>
              <a:rPr lang="de-DE" sz="1200" b="0" dirty="0" err="1" smtClean="0">
                <a:solidFill>
                  <a:srgbClr val="FF0000"/>
                </a:solidFill>
              </a:rPr>
              <a:t>be</a:t>
            </a:r>
            <a:r>
              <a:rPr lang="de-DE" sz="1200" b="0" dirty="0" smtClean="0">
                <a:solidFill>
                  <a:srgbClr val="FF0000"/>
                </a:solidFill>
              </a:rPr>
              <a:t> </a:t>
            </a:r>
            <a:r>
              <a:rPr lang="de-DE" sz="1200" b="0" dirty="0" err="1" smtClean="0">
                <a:solidFill>
                  <a:srgbClr val="FF0000"/>
                </a:solidFill>
              </a:rPr>
              <a:t>accepted</a:t>
            </a:r>
            <a:r>
              <a:rPr lang="de-DE" sz="1200" b="0" dirty="0" smtClean="0">
                <a:solidFill>
                  <a:srgbClr val="FF0000"/>
                </a:solidFill>
              </a:rPr>
              <a:t> </a:t>
            </a:r>
            <a:r>
              <a:rPr lang="de-DE" sz="1200" b="0" dirty="0" err="1" smtClean="0">
                <a:solidFill>
                  <a:srgbClr val="FF0000"/>
                </a:solidFill>
              </a:rPr>
              <a:t>by</a:t>
            </a:r>
            <a:r>
              <a:rPr lang="de-DE" sz="1200" b="0" dirty="0" smtClean="0">
                <a:solidFill>
                  <a:srgbClr val="FF0000"/>
                </a:solidFill>
              </a:rPr>
              <a:t> DG </a:t>
            </a:r>
            <a:r>
              <a:rPr lang="de-DE" sz="1200" b="0" dirty="0" err="1" smtClean="0">
                <a:solidFill>
                  <a:srgbClr val="FF0000"/>
                </a:solidFill>
              </a:rPr>
              <a:t>Grow</a:t>
            </a:r>
            <a:r>
              <a:rPr lang="de-DE" sz="1200" b="0" dirty="0" smtClean="0">
                <a:solidFill>
                  <a:srgbClr val="FF0000"/>
                </a:solidFill>
              </a:rPr>
              <a:t> </a:t>
            </a:r>
            <a:r>
              <a:rPr lang="de-DE" sz="1200" b="0" dirty="0" err="1" smtClean="0">
                <a:solidFill>
                  <a:srgbClr val="FF0000"/>
                </a:solidFill>
              </a:rPr>
              <a:t>and</a:t>
            </a:r>
            <a:r>
              <a:rPr lang="de-DE" sz="1200" b="0" dirty="0" smtClean="0">
                <a:solidFill>
                  <a:srgbClr val="FF0000"/>
                </a:solidFill>
              </a:rPr>
              <a:t> MS ?</a:t>
            </a:r>
          </a:p>
        </p:txBody>
      </p:sp>
    </p:spTree>
    <p:extLst>
      <p:ext uri="{BB962C8B-B14F-4D97-AF65-F5344CB8AC3E}">
        <p14:creationId xmlns:p14="http://schemas.microsoft.com/office/powerpoint/2010/main" val="6638189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" name="Rechteck 130"/>
          <p:cNvSpPr/>
          <p:nvPr/>
        </p:nvSpPr>
        <p:spPr bwMode="auto">
          <a:xfrm>
            <a:off x="609600" y="1297168"/>
            <a:ext cx="8153399" cy="5256032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180000" tIns="144000" rIns="0" bIns="45720" numCol="1" rtlCol="0" anchor="t" anchorCtr="0" compatLnSpc="1">
            <a:prstTxWarp prst="textNoShape">
              <a:avLst/>
            </a:prstTxWarp>
          </a:bodyPr>
          <a:lstStyle/>
          <a:p>
            <a:pPr marL="285750" lvl="1" indent="-285750"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Wingdings" panose="05000000000000000000" pitchFamily="2" charset="2"/>
              <a:buChar char="§"/>
            </a:pPr>
            <a:endParaRPr lang="en-US" sz="100" b="0" dirty="0" smtClean="0"/>
          </a:p>
          <a:p>
            <a:pPr marL="285750" lvl="1" indent="-285750"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 smtClean="0">
                <a:cs typeface="Arial" panose="020B0604020202020204" pitchFamily="34" charset="0"/>
              </a:rPr>
              <a:t>Volunteers for Road Show?!</a:t>
            </a:r>
          </a:p>
          <a:p>
            <a:pPr marL="285750" lvl="1" indent="-285750"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Wingdings" panose="05000000000000000000" pitchFamily="2" charset="2"/>
              <a:buChar char="§"/>
            </a:pPr>
            <a:endParaRPr lang="en-US" sz="1400" b="0" dirty="0">
              <a:cs typeface="Arial" panose="020B0604020202020204" pitchFamily="34" charset="0"/>
            </a:endParaRPr>
          </a:p>
          <a:p>
            <a:pPr marL="285750" lvl="1" indent="-285750"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Wingdings" panose="05000000000000000000" pitchFamily="2" charset="2"/>
              <a:buChar char="§"/>
            </a:pPr>
            <a:endParaRPr lang="en-US" sz="1400" b="0" dirty="0" smtClean="0">
              <a:cs typeface="Arial" panose="020B0604020202020204" pitchFamily="34" charset="0"/>
            </a:endParaRPr>
          </a:p>
          <a:p>
            <a:pPr marL="285750" lvl="1" indent="-285750"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Wingdings" panose="05000000000000000000" pitchFamily="2" charset="2"/>
              <a:buChar char="§"/>
            </a:pPr>
            <a:endParaRPr lang="en-US" sz="1400" b="0" dirty="0">
              <a:cs typeface="Arial" panose="020B0604020202020204" pitchFamily="34" charset="0"/>
            </a:endParaRPr>
          </a:p>
          <a:p>
            <a:pPr marL="285750" lvl="1" indent="-285750"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Wingdings" panose="05000000000000000000" pitchFamily="2" charset="2"/>
              <a:buChar char="§"/>
            </a:pPr>
            <a:endParaRPr lang="en-US" sz="1400" b="0" dirty="0" smtClean="0">
              <a:cs typeface="Arial" panose="020B0604020202020204" pitchFamily="34" charset="0"/>
            </a:endParaRPr>
          </a:p>
          <a:p>
            <a:pPr marL="285750" lvl="1" indent="-285750"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Wingdings" panose="05000000000000000000" pitchFamily="2" charset="2"/>
              <a:buChar char="§"/>
            </a:pPr>
            <a:endParaRPr lang="en-US" sz="1400" b="0" dirty="0">
              <a:cs typeface="Arial" panose="020B0604020202020204" pitchFamily="34" charset="0"/>
            </a:endParaRPr>
          </a:p>
          <a:p>
            <a:pPr marL="285750" lvl="1" indent="-285750"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Wingdings" panose="05000000000000000000" pitchFamily="2" charset="2"/>
              <a:buChar char="§"/>
            </a:pPr>
            <a:endParaRPr lang="en-US" sz="1400" b="0" dirty="0" smtClean="0">
              <a:cs typeface="Arial" panose="020B0604020202020204" pitchFamily="34" charset="0"/>
            </a:endParaRPr>
          </a:p>
          <a:p>
            <a:pPr marL="285750" lvl="1" indent="-285750"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Wingdings" panose="05000000000000000000" pitchFamily="2" charset="2"/>
              <a:buChar char="§"/>
            </a:pPr>
            <a:endParaRPr lang="en-US" sz="1400" b="0" dirty="0">
              <a:cs typeface="Arial" panose="020B0604020202020204" pitchFamily="34" charset="0"/>
            </a:endParaRPr>
          </a:p>
          <a:p>
            <a:pPr marL="285750" lvl="1" indent="-285750"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Wingdings" panose="05000000000000000000" pitchFamily="2" charset="2"/>
              <a:buChar char="§"/>
            </a:pPr>
            <a:endParaRPr lang="en-US" sz="1400" b="0" dirty="0" smtClean="0">
              <a:cs typeface="Arial" panose="020B0604020202020204" pitchFamily="34" charset="0"/>
            </a:endParaRPr>
          </a:p>
          <a:p>
            <a:pPr marL="285750" lvl="1" indent="-285750"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Wingdings" panose="05000000000000000000" pitchFamily="2" charset="2"/>
              <a:buChar char="§"/>
            </a:pPr>
            <a:endParaRPr lang="en-US" sz="1400" b="0" dirty="0">
              <a:cs typeface="Arial" panose="020B0604020202020204" pitchFamily="34" charset="0"/>
            </a:endParaRPr>
          </a:p>
          <a:p>
            <a:pPr marL="0" lvl="1">
              <a:spcAft>
                <a:spcPts val="600"/>
              </a:spcAft>
              <a:buClr>
                <a:schemeClr val="bg1">
                  <a:lumMod val="65000"/>
                </a:schemeClr>
              </a:buClr>
            </a:pPr>
            <a:endParaRPr lang="de-DE" sz="500" b="0" dirty="0" smtClean="0">
              <a:cs typeface="Arial" panose="020B0604020202020204" pitchFamily="34" charset="0"/>
            </a:endParaRPr>
          </a:p>
          <a:p>
            <a:pPr marL="0" lvl="1">
              <a:spcAft>
                <a:spcPts val="600"/>
              </a:spcAft>
              <a:buClr>
                <a:schemeClr val="bg1">
                  <a:lumMod val="65000"/>
                </a:schemeClr>
              </a:buClr>
            </a:pPr>
            <a:endParaRPr lang="en-US" sz="1400" b="0" dirty="0" smtClean="0"/>
          </a:p>
        </p:txBody>
      </p:sp>
      <p:sp>
        <p:nvSpPr>
          <p:cNvPr id="132" name="Rechteck 131"/>
          <p:cNvSpPr/>
          <p:nvPr/>
        </p:nvSpPr>
        <p:spPr>
          <a:xfrm>
            <a:off x="807719" y="1127892"/>
            <a:ext cx="3002281" cy="338554"/>
          </a:xfrm>
          <a:prstGeom prst="rect">
            <a:avLst/>
          </a:prstGeom>
          <a:solidFill>
            <a:schemeClr val="bg1"/>
          </a:solidFill>
        </p:spPr>
        <p:txBody>
          <a:bodyPr wrap="square" rIns="0">
            <a:spAutoFit/>
          </a:bodyPr>
          <a:lstStyle/>
          <a:p>
            <a:pPr>
              <a:spcAft>
                <a:spcPts val="300"/>
              </a:spcAft>
              <a:buClr>
                <a:schemeClr val="bg1">
                  <a:lumMod val="65000"/>
                </a:schemeClr>
              </a:buClr>
            </a:pPr>
            <a:r>
              <a:rPr lang="en-US" sz="1600" dirty="0" smtClean="0"/>
              <a:t>Participants &amp; Timing</a:t>
            </a:r>
            <a:endParaRPr lang="en-US" sz="1600" b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400" dirty="0" smtClean="0"/>
              <a:t>ACEA RDE Roadshow Part 2</a:t>
            </a:r>
            <a:endParaRPr lang="en-US" sz="24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BD4307-8E25-4063-B042-91C9BB9E4C20}" type="slidenum">
              <a:rPr lang="de-DE" smtClean="0"/>
              <a:pPr/>
              <a:t>11</a:t>
            </a:fld>
            <a:endParaRPr lang="de-DE" dirty="0"/>
          </a:p>
        </p:txBody>
      </p:sp>
      <p:graphicFrame>
        <p:nvGraphicFramePr>
          <p:cNvPr id="6" name="Tabel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94574942"/>
              </p:ext>
            </p:extLst>
          </p:nvPr>
        </p:nvGraphicFramePr>
        <p:xfrm>
          <a:off x="431794" y="1828800"/>
          <a:ext cx="8458133" cy="2447962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tblPr>
              <a:tblGrid>
                <a:gridCol w="1206527"/>
                <a:gridCol w="668856"/>
                <a:gridCol w="668856"/>
                <a:gridCol w="668856"/>
                <a:gridCol w="668856"/>
                <a:gridCol w="668856"/>
                <a:gridCol w="295985"/>
                <a:gridCol w="285106"/>
                <a:gridCol w="665247"/>
                <a:gridCol w="665247"/>
                <a:gridCol w="665247"/>
                <a:gridCol w="665247"/>
                <a:gridCol w="665247"/>
              </a:tblGrid>
              <a:tr h="185420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US" sz="1200" b="1" noProof="0" dirty="0" smtClean="0">
                          <a:latin typeface="Calibri" panose="020F0502020204030204" pitchFamily="34" charset="0"/>
                        </a:rPr>
                        <a:t>CW</a:t>
                      </a:r>
                      <a:endParaRPr lang="en-US" sz="1200" b="1" noProof="0" dirty="0">
                        <a:latin typeface="Calibri" panose="020F0502020204030204" pitchFamily="34" charset="0"/>
                      </a:endParaRPr>
                    </a:p>
                  </a:txBody>
                  <a:tcPr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9A2E1"/>
                    </a:solidFill>
                  </a:tcPr>
                </a:tc>
                <a:tc gridSpan="7"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en-US" sz="1400" b="1" i="0" u="none" strike="noStrike" noProof="0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endParaRPr lang="en-US" sz="1400" b="1" i="0" u="none" strike="noStrike" noProof="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82" marR="4482" marT="4482" marB="0" anchor="ctr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9A2E1"/>
                    </a:solidFill>
                  </a:tcPr>
                </a:tc>
                <a:tc hMerge="1"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endParaRPr lang="en-US" sz="500" b="0" i="0" u="none" strike="noStrike" dirty="0">
                        <a:solidFill>
                          <a:srgbClr val="5F5F5F"/>
                        </a:solidFill>
                        <a:effectLst/>
                        <a:latin typeface="Tw Cen MT"/>
                      </a:endParaRPr>
                    </a:p>
                  </a:txBody>
                  <a:tcPr marL="4482" marR="4482" marT="4482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9A2E1"/>
                    </a:solidFill>
                  </a:tcPr>
                </a:tc>
                <a:tc hMerge="1"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endParaRPr lang="en-US" sz="500" b="0" i="0" u="none" strike="noStrike" dirty="0">
                        <a:solidFill>
                          <a:srgbClr val="5F5F5F"/>
                        </a:solidFill>
                        <a:effectLst/>
                        <a:latin typeface="Tw Cen MT"/>
                      </a:endParaRPr>
                    </a:p>
                  </a:txBody>
                  <a:tcPr marL="4482" marR="4482" marT="4482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9A2E1"/>
                    </a:solidFill>
                  </a:tcPr>
                </a:tc>
                <a:tc hMerge="1"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endParaRPr lang="en-US" sz="500" b="0" i="0" u="none" strike="noStrike" dirty="0">
                        <a:solidFill>
                          <a:srgbClr val="5F5F5F"/>
                        </a:solidFill>
                        <a:effectLst/>
                        <a:latin typeface="Tw Cen MT"/>
                      </a:endParaRPr>
                    </a:p>
                  </a:txBody>
                  <a:tcPr marL="4482" marR="4482" marT="4482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9A2E1"/>
                    </a:solidFill>
                  </a:tcPr>
                </a:tc>
                <a:tc hMerge="1"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endParaRPr lang="en-US" sz="500" b="0" i="0" u="none" strike="noStrike" dirty="0">
                        <a:solidFill>
                          <a:srgbClr val="5F5F5F"/>
                        </a:solidFill>
                        <a:effectLst/>
                        <a:latin typeface="Tw Cen MT"/>
                      </a:endParaRPr>
                    </a:p>
                  </a:txBody>
                  <a:tcPr marL="4482" marR="4482" marT="4482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9A2E1"/>
                    </a:solidFill>
                  </a:tcPr>
                </a:tc>
                <a:tc hMerge="1"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endParaRPr lang="en-US" sz="500" b="0" i="0" u="none" strike="noStrike" dirty="0">
                        <a:solidFill>
                          <a:srgbClr val="5F5F5F"/>
                        </a:solidFill>
                        <a:effectLst/>
                        <a:latin typeface="Tw Cen MT"/>
                      </a:endParaRPr>
                    </a:p>
                  </a:txBody>
                  <a:tcPr marL="4482" marR="4482" marT="4482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9A2E1"/>
                    </a:solidFill>
                  </a:tcPr>
                </a:tc>
                <a:tc hMerge="1"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endParaRPr lang="en-US" sz="500" b="0" i="0" u="none" strike="noStrike" dirty="0">
                        <a:solidFill>
                          <a:srgbClr val="5F5F5F"/>
                        </a:solidFill>
                        <a:effectLst/>
                        <a:latin typeface="Tw Cen MT"/>
                      </a:endParaRPr>
                    </a:p>
                  </a:txBody>
                  <a:tcPr marL="4482" marR="4482" marT="4482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9A2E1"/>
                    </a:solidFill>
                  </a:tcPr>
                </a:tc>
                <a:tc gridSpan="5"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en-US" sz="1400" b="1" i="0" u="none" strike="noStrike" noProof="0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  <a:endParaRPr lang="en-US" sz="1400" b="1" i="0" u="none" strike="noStrike" noProof="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82" marR="4482" marT="4482" marB="0" anchor="ctr">
                    <a:lnL w="12700" cmpd="sng">
                      <a:solidFill>
                        <a:srgbClr val="FFFFFF"/>
                      </a:solidFill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9A2E1"/>
                    </a:solidFill>
                  </a:tcPr>
                </a:tc>
                <a:tc hMerge="1"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endParaRPr lang="en-US" sz="500" b="0" i="0" u="none" strike="noStrike" dirty="0">
                        <a:solidFill>
                          <a:srgbClr val="5F5F5F"/>
                        </a:solidFill>
                        <a:effectLst/>
                        <a:latin typeface="Tw Cen MT"/>
                      </a:endParaRPr>
                    </a:p>
                  </a:txBody>
                  <a:tcPr marL="4482" marR="4482" marT="4482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9A2E1"/>
                    </a:solidFill>
                  </a:tcPr>
                </a:tc>
                <a:tc hMerge="1"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endParaRPr lang="en-US" sz="500" b="0" i="0" u="none" strike="noStrike" dirty="0">
                        <a:solidFill>
                          <a:srgbClr val="5F5F5F"/>
                        </a:solidFill>
                        <a:effectLst/>
                        <a:latin typeface="Tw Cen MT"/>
                      </a:endParaRPr>
                    </a:p>
                  </a:txBody>
                  <a:tcPr marL="4482" marR="4482" marT="4482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9A2E1"/>
                    </a:solidFill>
                  </a:tcPr>
                </a:tc>
                <a:tc hMerge="1"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endParaRPr lang="en-US" sz="500" b="0" i="0" u="none" strike="noStrike" dirty="0">
                        <a:solidFill>
                          <a:srgbClr val="5F5F5F"/>
                        </a:solidFill>
                        <a:effectLst/>
                        <a:latin typeface="Tw Cen MT"/>
                      </a:endParaRPr>
                    </a:p>
                  </a:txBody>
                  <a:tcPr marL="4482" marR="4482" marT="4482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9A2E1"/>
                    </a:solidFill>
                  </a:tcPr>
                </a:tc>
                <a:tc hMerge="1"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endParaRPr lang="en-US" sz="500" b="0" i="0" u="none" strike="noStrike" dirty="0">
                        <a:solidFill>
                          <a:srgbClr val="5F5F5F"/>
                        </a:solidFill>
                        <a:effectLst/>
                        <a:latin typeface="Tw Cen MT"/>
                      </a:endParaRPr>
                    </a:p>
                  </a:txBody>
                  <a:tcPr marL="4482" marR="4482" marT="4482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9A2E1"/>
                    </a:solidFill>
                  </a:tcPr>
                </a:tc>
              </a:tr>
              <a:tr h="185420">
                <a:tc>
                  <a:txBody>
                    <a:bodyPr/>
                    <a:lstStyle/>
                    <a:p>
                      <a:r>
                        <a:rPr lang="en-US" sz="1200" b="1" noProof="0" dirty="0" smtClean="0">
                          <a:solidFill>
                            <a:schemeClr val="bg1"/>
                          </a:solidFill>
                          <a:latin typeface="Calibri" panose="020F0502020204030204" pitchFamily="34" charset="0"/>
                        </a:rPr>
                        <a:t>Day</a:t>
                      </a:r>
                      <a:endParaRPr lang="en-US" sz="1200" b="1" noProof="0" dirty="0">
                        <a:solidFill>
                          <a:schemeClr val="bg1"/>
                        </a:solidFill>
                        <a:latin typeface="Calibri" panose="020F0502020204030204" pitchFamily="34" charset="0"/>
                      </a:endParaRPr>
                    </a:p>
                  </a:txBody>
                  <a:tcPr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9A2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 noProof="0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o.</a:t>
                      </a:r>
                    </a:p>
                    <a:p>
                      <a:pPr algn="ctr" fontAlgn="ctr"/>
                      <a:r>
                        <a:rPr lang="en-US" sz="1000" b="1" u="none" strike="noStrike" noProof="0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02.03</a:t>
                      </a:r>
                      <a:endParaRPr lang="en-US" sz="1000" b="1" i="0" u="none" strike="noStrike" noProof="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82" marR="4482" marT="4482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9A2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 noProof="0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Tu.</a:t>
                      </a:r>
                    </a:p>
                    <a:p>
                      <a:pPr algn="ctr" fontAlgn="ctr"/>
                      <a:r>
                        <a:rPr lang="en-US" sz="1000" b="1" u="none" strike="noStrike" noProof="0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03.3</a:t>
                      </a:r>
                      <a:endParaRPr lang="en-US" sz="1000" b="1" i="0" u="none" strike="noStrike" noProof="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82" marR="4482" marT="4482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9A2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 noProof="0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We.</a:t>
                      </a:r>
                    </a:p>
                    <a:p>
                      <a:pPr algn="ctr" fontAlgn="ctr"/>
                      <a:r>
                        <a:rPr lang="en-US" sz="1000" b="1" u="none" strike="noStrike" noProof="0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04.03</a:t>
                      </a:r>
                      <a:endParaRPr lang="en-US" sz="1000" b="1" i="0" u="none" strike="noStrike" noProof="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82" marR="4482" marT="4482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9A2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 noProof="0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Th.</a:t>
                      </a:r>
                    </a:p>
                    <a:p>
                      <a:pPr algn="ctr" fontAlgn="ctr"/>
                      <a:r>
                        <a:rPr lang="en-US" sz="1000" b="1" u="none" strike="noStrike" noProof="0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05.03</a:t>
                      </a:r>
                      <a:endParaRPr lang="en-US" sz="1000" b="1" i="0" u="none" strike="noStrike" noProof="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82" marR="4482" marT="4482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9A2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 noProof="0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Fr.</a:t>
                      </a:r>
                    </a:p>
                    <a:p>
                      <a:pPr algn="ctr" fontAlgn="ctr"/>
                      <a:r>
                        <a:rPr lang="en-US" sz="1000" b="1" u="none" strike="noStrike" noProof="0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06.03</a:t>
                      </a:r>
                      <a:endParaRPr lang="en-US" sz="1000" b="1" i="0" u="none" strike="noStrike" noProof="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82" marR="4482" marT="4482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9A2E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noProof="0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WE.</a:t>
                      </a:r>
                      <a:endParaRPr lang="en-US" sz="1000" b="1" i="0" u="none" strike="noStrike" noProof="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82" marR="4482" marT="4482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9A2E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500" b="0" i="0" u="none" strike="noStrike" dirty="0">
                        <a:solidFill>
                          <a:srgbClr val="5F5F5F"/>
                        </a:solidFill>
                        <a:effectLst/>
                        <a:latin typeface="Tw Cen MT"/>
                      </a:endParaRPr>
                    </a:p>
                  </a:txBody>
                  <a:tcPr marL="4482" marR="4482" marT="4482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9A2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 noProof="0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o.</a:t>
                      </a:r>
                    </a:p>
                    <a:p>
                      <a:pPr algn="ctr" fontAlgn="ctr"/>
                      <a:r>
                        <a:rPr lang="en-US" sz="1000" b="1" u="none" strike="noStrike" noProof="0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09.03</a:t>
                      </a:r>
                      <a:endParaRPr lang="en-US" sz="1000" b="1" i="0" u="none" strike="noStrike" noProof="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82" marR="4482" marT="4482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9A2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 noProof="0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Tu.</a:t>
                      </a:r>
                    </a:p>
                    <a:p>
                      <a:pPr algn="ctr" fontAlgn="ctr"/>
                      <a:r>
                        <a:rPr lang="en-US" sz="1000" b="1" u="none" strike="noStrike" noProof="0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0.03</a:t>
                      </a:r>
                      <a:endParaRPr lang="en-US" sz="1000" b="1" i="0" u="none" strike="noStrike" noProof="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82" marR="4482" marT="4482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9A2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 noProof="0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We.</a:t>
                      </a:r>
                    </a:p>
                    <a:p>
                      <a:pPr algn="ctr" fontAlgn="ctr"/>
                      <a:r>
                        <a:rPr lang="en-US" sz="1000" b="1" u="none" strike="noStrike" noProof="0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1.03</a:t>
                      </a:r>
                      <a:endParaRPr lang="en-US" sz="1000" b="1" i="0" u="none" strike="noStrike" noProof="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82" marR="4482" marT="4482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9A2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 noProof="0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Th.</a:t>
                      </a:r>
                    </a:p>
                    <a:p>
                      <a:pPr algn="ctr" fontAlgn="ctr"/>
                      <a:r>
                        <a:rPr lang="en-US" sz="1000" b="1" u="none" strike="noStrike" noProof="0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2.03</a:t>
                      </a:r>
                      <a:endParaRPr lang="en-US" sz="1000" b="1" i="0" u="none" strike="noStrike" noProof="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82" marR="4482" marT="4482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9A2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 noProof="0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Fr.</a:t>
                      </a:r>
                    </a:p>
                    <a:p>
                      <a:pPr algn="ctr" fontAlgn="ctr"/>
                      <a:r>
                        <a:rPr lang="en-US" sz="1000" b="1" u="none" strike="noStrike" noProof="0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3.03</a:t>
                      </a:r>
                      <a:endParaRPr lang="en-US" sz="1000" b="1" i="0" u="none" strike="noStrike" noProof="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82" marR="4482" marT="4482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9A2E1"/>
                    </a:solidFill>
                  </a:tcPr>
                </a:tc>
              </a:tr>
              <a:tr h="370840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US" sz="1200" noProof="0" dirty="0" smtClean="0">
                          <a:solidFill>
                            <a:schemeClr val="bg1"/>
                          </a:solidFill>
                        </a:rPr>
                        <a:t>MS</a:t>
                      </a:r>
                      <a:endParaRPr lang="en-US" sz="1200" noProof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9A2E1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en-US" sz="1100" noProof="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Romania</a:t>
                      </a:r>
                      <a:endParaRPr lang="en-US" sz="900" b="0" i="0" u="none" strike="noStrike" noProof="0" dirty="0">
                        <a:solidFill>
                          <a:schemeClr val="bg2">
                            <a:lumMod val="50000"/>
                          </a:schemeClr>
                        </a:solidFill>
                        <a:effectLst/>
                        <a:latin typeface="Tw Cen MT"/>
                      </a:endParaRPr>
                    </a:p>
                  </a:txBody>
                  <a:tcPr marL="4482" marR="4482" marT="4482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4E0F4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en-US" sz="1100" noProof="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Hungary</a:t>
                      </a:r>
                      <a:endParaRPr lang="en-US" sz="900" b="0" i="0" u="none" strike="noStrike" noProof="0" dirty="0">
                        <a:solidFill>
                          <a:schemeClr val="bg2">
                            <a:lumMod val="50000"/>
                          </a:schemeClr>
                        </a:solidFill>
                        <a:effectLst/>
                        <a:latin typeface="Tw Cen MT"/>
                      </a:endParaRPr>
                    </a:p>
                  </a:txBody>
                  <a:tcPr marL="4482" marR="4482" marT="4482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4E0F4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en-US" sz="1100" noProof="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Slovakia</a:t>
                      </a:r>
                      <a:endParaRPr lang="en-US" sz="900" b="0" i="0" u="none" strike="noStrike" noProof="0" dirty="0">
                        <a:solidFill>
                          <a:schemeClr val="bg2">
                            <a:lumMod val="50000"/>
                          </a:schemeClr>
                        </a:solidFill>
                        <a:effectLst/>
                        <a:latin typeface="Tw Cen MT"/>
                      </a:endParaRPr>
                    </a:p>
                  </a:txBody>
                  <a:tcPr marL="4482" marR="4482" marT="4482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4E0F4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en-US" sz="1100" noProof="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Czech Republic </a:t>
                      </a:r>
                      <a:endParaRPr lang="en-US" sz="900" b="0" i="0" u="none" strike="noStrike" noProof="0" dirty="0">
                        <a:solidFill>
                          <a:schemeClr val="bg2">
                            <a:lumMod val="50000"/>
                          </a:schemeClr>
                        </a:solidFill>
                        <a:effectLst/>
                        <a:latin typeface="Tw Cen MT"/>
                      </a:endParaRPr>
                    </a:p>
                  </a:txBody>
                  <a:tcPr marL="4482" marR="4482" marT="4482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4E0F4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en-US" sz="1100" noProof="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Poland</a:t>
                      </a:r>
                      <a:endParaRPr lang="en-US" sz="900" b="0" i="0" u="none" strike="noStrike" noProof="0" dirty="0">
                        <a:solidFill>
                          <a:schemeClr val="bg2">
                            <a:lumMod val="50000"/>
                          </a:schemeClr>
                        </a:solidFill>
                        <a:effectLst/>
                        <a:latin typeface="Tw Cen MT"/>
                      </a:endParaRPr>
                    </a:p>
                  </a:txBody>
                  <a:tcPr marL="4482" marR="4482" marT="4482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4E0F4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noProof="0" dirty="0">
                        <a:solidFill>
                          <a:schemeClr val="bg2">
                            <a:lumMod val="50000"/>
                          </a:schemeClr>
                        </a:solidFill>
                        <a:effectLst/>
                        <a:latin typeface="Tw Cen MT"/>
                      </a:endParaRPr>
                    </a:p>
                  </a:txBody>
                  <a:tcPr marL="4482" marR="4482" marT="4482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9A2E1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noProof="0" dirty="0">
                        <a:solidFill>
                          <a:schemeClr val="bg2">
                            <a:lumMod val="50000"/>
                          </a:schemeClr>
                        </a:solidFill>
                        <a:effectLst/>
                        <a:latin typeface="Tw Cen MT"/>
                      </a:endParaRPr>
                    </a:p>
                  </a:txBody>
                  <a:tcPr marL="4482" marR="4482" marT="4482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9A2E1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en-US" sz="1100" noProof="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France</a:t>
                      </a:r>
                      <a:endParaRPr lang="en-US" sz="900" b="0" i="0" u="none" strike="noStrike" noProof="0" dirty="0">
                        <a:solidFill>
                          <a:schemeClr val="bg2">
                            <a:lumMod val="50000"/>
                          </a:schemeClr>
                        </a:solidFill>
                        <a:effectLst/>
                        <a:latin typeface="Tw Cen MT"/>
                      </a:endParaRPr>
                    </a:p>
                  </a:txBody>
                  <a:tcPr marL="4482" marR="4482" marT="4482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4E0F4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en-US" sz="1100" noProof="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Spain</a:t>
                      </a:r>
                      <a:endParaRPr lang="en-US" sz="900" b="0" i="0" u="none" strike="noStrike" noProof="0" dirty="0">
                        <a:solidFill>
                          <a:schemeClr val="bg2">
                            <a:lumMod val="50000"/>
                          </a:schemeClr>
                        </a:solidFill>
                        <a:effectLst/>
                        <a:latin typeface="Tw Cen MT"/>
                      </a:endParaRPr>
                    </a:p>
                  </a:txBody>
                  <a:tcPr marL="4482" marR="4482" marT="4482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4E0F4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en-US" sz="1100" noProof="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Italy</a:t>
                      </a:r>
                      <a:endParaRPr lang="en-US" sz="900" b="0" i="0" u="none" strike="noStrike" noProof="0" dirty="0">
                        <a:solidFill>
                          <a:schemeClr val="bg2">
                            <a:lumMod val="50000"/>
                          </a:schemeClr>
                        </a:solidFill>
                        <a:effectLst/>
                        <a:latin typeface="Tw Cen MT"/>
                      </a:endParaRPr>
                    </a:p>
                  </a:txBody>
                  <a:tcPr marL="4482" marR="4482" marT="4482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4E0F4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en-US" sz="1100" noProof="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UK</a:t>
                      </a:r>
                      <a:endParaRPr lang="en-US" sz="900" b="0" i="0" u="none" strike="noStrike" noProof="0" dirty="0">
                        <a:solidFill>
                          <a:schemeClr val="bg2">
                            <a:lumMod val="50000"/>
                          </a:schemeClr>
                        </a:solidFill>
                        <a:effectLst/>
                        <a:latin typeface="Tw Cen MT"/>
                      </a:endParaRPr>
                    </a:p>
                  </a:txBody>
                  <a:tcPr marL="4482" marR="4482" marT="4482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4E0F4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noProof="0" dirty="0">
                        <a:solidFill>
                          <a:schemeClr val="bg2">
                            <a:lumMod val="50000"/>
                          </a:schemeClr>
                        </a:solidFill>
                        <a:effectLst/>
                        <a:latin typeface="Tw Cen MT"/>
                      </a:endParaRPr>
                    </a:p>
                  </a:txBody>
                  <a:tcPr marL="4482" marR="4482" marT="4482" marB="0" anchor="ctr">
                    <a:lnL w="12700" cmpd="sng">
                      <a:solidFill>
                        <a:srgbClr val="FFFFFF"/>
                      </a:solidFill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4E0F4"/>
                    </a:solidFill>
                  </a:tcPr>
                </a:tc>
              </a:tr>
              <a:tr h="370840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US" sz="1200" noProof="0" dirty="0" smtClean="0">
                          <a:solidFill>
                            <a:schemeClr val="bg1"/>
                          </a:solidFill>
                        </a:rPr>
                        <a:t>Organization by</a:t>
                      </a:r>
                    </a:p>
                    <a:p>
                      <a:pPr marL="171450" indent="-171450">
                        <a:buFont typeface="Wingdings"/>
                        <a:buChar char="à"/>
                      </a:pPr>
                      <a:r>
                        <a:rPr lang="en-US" sz="1000" noProof="0" dirty="0" smtClean="0">
                          <a:solidFill>
                            <a:schemeClr val="bg1"/>
                          </a:solidFill>
                          <a:sym typeface="Wingdings" panose="05000000000000000000" pitchFamily="2" charset="2"/>
                        </a:rPr>
                        <a:t>Involve local</a:t>
                      </a:r>
                    </a:p>
                    <a:p>
                      <a:pPr marL="0" indent="0">
                        <a:buFont typeface="Wingdings"/>
                        <a:buNone/>
                      </a:pPr>
                      <a:r>
                        <a:rPr lang="en-US" sz="1000" baseline="0" noProof="0" dirty="0" smtClean="0">
                          <a:solidFill>
                            <a:schemeClr val="bg1"/>
                          </a:solidFill>
                          <a:sym typeface="Wingdings" panose="05000000000000000000" pitchFamily="2" charset="2"/>
                        </a:rPr>
                        <a:t>      </a:t>
                      </a:r>
                      <a:r>
                        <a:rPr lang="en-US" sz="1000" noProof="0" dirty="0" smtClean="0">
                          <a:solidFill>
                            <a:schemeClr val="bg1"/>
                          </a:solidFill>
                          <a:sym typeface="Wingdings" panose="05000000000000000000" pitchFamily="2" charset="2"/>
                        </a:rPr>
                        <a:t>associations</a:t>
                      </a:r>
                      <a:endParaRPr lang="en-US" sz="1000" noProof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9A2E1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endParaRPr lang="en-US" sz="1000" noProof="0" dirty="0">
                        <a:solidFill>
                          <a:schemeClr val="bg2">
                            <a:lumMod val="50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36000" marR="3600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9A2E1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noProof="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  <a:sym typeface="Wingdings" panose="05000000000000000000" pitchFamily="2" charset="2"/>
                        </a:rPr>
                        <a:t>Audi          (K. </a:t>
                      </a:r>
                      <a:r>
                        <a:rPr lang="en-US" sz="1000" b="0" noProof="0" dirty="0" err="1" smtClean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Kolesa</a:t>
                      </a:r>
                      <a:r>
                        <a:rPr lang="en-US" sz="1000" b="0" noProof="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)</a:t>
                      </a:r>
                      <a:endParaRPr lang="en-US" sz="1000" noProof="0" dirty="0" smtClean="0">
                        <a:solidFill>
                          <a:schemeClr val="bg2">
                            <a:lumMod val="50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36000" marR="3600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9A2E1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endParaRPr lang="en-US" sz="1000" noProof="0" dirty="0">
                        <a:solidFill>
                          <a:schemeClr val="bg2">
                            <a:lumMod val="50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36000" marR="3600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9A2E1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endParaRPr lang="en-US" sz="1000" noProof="0" dirty="0">
                        <a:solidFill>
                          <a:schemeClr val="bg2">
                            <a:lumMod val="50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36000" marR="3600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9A2E1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endParaRPr lang="en-US" sz="1000" noProof="0" dirty="0">
                        <a:solidFill>
                          <a:schemeClr val="bg2">
                            <a:lumMod val="50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36000" marR="3600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0F9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endParaRPr lang="en-US" sz="1000" noProof="0" dirty="0">
                        <a:solidFill>
                          <a:schemeClr val="bg2">
                            <a:lumMod val="50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36000" marR="3600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9A2E1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endParaRPr lang="en-US" sz="1000" noProof="0" dirty="0">
                        <a:solidFill>
                          <a:schemeClr val="bg2">
                            <a:lumMod val="50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36000" marR="3600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9A2E1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endParaRPr lang="en-US" sz="1000" noProof="0" dirty="0">
                        <a:solidFill>
                          <a:schemeClr val="bg2">
                            <a:lumMod val="50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36000" marR="3600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0F9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endParaRPr lang="en-US" sz="1000" noProof="0" dirty="0">
                        <a:solidFill>
                          <a:schemeClr val="bg2">
                            <a:lumMod val="50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36000" marR="3600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0F9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endParaRPr lang="en-US" sz="1000" noProof="0" dirty="0">
                        <a:solidFill>
                          <a:schemeClr val="bg2">
                            <a:lumMod val="50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36000" marR="3600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9A2E1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endParaRPr lang="en-US" sz="1000" noProof="0" dirty="0">
                        <a:solidFill>
                          <a:schemeClr val="bg2">
                            <a:lumMod val="50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36000" marR="3600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9A2E1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endParaRPr lang="en-US" sz="1000" noProof="0" dirty="0">
                        <a:solidFill>
                          <a:schemeClr val="bg2">
                            <a:lumMod val="50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36000" marR="36000">
                    <a:lnL w="12700" cmpd="sng">
                      <a:solidFill>
                        <a:srgbClr val="FFFFFF"/>
                      </a:solidFill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9A2E1">
                        <a:tint val="20000"/>
                      </a:srgbClr>
                    </a:solidFill>
                  </a:tcPr>
                </a:tc>
              </a:tr>
              <a:tr h="370840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noProof="0" dirty="0" smtClean="0">
                          <a:solidFill>
                            <a:schemeClr val="bg1"/>
                          </a:solidFill>
                        </a:rPr>
                        <a:t>Participants </a:t>
                      </a:r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noProof="0" dirty="0" smtClean="0">
                          <a:solidFill>
                            <a:schemeClr val="bg1"/>
                          </a:solidFill>
                        </a:rPr>
                        <a:t>MS</a:t>
                      </a:r>
                    </a:p>
                  </a:txBody>
                  <a:tcPr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9A2E1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endParaRPr lang="en-US" sz="1000" noProof="0" dirty="0">
                        <a:solidFill>
                          <a:schemeClr val="bg2">
                            <a:lumMod val="50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36000" marR="3600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9A2E1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endParaRPr lang="en-US" sz="1000" noProof="0" dirty="0">
                        <a:solidFill>
                          <a:schemeClr val="bg2">
                            <a:lumMod val="50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36000" marR="3600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9A2E1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endParaRPr lang="en-US" sz="1000" noProof="0" dirty="0">
                        <a:solidFill>
                          <a:schemeClr val="bg2">
                            <a:lumMod val="50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36000" marR="3600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9A2E1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endParaRPr lang="en-US" sz="1000" noProof="0" dirty="0">
                        <a:solidFill>
                          <a:schemeClr val="bg2">
                            <a:lumMod val="50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36000" marR="3600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9A2E1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endParaRPr lang="en-US" sz="1000" noProof="0" dirty="0">
                        <a:solidFill>
                          <a:schemeClr val="bg2">
                            <a:lumMod val="50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36000" marR="3600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9A2E1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endParaRPr lang="en-US" sz="1000" noProof="0" dirty="0">
                        <a:solidFill>
                          <a:schemeClr val="bg2">
                            <a:lumMod val="50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36000" marR="3600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9A2E1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endParaRPr lang="en-US" sz="1000" noProof="0" dirty="0">
                        <a:solidFill>
                          <a:schemeClr val="bg2">
                            <a:lumMod val="50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36000" marR="3600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9A2E1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endParaRPr lang="en-US" sz="1000" noProof="0" dirty="0">
                        <a:solidFill>
                          <a:schemeClr val="bg2">
                            <a:lumMod val="50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36000" marR="3600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9A2E1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endParaRPr lang="en-US" sz="1000" noProof="0" dirty="0">
                        <a:solidFill>
                          <a:schemeClr val="bg2">
                            <a:lumMod val="50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36000" marR="3600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9A2E1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endParaRPr lang="en-US" sz="1000" noProof="0" dirty="0">
                        <a:solidFill>
                          <a:schemeClr val="bg2">
                            <a:lumMod val="50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36000" marR="3600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9A2E1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endParaRPr lang="en-US" sz="1000" noProof="0" dirty="0">
                        <a:solidFill>
                          <a:schemeClr val="bg2">
                            <a:lumMod val="50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36000" marR="3600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9A2E1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endParaRPr lang="en-US" sz="1000" noProof="0" dirty="0">
                        <a:solidFill>
                          <a:schemeClr val="bg2">
                            <a:lumMod val="50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36000" marR="36000">
                    <a:lnL w="12700" cmpd="sng">
                      <a:solidFill>
                        <a:srgbClr val="FFFFFF"/>
                      </a:solidFill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9A2E1">
                        <a:tint val="40000"/>
                      </a:srgbClr>
                    </a:solidFill>
                  </a:tcPr>
                </a:tc>
              </a:tr>
              <a:tr h="370840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noProof="0" dirty="0" smtClean="0">
                          <a:solidFill>
                            <a:schemeClr val="bg1"/>
                          </a:solidFill>
                        </a:rPr>
                        <a:t>Participants ACEA</a:t>
                      </a:r>
                    </a:p>
                  </a:txBody>
                  <a:tcPr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9A2E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noProof="0" dirty="0" err="1" smtClean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</a:rPr>
                        <a:t>J.Franz</a:t>
                      </a:r>
                      <a:endParaRPr lang="en-US" sz="1000" noProof="0" dirty="0">
                        <a:solidFill>
                          <a:schemeClr val="bg2">
                            <a:lumMod val="50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36000" marR="3600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0F9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noProof="0" dirty="0" err="1" smtClean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</a:rPr>
                        <a:t>J.Franz</a:t>
                      </a:r>
                      <a:endParaRPr lang="en-US" sz="1000" noProof="0" dirty="0">
                        <a:solidFill>
                          <a:schemeClr val="bg2">
                            <a:lumMod val="50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36000" marR="3600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0F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noProof="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</a:rPr>
                        <a:t>K. Land </a:t>
                      </a:r>
                    </a:p>
                  </a:txBody>
                  <a:tcPr marL="36000" marR="3600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0F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noProof="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</a:rPr>
                        <a:t>K. Land </a:t>
                      </a:r>
                    </a:p>
                  </a:txBody>
                  <a:tcPr marL="36000" marR="3600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0F9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noProof="0" dirty="0" err="1" smtClean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</a:rPr>
                        <a:t>J.Franz</a:t>
                      </a:r>
                      <a:endParaRPr lang="en-US" sz="1000" noProof="0" dirty="0">
                        <a:solidFill>
                          <a:schemeClr val="bg2">
                            <a:lumMod val="50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36000" marR="3600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0F9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noProof="0" dirty="0">
                        <a:solidFill>
                          <a:schemeClr val="bg2">
                            <a:lumMod val="50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36000" marR="3600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9A2E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noProof="0" dirty="0">
                        <a:solidFill>
                          <a:schemeClr val="bg2">
                            <a:lumMod val="50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36000" marR="3600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9A2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noProof="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</a:rPr>
                        <a:t>K. Land </a:t>
                      </a:r>
                    </a:p>
                  </a:txBody>
                  <a:tcPr marL="36000" marR="3600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0F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noProof="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</a:rPr>
                        <a:t>K. Land </a:t>
                      </a:r>
                    </a:p>
                  </a:txBody>
                  <a:tcPr marL="36000" marR="3600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0F9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noProof="0" dirty="0">
                        <a:solidFill>
                          <a:schemeClr val="bg2">
                            <a:lumMod val="50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36000" marR="3600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0F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noProof="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</a:rPr>
                        <a:t>K. Land </a:t>
                      </a:r>
                    </a:p>
                  </a:txBody>
                  <a:tcPr marL="36000" marR="3600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0F9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noProof="0" dirty="0">
                        <a:solidFill>
                          <a:schemeClr val="bg2">
                            <a:lumMod val="50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36000" marR="3600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0F9"/>
                    </a:solidFill>
                  </a:tcPr>
                </a:tc>
              </a:tr>
            </a:tbl>
          </a:graphicData>
        </a:graphic>
      </p:graphicFrame>
      <p:grpSp>
        <p:nvGrpSpPr>
          <p:cNvPr id="8" name="Group 4"/>
          <p:cNvGrpSpPr>
            <a:grpSpLocks/>
          </p:cNvGrpSpPr>
          <p:nvPr/>
        </p:nvGrpSpPr>
        <p:grpSpPr bwMode="auto">
          <a:xfrm>
            <a:off x="8229603" y="992103"/>
            <a:ext cx="779324" cy="747185"/>
            <a:chOff x="1415" y="1338"/>
            <a:chExt cx="2621" cy="2687"/>
          </a:xfrm>
          <a:solidFill>
            <a:srgbClr val="FFFFFF">
              <a:lumMod val="50000"/>
            </a:srgb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9" name="Freeform 5"/>
            <p:cNvSpPr>
              <a:spLocks noChangeAspect="1"/>
            </p:cNvSpPr>
            <p:nvPr/>
          </p:nvSpPr>
          <p:spPr bwMode="auto">
            <a:xfrm>
              <a:off x="2804" y="3997"/>
              <a:ext cx="25" cy="28"/>
            </a:xfrm>
            <a:custGeom>
              <a:avLst/>
              <a:gdLst>
                <a:gd name="T0" fmla="*/ 0 w 24"/>
                <a:gd name="T1" fmla="*/ 0 h 28"/>
                <a:gd name="T2" fmla="*/ 213 w 24"/>
                <a:gd name="T3" fmla="*/ 13 h 28"/>
                <a:gd name="T4" fmla="*/ 272 w 24"/>
                <a:gd name="T5" fmla="*/ 22 h 28"/>
                <a:gd name="T6" fmla="*/ 180 w 24"/>
                <a:gd name="T7" fmla="*/ 25 h 28"/>
                <a:gd name="T8" fmla="*/ 8 w 24"/>
                <a:gd name="T9" fmla="*/ 17 h 28"/>
                <a:gd name="T10" fmla="*/ 2 w 24"/>
                <a:gd name="T11" fmla="*/ 10 h 28"/>
                <a:gd name="T12" fmla="*/ 7 w 24"/>
                <a:gd name="T13" fmla="*/ 3 h 28"/>
                <a:gd name="T14" fmla="*/ 0 w 24"/>
                <a:gd name="T15" fmla="*/ 0 h 2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4"/>
                <a:gd name="T25" fmla="*/ 0 h 28"/>
                <a:gd name="T26" fmla="*/ 24 w 24"/>
                <a:gd name="T27" fmla="*/ 28 h 2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4" h="28">
                  <a:moveTo>
                    <a:pt x="0" y="0"/>
                  </a:moveTo>
                  <a:cubicBezTo>
                    <a:pt x="10" y="1"/>
                    <a:pt x="13" y="5"/>
                    <a:pt x="18" y="13"/>
                  </a:cubicBezTo>
                  <a:cubicBezTo>
                    <a:pt x="20" y="16"/>
                    <a:pt x="24" y="22"/>
                    <a:pt x="24" y="22"/>
                  </a:cubicBezTo>
                  <a:cubicBezTo>
                    <a:pt x="22" y="28"/>
                    <a:pt x="19" y="27"/>
                    <a:pt x="14" y="25"/>
                  </a:cubicBezTo>
                  <a:cubicBezTo>
                    <a:pt x="12" y="21"/>
                    <a:pt x="12" y="19"/>
                    <a:pt x="8" y="17"/>
                  </a:cubicBezTo>
                  <a:cubicBezTo>
                    <a:pt x="7" y="14"/>
                    <a:pt x="3" y="13"/>
                    <a:pt x="2" y="10"/>
                  </a:cubicBezTo>
                  <a:cubicBezTo>
                    <a:pt x="1" y="7"/>
                    <a:pt x="9" y="5"/>
                    <a:pt x="7" y="3"/>
                  </a:cubicBezTo>
                  <a:cubicBezTo>
                    <a:pt x="5" y="1"/>
                    <a:pt x="2" y="1"/>
                    <a:pt x="0" y="0"/>
                  </a:cubicBez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  <p:sp>
          <p:nvSpPr>
            <p:cNvPr id="10" name="Freeform 6"/>
            <p:cNvSpPr>
              <a:spLocks noChangeAspect="1"/>
            </p:cNvSpPr>
            <p:nvPr/>
          </p:nvSpPr>
          <p:spPr bwMode="auto">
            <a:xfrm>
              <a:off x="3919" y="3781"/>
              <a:ext cx="117" cy="114"/>
            </a:xfrm>
            <a:custGeom>
              <a:avLst/>
              <a:gdLst>
                <a:gd name="T0" fmla="*/ 26 w 116"/>
                <a:gd name="T1" fmla="*/ 194 h 112"/>
                <a:gd name="T2" fmla="*/ 36 w 116"/>
                <a:gd name="T3" fmla="*/ 179 h 112"/>
                <a:gd name="T4" fmla="*/ 33 w 116"/>
                <a:gd name="T5" fmla="*/ 149 h 112"/>
                <a:gd name="T6" fmla="*/ 120 w 116"/>
                <a:gd name="T7" fmla="*/ 130 h 112"/>
                <a:gd name="T8" fmla="*/ 134 w 116"/>
                <a:gd name="T9" fmla="*/ 114 h 112"/>
                <a:gd name="T10" fmla="*/ 146 w 116"/>
                <a:gd name="T11" fmla="*/ 94 h 112"/>
                <a:gd name="T12" fmla="*/ 176 w 116"/>
                <a:gd name="T13" fmla="*/ 0 h 112"/>
                <a:gd name="T14" fmla="*/ 156 w 116"/>
                <a:gd name="T15" fmla="*/ 122 h 112"/>
                <a:gd name="T16" fmla="*/ 163 w 116"/>
                <a:gd name="T17" fmla="*/ 161 h 112"/>
                <a:gd name="T18" fmla="*/ 148 w 116"/>
                <a:gd name="T19" fmla="*/ 194 h 112"/>
                <a:gd name="T20" fmla="*/ 135 w 116"/>
                <a:gd name="T21" fmla="*/ 245 h 112"/>
                <a:gd name="T22" fmla="*/ 57 w 116"/>
                <a:gd name="T23" fmla="*/ 293 h 112"/>
                <a:gd name="T24" fmla="*/ 48 w 116"/>
                <a:gd name="T25" fmla="*/ 321 h 112"/>
                <a:gd name="T26" fmla="*/ 12 w 116"/>
                <a:gd name="T27" fmla="*/ 314 h 112"/>
                <a:gd name="T28" fmla="*/ 0 w 116"/>
                <a:gd name="T29" fmla="*/ 269 h 112"/>
                <a:gd name="T30" fmla="*/ 15 w 116"/>
                <a:gd name="T31" fmla="*/ 213 h 112"/>
                <a:gd name="T32" fmla="*/ 23 w 116"/>
                <a:gd name="T33" fmla="*/ 205 h 112"/>
                <a:gd name="T34" fmla="*/ 26 w 116"/>
                <a:gd name="T35" fmla="*/ 194 h 11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16"/>
                <a:gd name="T55" fmla="*/ 0 h 112"/>
                <a:gd name="T56" fmla="*/ 116 w 116"/>
                <a:gd name="T57" fmla="*/ 112 h 112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16" h="112">
                  <a:moveTo>
                    <a:pt x="26" y="69"/>
                  </a:moveTo>
                  <a:cubicBezTo>
                    <a:pt x="31" y="68"/>
                    <a:pt x="31" y="66"/>
                    <a:pt x="36" y="64"/>
                  </a:cubicBezTo>
                  <a:cubicBezTo>
                    <a:pt x="37" y="62"/>
                    <a:pt x="30" y="57"/>
                    <a:pt x="33" y="54"/>
                  </a:cubicBezTo>
                  <a:cubicBezTo>
                    <a:pt x="27" y="48"/>
                    <a:pt x="50" y="47"/>
                    <a:pt x="59" y="46"/>
                  </a:cubicBezTo>
                  <a:cubicBezTo>
                    <a:pt x="66" y="44"/>
                    <a:pt x="65" y="39"/>
                    <a:pt x="73" y="38"/>
                  </a:cubicBezTo>
                  <a:cubicBezTo>
                    <a:pt x="78" y="37"/>
                    <a:pt x="85" y="28"/>
                    <a:pt x="85" y="28"/>
                  </a:cubicBezTo>
                  <a:cubicBezTo>
                    <a:pt x="99" y="20"/>
                    <a:pt x="98" y="5"/>
                    <a:pt x="114" y="0"/>
                  </a:cubicBezTo>
                  <a:cubicBezTo>
                    <a:pt x="116" y="2"/>
                    <a:pt x="97" y="32"/>
                    <a:pt x="95" y="42"/>
                  </a:cubicBezTo>
                  <a:cubicBezTo>
                    <a:pt x="91" y="49"/>
                    <a:pt x="96" y="49"/>
                    <a:pt x="102" y="58"/>
                  </a:cubicBezTo>
                  <a:cubicBezTo>
                    <a:pt x="101" y="61"/>
                    <a:pt x="91" y="67"/>
                    <a:pt x="87" y="69"/>
                  </a:cubicBezTo>
                  <a:cubicBezTo>
                    <a:pt x="85" y="75"/>
                    <a:pt x="80" y="80"/>
                    <a:pt x="74" y="82"/>
                  </a:cubicBezTo>
                  <a:cubicBezTo>
                    <a:pt x="73" y="84"/>
                    <a:pt x="60" y="99"/>
                    <a:pt x="57" y="100"/>
                  </a:cubicBezTo>
                  <a:cubicBezTo>
                    <a:pt x="54" y="104"/>
                    <a:pt x="51" y="108"/>
                    <a:pt x="48" y="111"/>
                  </a:cubicBezTo>
                  <a:cubicBezTo>
                    <a:pt x="32" y="110"/>
                    <a:pt x="24" y="112"/>
                    <a:pt x="12" y="108"/>
                  </a:cubicBezTo>
                  <a:cubicBezTo>
                    <a:pt x="9" y="100"/>
                    <a:pt x="4" y="97"/>
                    <a:pt x="0" y="91"/>
                  </a:cubicBezTo>
                  <a:cubicBezTo>
                    <a:pt x="1" y="85"/>
                    <a:pt x="8" y="76"/>
                    <a:pt x="15" y="74"/>
                  </a:cubicBezTo>
                  <a:cubicBezTo>
                    <a:pt x="18" y="73"/>
                    <a:pt x="23" y="72"/>
                    <a:pt x="23" y="72"/>
                  </a:cubicBezTo>
                  <a:cubicBezTo>
                    <a:pt x="26" y="70"/>
                    <a:pt x="26" y="71"/>
                    <a:pt x="26" y="69"/>
                  </a:cubicBez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  <p:grpSp>
          <p:nvGrpSpPr>
            <p:cNvPr id="11" name="Group 8"/>
            <p:cNvGrpSpPr>
              <a:grpSpLocks noChangeAspect="1"/>
            </p:cNvGrpSpPr>
            <p:nvPr/>
          </p:nvGrpSpPr>
          <p:grpSpPr bwMode="auto">
            <a:xfrm>
              <a:off x="3000" y="2184"/>
              <a:ext cx="229" cy="165"/>
              <a:chOff x="3131" y="2031"/>
              <a:chExt cx="227" cy="163"/>
            </a:xfrm>
            <a:grpFill/>
          </p:grpSpPr>
          <p:sp>
            <p:nvSpPr>
              <p:cNvPr id="127" name="Freeform 9"/>
              <p:cNvSpPr>
                <a:spLocks noChangeAspect="1"/>
              </p:cNvSpPr>
              <p:nvPr/>
            </p:nvSpPr>
            <p:spPr bwMode="auto">
              <a:xfrm>
                <a:off x="3131" y="2103"/>
                <a:ext cx="40" cy="31"/>
              </a:xfrm>
              <a:custGeom>
                <a:avLst/>
                <a:gdLst>
                  <a:gd name="T0" fmla="*/ 18 w 40"/>
                  <a:gd name="T1" fmla="*/ 1 h 31"/>
                  <a:gd name="T2" fmla="*/ 26 w 40"/>
                  <a:gd name="T3" fmla="*/ 4 h 31"/>
                  <a:gd name="T4" fmla="*/ 36 w 40"/>
                  <a:gd name="T5" fmla="*/ 13 h 31"/>
                  <a:gd name="T6" fmla="*/ 26 w 40"/>
                  <a:gd name="T7" fmla="*/ 25 h 31"/>
                  <a:gd name="T8" fmla="*/ 16 w 40"/>
                  <a:gd name="T9" fmla="*/ 30 h 31"/>
                  <a:gd name="T10" fmla="*/ 12 w 40"/>
                  <a:gd name="T11" fmla="*/ 19 h 31"/>
                  <a:gd name="T12" fmla="*/ 0 w 40"/>
                  <a:gd name="T13" fmla="*/ 23 h 31"/>
                  <a:gd name="T14" fmla="*/ 15 w 40"/>
                  <a:gd name="T15" fmla="*/ 12 h 31"/>
                  <a:gd name="T16" fmla="*/ 18 w 40"/>
                  <a:gd name="T17" fmla="*/ 1 h 31"/>
                  <a:gd name="T18" fmla="*/ 22 w 40"/>
                  <a:gd name="T19" fmla="*/ 3 h 31"/>
                  <a:gd name="T20" fmla="*/ 18 w 40"/>
                  <a:gd name="T21" fmla="*/ 1 h 31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40"/>
                  <a:gd name="T34" fmla="*/ 0 h 31"/>
                  <a:gd name="T35" fmla="*/ 40 w 40"/>
                  <a:gd name="T36" fmla="*/ 31 h 31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40" h="31">
                    <a:moveTo>
                      <a:pt x="18" y="1"/>
                    </a:moveTo>
                    <a:cubicBezTo>
                      <a:pt x="21" y="2"/>
                      <a:pt x="24" y="2"/>
                      <a:pt x="26" y="4"/>
                    </a:cubicBezTo>
                    <a:cubicBezTo>
                      <a:pt x="32" y="9"/>
                      <a:pt x="29" y="11"/>
                      <a:pt x="36" y="13"/>
                    </a:cubicBezTo>
                    <a:cubicBezTo>
                      <a:pt x="40" y="22"/>
                      <a:pt x="32" y="21"/>
                      <a:pt x="26" y="25"/>
                    </a:cubicBezTo>
                    <a:cubicBezTo>
                      <a:pt x="22" y="31"/>
                      <a:pt x="25" y="31"/>
                      <a:pt x="16" y="30"/>
                    </a:cubicBezTo>
                    <a:cubicBezTo>
                      <a:pt x="15" y="26"/>
                      <a:pt x="14" y="23"/>
                      <a:pt x="12" y="19"/>
                    </a:cubicBezTo>
                    <a:cubicBezTo>
                      <a:pt x="5" y="21"/>
                      <a:pt x="6" y="24"/>
                      <a:pt x="0" y="23"/>
                    </a:cubicBezTo>
                    <a:cubicBezTo>
                      <a:pt x="4" y="16"/>
                      <a:pt x="7" y="15"/>
                      <a:pt x="15" y="12"/>
                    </a:cubicBezTo>
                    <a:cubicBezTo>
                      <a:pt x="17" y="9"/>
                      <a:pt x="16" y="4"/>
                      <a:pt x="18" y="1"/>
                    </a:cubicBezTo>
                    <a:cubicBezTo>
                      <a:pt x="19" y="0"/>
                      <a:pt x="22" y="3"/>
                      <a:pt x="22" y="3"/>
                    </a:cubicBezTo>
                    <a:cubicBezTo>
                      <a:pt x="22" y="3"/>
                      <a:pt x="19" y="2"/>
                      <a:pt x="18" y="1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128" name="Freeform 10"/>
              <p:cNvSpPr>
                <a:spLocks noChangeAspect="1"/>
              </p:cNvSpPr>
              <p:nvPr/>
            </p:nvSpPr>
            <p:spPr bwMode="auto">
              <a:xfrm>
                <a:off x="3131" y="2136"/>
                <a:ext cx="52" cy="58"/>
              </a:xfrm>
              <a:custGeom>
                <a:avLst/>
                <a:gdLst>
                  <a:gd name="T0" fmla="*/ 35 w 52"/>
                  <a:gd name="T1" fmla="*/ 3 h 58"/>
                  <a:gd name="T2" fmla="*/ 51 w 52"/>
                  <a:gd name="T3" fmla="*/ 10 h 58"/>
                  <a:gd name="T4" fmla="*/ 44 w 52"/>
                  <a:gd name="T5" fmla="*/ 15 h 58"/>
                  <a:gd name="T6" fmla="*/ 33 w 52"/>
                  <a:gd name="T7" fmla="*/ 33 h 58"/>
                  <a:gd name="T8" fmla="*/ 18 w 52"/>
                  <a:gd name="T9" fmla="*/ 34 h 58"/>
                  <a:gd name="T10" fmla="*/ 11 w 52"/>
                  <a:gd name="T11" fmla="*/ 58 h 58"/>
                  <a:gd name="T12" fmla="*/ 14 w 52"/>
                  <a:gd name="T13" fmla="*/ 44 h 58"/>
                  <a:gd name="T14" fmla="*/ 0 w 52"/>
                  <a:gd name="T15" fmla="*/ 33 h 58"/>
                  <a:gd name="T16" fmla="*/ 15 w 52"/>
                  <a:gd name="T17" fmla="*/ 13 h 58"/>
                  <a:gd name="T18" fmla="*/ 35 w 52"/>
                  <a:gd name="T19" fmla="*/ 3 h 58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52"/>
                  <a:gd name="T31" fmla="*/ 0 h 58"/>
                  <a:gd name="T32" fmla="*/ 52 w 52"/>
                  <a:gd name="T33" fmla="*/ 58 h 58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52" h="58">
                    <a:moveTo>
                      <a:pt x="35" y="3"/>
                    </a:moveTo>
                    <a:cubicBezTo>
                      <a:pt x="41" y="4"/>
                      <a:pt x="45" y="8"/>
                      <a:pt x="51" y="10"/>
                    </a:cubicBezTo>
                    <a:cubicBezTo>
                      <a:pt x="49" y="19"/>
                      <a:pt x="52" y="10"/>
                      <a:pt x="44" y="15"/>
                    </a:cubicBezTo>
                    <a:cubicBezTo>
                      <a:pt x="38" y="19"/>
                      <a:pt x="41" y="30"/>
                      <a:pt x="33" y="33"/>
                    </a:cubicBezTo>
                    <a:cubicBezTo>
                      <a:pt x="29" y="30"/>
                      <a:pt x="18" y="34"/>
                      <a:pt x="18" y="34"/>
                    </a:cubicBezTo>
                    <a:cubicBezTo>
                      <a:pt x="15" y="42"/>
                      <a:pt x="18" y="53"/>
                      <a:pt x="11" y="58"/>
                    </a:cubicBezTo>
                    <a:cubicBezTo>
                      <a:pt x="3" y="55"/>
                      <a:pt x="10" y="47"/>
                      <a:pt x="14" y="44"/>
                    </a:cubicBezTo>
                    <a:cubicBezTo>
                      <a:pt x="11" y="32"/>
                      <a:pt x="6" y="42"/>
                      <a:pt x="0" y="33"/>
                    </a:cubicBezTo>
                    <a:cubicBezTo>
                      <a:pt x="2" y="24"/>
                      <a:pt x="5" y="16"/>
                      <a:pt x="15" y="13"/>
                    </a:cubicBezTo>
                    <a:cubicBezTo>
                      <a:pt x="18" y="0"/>
                      <a:pt x="17" y="3"/>
                      <a:pt x="35" y="3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129" name="Freeform 11"/>
              <p:cNvSpPr>
                <a:spLocks noChangeAspect="1"/>
              </p:cNvSpPr>
              <p:nvPr/>
            </p:nvSpPr>
            <p:spPr bwMode="auto">
              <a:xfrm>
                <a:off x="3177" y="2031"/>
                <a:ext cx="181" cy="157"/>
              </a:xfrm>
              <a:custGeom>
                <a:avLst/>
                <a:gdLst>
                  <a:gd name="T0" fmla="*/ 176 w 181"/>
                  <a:gd name="T1" fmla="*/ 145 h 157"/>
                  <a:gd name="T2" fmla="*/ 181 w 181"/>
                  <a:gd name="T3" fmla="*/ 121 h 157"/>
                  <a:gd name="T4" fmla="*/ 169 w 181"/>
                  <a:gd name="T5" fmla="*/ 101 h 157"/>
                  <a:gd name="T6" fmla="*/ 157 w 181"/>
                  <a:gd name="T7" fmla="*/ 82 h 157"/>
                  <a:gd name="T8" fmla="*/ 139 w 181"/>
                  <a:gd name="T9" fmla="*/ 58 h 157"/>
                  <a:gd name="T10" fmla="*/ 155 w 181"/>
                  <a:gd name="T11" fmla="*/ 45 h 157"/>
                  <a:gd name="T12" fmla="*/ 166 w 181"/>
                  <a:gd name="T13" fmla="*/ 41 h 157"/>
                  <a:gd name="T14" fmla="*/ 173 w 181"/>
                  <a:gd name="T15" fmla="*/ 21 h 157"/>
                  <a:gd name="T16" fmla="*/ 169 w 181"/>
                  <a:gd name="T17" fmla="*/ 5 h 157"/>
                  <a:gd name="T18" fmla="*/ 168 w 181"/>
                  <a:gd name="T19" fmla="*/ 1 h 157"/>
                  <a:gd name="T20" fmla="*/ 157 w 181"/>
                  <a:gd name="T21" fmla="*/ 7 h 157"/>
                  <a:gd name="T22" fmla="*/ 139 w 181"/>
                  <a:gd name="T23" fmla="*/ 12 h 157"/>
                  <a:gd name="T24" fmla="*/ 74 w 181"/>
                  <a:gd name="T25" fmla="*/ 18 h 157"/>
                  <a:gd name="T26" fmla="*/ 50 w 181"/>
                  <a:gd name="T27" fmla="*/ 33 h 157"/>
                  <a:gd name="T28" fmla="*/ 20 w 181"/>
                  <a:gd name="T29" fmla="*/ 49 h 157"/>
                  <a:gd name="T30" fmla="*/ 11 w 181"/>
                  <a:gd name="T31" fmla="*/ 55 h 157"/>
                  <a:gd name="T32" fmla="*/ 2 w 181"/>
                  <a:gd name="T33" fmla="*/ 65 h 157"/>
                  <a:gd name="T34" fmla="*/ 10 w 181"/>
                  <a:gd name="T35" fmla="*/ 89 h 157"/>
                  <a:gd name="T36" fmla="*/ 17 w 181"/>
                  <a:gd name="T37" fmla="*/ 101 h 157"/>
                  <a:gd name="T38" fmla="*/ 26 w 181"/>
                  <a:gd name="T39" fmla="*/ 111 h 157"/>
                  <a:gd name="T40" fmla="*/ 53 w 181"/>
                  <a:gd name="T41" fmla="*/ 114 h 157"/>
                  <a:gd name="T42" fmla="*/ 54 w 181"/>
                  <a:gd name="T43" fmla="*/ 126 h 157"/>
                  <a:gd name="T44" fmla="*/ 58 w 181"/>
                  <a:gd name="T45" fmla="*/ 132 h 157"/>
                  <a:gd name="T46" fmla="*/ 58 w 181"/>
                  <a:gd name="T47" fmla="*/ 144 h 157"/>
                  <a:gd name="T48" fmla="*/ 85 w 181"/>
                  <a:gd name="T49" fmla="*/ 131 h 157"/>
                  <a:gd name="T50" fmla="*/ 109 w 181"/>
                  <a:gd name="T51" fmla="*/ 138 h 157"/>
                  <a:gd name="T52" fmla="*/ 119 w 181"/>
                  <a:gd name="T53" fmla="*/ 147 h 157"/>
                  <a:gd name="T54" fmla="*/ 128 w 181"/>
                  <a:gd name="T55" fmla="*/ 150 h 157"/>
                  <a:gd name="T56" fmla="*/ 146 w 181"/>
                  <a:gd name="T57" fmla="*/ 154 h 157"/>
                  <a:gd name="T58" fmla="*/ 176 w 181"/>
                  <a:gd name="T59" fmla="*/ 145 h 157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w 181"/>
                  <a:gd name="T91" fmla="*/ 0 h 157"/>
                  <a:gd name="T92" fmla="*/ 181 w 181"/>
                  <a:gd name="T93" fmla="*/ 157 h 157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T90" t="T91" r="T92" b="T93"/>
                <a:pathLst>
                  <a:path w="181" h="157">
                    <a:moveTo>
                      <a:pt x="176" y="145"/>
                    </a:moveTo>
                    <a:cubicBezTo>
                      <a:pt x="165" y="141"/>
                      <a:pt x="179" y="128"/>
                      <a:pt x="181" y="121"/>
                    </a:cubicBezTo>
                    <a:cubicBezTo>
                      <a:pt x="179" y="111"/>
                      <a:pt x="178" y="107"/>
                      <a:pt x="169" y="101"/>
                    </a:cubicBezTo>
                    <a:cubicBezTo>
                      <a:pt x="166" y="95"/>
                      <a:pt x="162" y="87"/>
                      <a:pt x="157" y="82"/>
                    </a:cubicBezTo>
                    <a:cubicBezTo>
                      <a:pt x="154" y="73"/>
                      <a:pt x="142" y="68"/>
                      <a:pt x="139" y="58"/>
                    </a:cubicBezTo>
                    <a:cubicBezTo>
                      <a:pt x="140" y="45"/>
                      <a:pt x="143" y="46"/>
                      <a:pt x="155" y="45"/>
                    </a:cubicBezTo>
                    <a:cubicBezTo>
                      <a:pt x="158" y="43"/>
                      <a:pt x="166" y="41"/>
                      <a:pt x="166" y="41"/>
                    </a:cubicBezTo>
                    <a:cubicBezTo>
                      <a:pt x="169" y="37"/>
                      <a:pt x="172" y="27"/>
                      <a:pt x="173" y="21"/>
                    </a:cubicBezTo>
                    <a:cubicBezTo>
                      <a:pt x="175" y="15"/>
                      <a:pt x="174" y="8"/>
                      <a:pt x="169" y="5"/>
                    </a:cubicBezTo>
                    <a:cubicBezTo>
                      <a:pt x="169" y="4"/>
                      <a:pt x="169" y="1"/>
                      <a:pt x="168" y="1"/>
                    </a:cubicBezTo>
                    <a:cubicBezTo>
                      <a:pt x="164" y="0"/>
                      <a:pt x="157" y="7"/>
                      <a:pt x="157" y="7"/>
                    </a:cubicBezTo>
                    <a:cubicBezTo>
                      <a:pt x="153" y="18"/>
                      <a:pt x="157" y="13"/>
                      <a:pt x="139" y="12"/>
                    </a:cubicBezTo>
                    <a:cubicBezTo>
                      <a:pt x="116" y="14"/>
                      <a:pt x="98" y="17"/>
                      <a:pt x="74" y="18"/>
                    </a:cubicBezTo>
                    <a:cubicBezTo>
                      <a:pt x="69" y="26"/>
                      <a:pt x="58" y="28"/>
                      <a:pt x="50" y="33"/>
                    </a:cubicBezTo>
                    <a:cubicBezTo>
                      <a:pt x="40" y="39"/>
                      <a:pt x="29" y="43"/>
                      <a:pt x="20" y="49"/>
                    </a:cubicBezTo>
                    <a:cubicBezTo>
                      <a:pt x="17" y="53"/>
                      <a:pt x="15" y="52"/>
                      <a:pt x="11" y="55"/>
                    </a:cubicBezTo>
                    <a:cubicBezTo>
                      <a:pt x="10" y="58"/>
                      <a:pt x="5" y="63"/>
                      <a:pt x="2" y="65"/>
                    </a:cubicBezTo>
                    <a:cubicBezTo>
                      <a:pt x="0" y="74"/>
                      <a:pt x="2" y="84"/>
                      <a:pt x="10" y="89"/>
                    </a:cubicBezTo>
                    <a:cubicBezTo>
                      <a:pt x="11" y="94"/>
                      <a:pt x="13" y="98"/>
                      <a:pt x="17" y="101"/>
                    </a:cubicBezTo>
                    <a:cubicBezTo>
                      <a:pt x="18" y="106"/>
                      <a:pt x="21" y="109"/>
                      <a:pt x="26" y="111"/>
                    </a:cubicBezTo>
                    <a:cubicBezTo>
                      <a:pt x="31" y="118"/>
                      <a:pt x="46" y="113"/>
                      <a:pt x="53" y="114"/>
                    </a:cubicBezTo>
                    <a:cubicBezTo>
                      <a:pt x="60" y="119"/>
                      <a:pt x="47" y="116"/>
                      <a:pt x="54" y="126"/>
                    </a:cubicBezTo>
                    <a:cubicBezTo>
                      <a:pt x="55" y="128"/>
                      <a:pt x="58" y="132"/>
                      <a:pt x="58" y="132"/>
                    </a:cubicBezTo>
                    <a:cubicBezTo>
                      <a:pt x="58" y="136"/>
                      <a:pt x="55" y="141"/>
                      <a:pt x="58" y="144"/>
                    </a:cubicBezTo>
                    <a:cubicBezTo>
                      <a:pt x="62" y="144"/>
                      <a:pt x="77" y="132"/>
                      <a:pt x="85" y="131"/>
                    </a:cubicBezTo>
                    <a:cubicBezTo>
                      <a:pt x="93" y="132"/>
                      <a:pt x="101" y="131"/>
                      <a:pt x="109" y="138"/>
                    </a:cubicBezTo>
                    <a:cubicBezTo>
                      <a:pt x="110" y="141"/>
                      <a:pt x="115" y="145"/>
                      <a:pt x="119" y="147"/>
                    </a:cubicBezTo>
                    <a:cubicBezTo>
                      <a:pt x="122" y="148"/>
                      <a:pt x="128" y="150"/>
                      <a:pt x="128" y="150"/>
                    </a:cubicBezTo>
                    <a:cubicBezTo>
                      <a:pt x="135" y="157"/>
                      <a:pt x="134" y="155"/>
                      <a:pt x="146" y="154"/>
                    </a:cubicBezTo>
                    <a:cubicBezTo>
                      <a:pt x="160" y="149"/>
                      <a:pt x="151" y="150"/>
                      <a:pt x="176" y="145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</p:grpSp>
        <p:sp>
          <p:nvSpPr>
            <p:cNvPr id="12" name="Freeform 12"/>
            <p:cNvSpPr>
              <a:spLocks noChangeAspect="1"/>
            </p:cNvSpPr>
            <p:nvPr/>
          </p:nvSpPr>
          <p:spPr bwMode="auto">
            <a:xfrm>
              <a:off x="3185" y="1986"/>
              <a:ext cx="279" cy="252"/>
            </a:xfrm>
            <a:custGeom>
              <a:avLst/>
              <a:gdLst>
                <a:gd name="T0" fmla="*/ 0 w 1104"/>
                <a:gd name="T1" fmla="*/ 0 h 995"/>
                <a:gd name="T2" fmla="*/ 0 w 1104"/>
                <a:gd name="T3" fmla="*/ 0 h 995"/>
                <a:gd name="T4" fmla="*/ 0 w 1104"/>
                <a:gd name="T5" fmla="*/ 0 h 995"/>
                <a:gd name="T6" fmla="*/ 0 w 1104"/>
                <a:gd name="T7" fmla="*/ 0 h 995"/>
                <a:gd name="T8" fmla="*/ 0 w 1104"/>
                <a:gd name="T9" fmla="*/ 0 h 995"/>
                <a:gd name="T10" fmla="*/ 0 w 1104"/>
                <a:gd name="T11" fmla="*/ 0 h 995"/>
                <a:gd name="T12" fmla="*/ 0 w 1104"/>
                <a:gd name="T13" fmla="*/ 0 h 995"/>
                <a:gd name="T14" fmla="*/ 0 w 1104"/>
                <a:gd name="T15" fmla="*/ 0 h 995"/>
                <a:gd name="T16" fmla="*/ 0 w 1104"/>
                <a:gd name="T17" fmla="*/ 0 h 995"/>
                <a:gd name="T18" fmla="*/ 0 w 1104"/>
                <a:gd name="T19" fmla="*/ 0 h 995"/>
                <a:gd name="T20" fmla="*/ 0 w 1104"/>
                <a:gd name="T21" fmla="*/ 0 h 995"/>
                <a:gd name="T22" fmla="*/ 0 w 1104"/>
                <a:gd name="T23" fmla="*/ 0 h 995"/>
                <a:gd name="T24" fmla="*/ 0 w 1104"/>
                <a:gd name="T25" fmla="*/ 0 h 995"/>
                <a:gd name="T26" fmla="*/ 0 w 1104"/>
                <a:gd name="T27" fmla="*/ 0 h 995"/>
                <a:gd name="T28" fmla="*/ 0 w 1104"/>
                <a:gd name="T29" fmla="*/ 0 h 995"/>
                <a:gd name="T30" fmla="*/ 0 w 1104"/>
                <a:gd name="T31" fmla="*/ 0 h 995"/>
                <a:gd name="T32" fmla="*/ 0 w 1104"/>
                <a:gd name="T33" fmla="*/ 0 h 995"/>
                <a:gd name="T34" fmla="*/ 0 w 1104"/>
                <a:gd name="T35" fmla="*/ 0 h 995"/>
                <a:gd name="T36" fmla="*/ 0 w 1104"/>
                <a:gd name="T37" fmla="*/ 0 h 995"/>
                <a:gd name="T38" fmla="*/ 0 w 1104"/>
                <a:gd name="T39" fmla="*/ 0 h 995"/>
                <a:gd name="T40" fmla="*/ 0 w 1104"/>
                <a:gd name="T41" fmla="*/ 0 h 995"/>
                <a:gd name="T42" fmla="*/ 0 w 1104"/>
                <a:gd name="T43" fmla="*/ 0 h 995"/>
                <a:gd name="T44" fmla="*/ 0 w 1104"/>
                <a:gd name="T45" fmla="*/ 0 h 995"/>
                <a:gd name="T46" fmla="*/ 0 w 1104"/>
                <a:gd name="T47" fmla="*/ 0 h 995"/>
                <a:gd name="T48" fmla="*/ 0 w 1104"/>
                <a:gd name="T49" fmla="*/ 0 h 995"/>
                <a:gd name="T50" fmla="*/ 0 w 1104"/>
                <a:gd name="T51" fmla="*/ 0 h 995"/>
                <a:gd name="T52" fmla="*/ 0 w 1104"/>
                <a:gd name="T53" fmla="*/ 0 h 995"/>
                <a:gd name="T54" fmla="*/ 0 w 1104"/>
                <a:gd name="T55" fmla="*/ 0 h 995"/>
                <a:gd name="T56" fmla="*/ 0 w 1104"/>
                <a:gd name="T57" fmla="*/ 0 h 995"/>
                <a:gd name="T58" fmla="*/ 0 w 1104"/>
                <a:gd name="T59" fmla="*/ 0 h 995"/>
                <a:gd name="T60" fmla="*/ 0 w 1104"/>
                <a:gd name="T61" fmla="*/ 0 h 995"/>
                <a:gd name="T62" fmla="*/ 0 w 1104"/>
                <a:gd name="T63" fmla="*/ 0 h 995"/>
                <a:gd name="T64" fmla="*/ 0 w 1104"/>
                <a:gd name="T65" fmla="*/ 0 h 995"/>
                <a:gd name="T66" fmla="*/ 0 w 1104"/>
                <a:gd name="T67" fmla="*/ 0 h 995"/>
                <a:gd name="T68" fmla="*/ 0 w 1104"/>
                <a:gd name="T69" fmla="*/ 0 h 995"/>
                <a:gd name="T70" fmla="*/ 0 w 1104"/>
                <a:gd name="T71" fmla="*/ 0 h 995"/>
                <a:gd name="T72" fmla="*/ 0 w 1104"/>
                <a:gd name="T73" fmla="*/ 0 h 995"/>
                <a:gd name="T74" fmla="*/ 0 w 1104"/>
                <a:gd name="T75" fmla="*/ 0 h 995"/>
                <a:gd name="T76" fmla="*/ 0 w 1104"/>
                <a:gd name="T77" fmla="*/ 0 h 995"/>
                <a:gd name="T78" fmla="*/ 0 w 1104"/>
                <a:gd name="T79" fmla="*/ 0 h 995"/>
                <a:gd name="T80" fmla="*/ 0 w 1104"/>
                <a:gd name="T81" fmla="*/ 0 h 995"/>
                <a:gd name="T82" fmla="*/ 0 w 1104"/>
                <a:gd name="T83" fmla="*/ 0 h 995"/>
                <a:gd name="T84" fmla="*/ 0 w 1104"/>
                <a:gd name="T85" fmla="*/ 0 h 995"/>
                <a:gd name="T86" fmla="*/ 0 w 1104"/>
                <a:gd name="T87" fmla="*/ 0 h 995"/>
                <a:gd name="T88" fmla="*/ 0 w 1104"/>
                <a:gd name="T89" fmla="*/ 0 h 995"/>
                <a:gd name="T90" fmla="*/ 0 w 1104"/>
                <a:gd name="T91" fmla="*/ 0 h 995"/>
                <a:gd name="T92" fmla="*/ 0 w 1104"/>
                <a:gd name="T93" fmla="*/ 0 h 995"/>
                <a:gd name="T94" fmla="*/ 0 w 1104"/>
                <a:gd name="T95" fmla="*/ 0 h 995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1104"/>
                <a:gd name="T145" fmla="*/ 0 h 995"/>
                <a:gd name="T146" fmla="*/ 1104 w 1104"/>
                <a:gd name="T147" fmla="*/ 995 h 995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1104" h="995">
                  <a:moveTo>
                    <a:pt x="172" y="927"/>
                  </a:moveTo>
                  <a:cubicBezTo>
                    <a:pt x="228" y="935"/>
                    <a:pt x="260" y="955"/>
                    <a:pt x="312" y="967"/>
                  </a:cubicBezTo>
                  <a:cubicBezTo>
                    <a:pt x="336" y="971"/>
                    <a:pt x="352" y="983"/>
                    <a:pt x="372" y="991"/>
                  </a:cubicBezTo>
                  <a:cubicBezTo>
                    <a:pt x="376" y="991"/>
                    <a:pt x="384" y="995"/>
                    <a:pt x="384" y="995"/>
                  </a:cubicBezTo>
                  <a:cubicBezTo>
                    <a:pt x="412" y="987"/>
                    <a:pt x="404" y="983"/>
                    <a:pt x="428" y="967"/>
                  </a:cubicBezTo>
                  <a:cubicBezTo>
                    <a:pt x="440" y="927"/>
                    <a:pt x="448" y="875"/>
                    <a:pt x="480" y="843"/>
                  </a:cubicBezTo>
                  <a:cubicBezTo>
                    <a:pt x="500" y="823"/>
                    <a:pt x="532" y="823"/>
                    <a:pt x="552" y="803"/>
                  </a:cubicBezTo>
                  <a:cubicBezTo>
                    <a:pt x="564" y="763"/>
                    <a:pt x="532" y="695"/>
                    <a:pt x="576" y="679"/>
                  </a:cubicBezTo>
                  <a:cubicBezTo>
                    <a:pt x="604" y="687"/>
                    <a:pt x="636" y="703"/>
                    <a:pt x="660" y="719"/>
                  </a:cubicBezTo>
                  <a:cubicBezTo>
                    <a:pt x="688" y="715"/>
                    <a:pt x="724" y="727"/>
                    <a:pt x="748" y="711"/>
                  </a:cubicBezTo>
                  <a:cubicBezTo>
                    <a:pt x="808" y="671"/>
                    <a:pt x="732" y="667"/>
                    <a:pt x="756" y="639"/>
                  </a:cubicBezTo>
                  <a:cubicBezTo>
                    <a:pt x="764" y="627"/>
                    <a:pt x="792" y="615"/>
                    <a:pt x="792" y="615"/>
                  </a:cubicBezTo>
                  <a:cubicBezTo>
                    <a:pt x="944" y="631"/>
                    <a:pt x="872" y="627"/>
                    <a:pt x="1008" y="623"/>
                  </a:cubicBezTo>
                  <a:cubicBezTo>
                    <a:pt x="1024" y="615"/>
                    <a:pt x="1036" y="611"/>
                    <a:pt x="1052" y="603"/>
                  </a:cubicBezTo>
                  <a:cubicBezTo>
                    <a:pt x="1056" y="587"/>
                    <a:pt x="1060" y="579"/>
                    <a:pt x="1076" y="575"/>
                  </a:cubicBezTo>
                  <a:cubicBezTo>
                    <a:pt x="1084" y="555"/>
                    <a:pt x="1096" y="547"/>
                    <a:pt x="1104" y="527"/>
                  </a:cubicBezTo>
                  <a:cubicBezTo>
                    <a:pt x="1100" y="476"/>
                    <a:pt x="1068" y="352"/>
                    <a:pt x="1020" y="320"/>
                  </a:cubicBezTo>
                  <a:cubicBezTo>
                    <a:pt x="1008" y="296"/>
                    <a:pt x="984" y="280"/>
                    <a:pt x="972" y="252"/>
                  </a:cubicBezTo>
                  <a:cubicBezTo>
                    <a:pt x="960" y="184"/>
                    <a:pt x="956" y="116"/>
                    <a:pt x="936" y="52"/>
                  </a:cubicBezTo>
                  <a:cubicBezTo>
                    <a:pt x="932" y="44"/>
                    <a:pt x="956" y="8"/>
                    <a:pt x="948" y="4"/>
                  </a:cubicBezTo>
                  <a:cubicBezTo>
                    <a:pt x="932" y="0"/>
                    <a:pt x="888" y="0"/>
                    <a:pt x="872" y="0"/>
                  </a:cubicBezTo>
                  <a:cubicBezTo>
                    <a:pt x="816" y="4"/>
                    <a:pt x="764" y="8"/>
                    <a:pt x="708" y="16"/>
                  </a:cubicBezTo>
                  <a:cubicBezTo>
                    <a:pt x="680" y="36"/>
                    <a:pt x="688" y="24"/>
                    <a:pt x="680" y="48"/>
                  </a:cubicBezTo>
                  <a:cubicBezTo>
                    <a:pt x="680" y="76"/>
                    <a:pt x="660" y="236"/>
                    <a:pt x="632" y="256"/>
                  </a:cubicBezTo>
                  <a:cubicBezTo>
                    <a:pt x="600" y="280"/>
                    <a:pt x="480" y="276"/>
                    <a:pt x="476" y="276"/>
                  </a:cubicBezTo>
                  <a:cubicBezTo>
                    <a:pt x="392" y="272"/>
                    <a:pt x="324" y="260"/>
                    <a:pt x="244" y="252"/>
                  </a:cubicBezTo>
                  <a:cubicBezTo>
                    <a:pt x="212" y="252"/>
                    <a:pt x="176" y="252"/>
                    <a:pt x="144" y="256"/>
                  </a:cubicBezTo>
                  <a:cubicBezTo>
                    <a:pt x="128" y="260"/>
                    <a:pt x="108" y="280"/>
                    <a:pt x="108" y="280"/>
                  </a:cubicBezTo>
                  <a:cubicBezTo>
                    <a:pt x="84" y="316"/>
                    <a:pt x="16" y="440"/>
                    <a:pt x="0" y="480"/>
                  </a:cubicBezTo>
                  <a:cubicBezTo>
                    <a:pt x="0" y="488"/>
                    <a:pt x="0" y="499"/>
                    <a:pt x="4" y="507"/>
                  </a:cubicBezTo>
                  <a:cubicBezTo>
                    <a:pt x="8" y="511"/>
                    <a:pt x="8" y="499"/>
                    <a:pt x="12" y="496"/>
                  </a:cubicBezTo>
                  <a:cubicBezTo>
                    <a:pt x="20" y="488"/>
                    <a:pt x="36" y="480"/>
                    <a:pt x="36" y="480"/>
                  </a:cubicBezTo>
                  <a:cubicBezTo>
                    <a:pt x="44" y="468"/>
                    <a:pt x="48" y="448"/>
                    <a:pt x="60" y="444"/>
                  </a:cubicBezTo>
                  <a:cubicBezTo>
                    <a:pt x="68" y="440"/>
                    <a:pt x="84" y="436"/>
                    <a:pt x="84" y="436"/>
                  </a:cubicBezTo>
                  <a:cubicBezTo>
                    <a:pt x="128" y="444"/>
                    <a:pt x="120" y="488"/>
                    <a:pt x="140" y="519"/>
                  </a:cubicBezTo>
                  <a:cubicBezTo>
                    <a:pt x="156" y="583"/>
                    <a:pt x="136" y="551"/>
                    <a:pt x="248" y="543"/>
                  </a:cubicBezTo>
                  <a:cubicBezTo>
                    <a:pt x="276" y="535"/>
                    <a:pt x="264" y="539"/>
                    <a:pt x="284" y="527"/>
                  </a:cubicBezTo>
                  <a:cubicBezTo>
                    <a:pt x="308" y="527"/>
                    <a:pt x="340" y="515"/>
                    <a:pt x="356" y="535"/>
                  </a:cubicBezTo>
                  <a:cubicBezTo>
                    <a:pt x="364" y="547"/>
                    <a:pt x="368" y="575"/>
                    <a:pt x="368" y="575"/>
                  </a:cubicBezTo>
                  <a:cubicBezTo>
                    <a:pt x="320" y="623"/>
                    <a:pt x="268" y="623"/>
                    <a:pt x="216" y="631"/>
                  </a:cubicBezTo>
                  <a:cubicBezTo>
                    <a:pt x="208" y="635"/>
                    <a:pt x="200" y="635"/>
                    <a:pt x="192" y="639"/>
                  </a:cubicBezTo>
                  <a:cubicBezTo>
                    <a:pt x="188" y="643"/>
                    <a:pt x="184" y="647"/>
                    <a:pt x="180" y="647"/>
                  </a:cubicBezTo>
                  <a:cubicBezTo>
                    <a:pt x="166" y="664"/>
                    <a:pt x="118" y="720"/>
                    <a:pt x="108" y="743"/>
                  </a:cubicBezTo>
                  <a:cubicBezTo>
                    <a:pt x="104" y="763"/>
                    <a:pt x="100" y="775"/>
                    <a:pt x="120" y="783"/>
                  </a:cubicBezTo>
                  <a:cubicBezTo>
                    <a:pt x="124" y="803"/>
                    <a:pt x="124" y="811"/>
                    <a:pt x="140" y="823"/>
                  </a:cubicBezTo>
                  <a:cubicBezTo>
                    <a:pt x="148" y="855"/>
                    <a:pt x="124" y="895"/>
                    <a:pt x="108" y="923"/>
                  </a:cubicBezTo>
                  <a:cubicBezTo>
                    <a:pt x="112" y="927"/>
                    <a:pt x="112" y="931"/>
                    <a:pt x="116" y="935"/>
                  </a:cubicBezTo>
                  <a:cubicBezTo>
                    <a:pt x="128" y="935"/>
                    <a:pt x="140" y="923"/>
                    <a:pt x="172" y="927"/>
                  </a:cubicBez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  <p:grpSp>
          <p:nvGrpSpPr>
            <p:cNvPr id="13" name="Group 13"/>
            <p:cNvGrpSpPr>
              <a:grpSpLocks/>
            </p:cNvGrpSpPr>
            <p:nvPr/>
          </p:nvGrpSpPr>
          <p:grpSpPr bwMode="auto">
            <a:xfrm>
              <a:off x="3091" y="3473"/>
              <a:ext cx="555" cy="524"/>
              <a:chOff x="4862" y="8018"/>
              <a:chExt cx="2196" cy="2072"/>
            </a:xfrm>
            <a:grpFill/>
          </p:grpSpPr>
          <p:sp>
            <p:nvSpPr>
              <p:cNvPr id="105" name="Freeform 14"/>
              <p:cNvSpPr>
                <a:spLocks noChangeAspect="1"/>
              </p:cNvSpPr>
              <p:nvPr/>
            </p:nvSpPr>
            <p:spPr bwMode="auto">
              <a:xfrm>
                <a:off x="5802" y="9746"/>
                <a:ext cx="60" cy="96"/>
              </a:xfrm>
              <a:custGeom>
                <a:avLst/>
                <a:gdLst>
                  <a:gd name="T0" fmla="*/ 2147483647 w 15"/>
                  <a:gd name="T1" fmla="*/ 0 h 24"/>
                  <a:gd name="T2" fmla="*/ 2147483647 w 15"/>
                  <a:gd name="T3" fmla="*/ 2147483647 h 24"/>
                  <a:gd name="T4" fmla="*/ 2147483647 w 15"/>
                  <a:gd name="T5" fmla="*/ 2147483647 h 24"/>
                  <a:gd name="T6" fmla="*/ 2147483647 w 15"/>
                  <a:gd name="T7" fmla="*/ 2147483647 h 24"/>
                  <a:gd name="T8" fmla="*/ 0 w 15"/>
                  <a:gd name="T9" fmla="*/ 2147483647 h 24"/>
                  <a:gd name="T10" fmla="*/ 2147483647 w 15"/>
                  <a:gd name="T11" fmla="*/ 0 h 2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5"/>
                  <a:gd name="T19" fmla="*/ 0 h 24"/>
                  <a:gd name="T20" fmla="*/ 15 w 15"/>
                  <a:gd name="T21" fmla="*/ 24 h 2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5" h="24">
                    <a:moveTo>
                      <a:pt x="3" y="0"/>
                    </a:moveTo>
                    <a:cubicBezTo>
                      <a:pt x="11" y="1"/>
                      <a:pt x="13" y="0"/>
                      <a:pt x="14" y="8"/>
                    </a:cubicBezTo>
                    <a:cubicBezTo>
                      <a:pt x="12" y="19"/>
                      <a:pt x="15" y="12"/>
                      <a:pt x="10" y="18"/>
                    </a:cubicBezTo>
                    <a:cubicBezTo>
                      <a:pt x="9" y="20"/>
                      <a:pt x="6" y="24"/>
                      <a:pt x="6" y="24"/>
                    </a:cubicBezTo>
                    <a:cubicBezTo>
                      <a:pt x="3" y="21"/>
                      <a:pt x="0" y="12"/>
                      <a:pt x="0" y="12"/>
                    </a:cubicBezTo>
                    <a:cubicBezTo>
                      <a:pt x="1" y="8"/>
                      <a:pt x="2" y="4"/>
                      <a:pt x="3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106" name="Freeform 15"/>
              <p:cNvSpPr>
                <a:spLocks noChangeAspect="1"/>
              </p:cNvSpPr>
              <p:nvPr/>
            </p:nvSpPr>
            <p:spPr bwMode="auto">
              <a:xfrm>
                <a:off x="4862" y="8862"/>
                <a:ext cx="136" cy="116"/>
              </a:xfrm>
              <a:custGeom>
                <a:avLst/>
                <a:gdLst>
                  <a:gd name="T0" fmla="*/ 2147483647 w 34"/>
                  <a:gd name="T1" fmla="*/ 2147483647 h 29"/>
                  <a:gd name="T2" fmla="*/ 2147483647 w 34"/>
                  <a:gd name="T3" fmla="*/ 2147483647 h 29"/>
                  <a:gd name="T4" fmla="*/ 2147483647 w 34"/>
                  <a:gd name="T5" fmla="*/ 2147483647 h 29"/>
                  <a:gd name="T6" fmla="*/ 2147483647 w 34"/>
                  <a:gd name="T7" fmla="*/ 2147483647 h 29"/>
                  <a:gd name="T8" fmla="*/ 2147483647 w 34"/>
                  <a:gd name="T9" fmla="*/ 2147483647 h 29"/>
                  <a:gd name="T10" fmla="*/ 2147483647 w 34"/>
                  <a:gd name="T11" fmla="*/ 2147483647 h 29"/>
                  <a:gd name="T12" fmla="*/ 2147483647 w 34"/>
                  <a:gd name="T13" fmla="*/ 0 h 29"/>
                  <a:gd name="T14" fmla="*/ 2147483647 w 34"/>
                  <a:gd name="T15" fmla="*/ 2147483647 h 2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"/>
                  <a:gd name="T25" fmla="*/ 0 h 29"/>
                  <a:gd name="T26" fmla="*/ 34 w 34"/>
                  <a:gd name="T27" fmla="*/ 29 h 29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" h="29">
                    <a:moveTo>
                      <a:pt x="16" y="1"/>
                    </a:moveTo>
                    <a:cubicBezTo>
                      <a:pt x="2" y="3"/>
                      <a:pt x="0" y="8"/>
                      <a:pt x="14" y="13"/>
                    </a:cubicBezTo>
                    <a:cubicBezTo>
                      <a:pt x="17" y="16"/>
                      <a:pt x="20" y="17"/>
                      <a:pt x="23" y="19"/>
                    </a:cubicBezTo>
                    <a:cubicBezTo>
                      <a:pt x="26" y="28"/>
                      <a:pt x="25" y="29"/>
                      <a:pt x="34" y="26"/>
                    </a:cubicBezTo>
                    <a:cubicBezTo>
                      <a:pt x="33" y="22"/>
                      <a:pt x="27" y="21"/>
                      <a:pt x="23" y="17"/>
                    </a:cubicBezTo>
                    <a:cubicBezTo>
                      <a:pt x="22" y="14"/>
                      <a:pt x="21" y="4"/>
                      <a:pt x="19" y="2"/>
                    </a:cubicBezTo>
                    <a:cubicBezTo>
                      <a:pt x="17" y="0"/>
                      <a:pt x="11" y="0"/>
                      <a:pt x="11" y="0"/>
                    </a:cubicBezTo>
                    <a:cubicBezTo>
                      <a:pt x="11" y="0"/>
                      <a:pt x="14" y="1"/>
                      <a:pt x="16" y="1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107" name="Freeform 16"/>
              <p:cNvSpPr>
                <a:spLocks noChangeAspect="1"/>
              </p:cNvSpPr>
              <p:nvPr/>
            </p:nvSpPr>
            <p:spPr bwMode="auto">
              <a:xfrm>
                <a:off x="5122" y="9110"/>
                <a:ext cx="64" cy="92"/>
              </a:xfrm>
              <a:custGeom>
                <a:avLst/>
                <a:gdLst>
                  <a:gd name="T0" fmla="*/ 2147483647 w 16"/>
                  <a:gd name="T1" fmla="*/ 0 h 23"/>
                  <a:gd name="T2" fmla="*/ 2147483647 w 16"/>
                  <a:gd name="T3" fmla="*/ 2147483647 h 23"/>
                  <a:gd name="T4" fmla="*/ 2147483647 w 16"/>
                  <a:gd name="T5" fmla="*/ 2147483647 h 23"/>
                  <a:gd name="T6" fmla="*/ 0 w 16"/>
                  <a:gd name="T7" fmla="*/ 2147483647 h 23"/>
                  <a:gd name="T8" fmla="*/ 2147483647 w 16"/>
                  <a:gd name="T9" fmla="*/ 0 h 2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6"/>
                  <a:gd name="T16" fmla="*/ 0 h 23"/>
                  <a:gd name="T17" fmla="*/ 16 w 16"/>
                  <a:gd name="T18" fmla="*/ 23 h 2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6" h="23">
                    <a:moveTo>
                      <a:pt x="8" y="0"/>
                    </a:moveTo>
                    <a:cubicBezTo>
                      <a:pt x="11" y="3"/>
                      <a:pt x="14" y="4"/>
                      <a:pt x="15" y="8"/>
                    </a:cubicBezTo>
                    <a:cubicBezTo>
                      <a:pt x="14" y="19"/>
                      <a:pt x="16" y="20"/>
                      <a:pt x="8" y="23"/>
                    </a:cubicBezTo>
                    <a:cubicBezTo>
                      <a:pt x="2" y="22"/>
                      <a:pt x="5" y="19"/>
                      <a:pt x="0" y="16"/>
                    </a:cubicBezTo>
                    <a:cubicBezTo>
                      <a:pt x="1" y="13"/>
                      <a:pt x="8" y="0"/>
                      <a:pt x="8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108" name="Freeform 17"/>
              <p:cNvSpPr>
                <a:spLocks noChangeAspect="1"/>
              </p:cNvSpPr>
              <p:nvPr/>
            </p:nvSpPr>
            <p:spPr bwMode="auto">
              <a:xfrm>
                <a:off x="5098" y="9198"/>
                <a:ext cx="124" cy="144"/>
              </a:xfrm>
              <a:custGeom>
                <a:avLst/>
                <a:gdLst>
                  <a:gd name="T0" fmla="*/ 2147483647 w 31"/>
                  <a:gd name="T1" fmla="*/ 2147483647 h 36"/>
                  <a:gd name="T2" fmla="*/ 2147483647 w 31"/>
                  <a:gd name="T3" fmla="*/ 2147483647 h 36"/>
                  <a:gd name="T4" fmla="*/ 2147483647 w 31"/>
                  <a:gd name="T5" fmla="*/ 2147483647 h 36"/>
                  <a:gd name="T6" fmla="*/ 2147483647 w 31"/>
                  <a:gd name="T7" fmla="*/ 2147483647 h 36"/>
                  <a:gd name="T8" fmla="*/ 2147483647 w 31"/>
                  <a:gd name="T9" fmla="*/ 2147483647 h 36"/>
                  <a:gd name="T10" fmla="*/ 2147483647 w 31"/>
                  <a:gd name="T11" fmla="*/ 2147483647 h 36"/>
                  <a:gd name="T12" fmla="*/ 0 w 31"/>
                  <a:gd name="T13" fmla="*/ 2147483647 h 36"/>
                  <a:gd name="T14" fmla="*/ 2147483647 w 31"/>
                  <a:gd name="T15" fmla="*/ 2147483647 h 36"/>
                  <a:gd name="T16" fmla="*/ 2147483647 w 31"/>
                  <a:gd name="T17" fmla="*/ 2147483647 h 36"/>
                  <a:gd name="T18" fmla="*/ 2147483647 w 31"/>
                  <a:gd name="T19" fmla="*/ 2147483647 h 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31"/>
                  <a:gd name="T31" fmla="*/ 0 h 36"/>
                  <a:gd name="T32" fmla="*/ 31 w 31"/>
                  <a:gd name="T33" fmla="*/ 36 h 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31" h="36">
                    <a:moveTo>
                      <a:pt x="16" y="6"/>
                    </a:moveTo>
                    <a:cubicBezTo>
                      <a:pt x="20" y="8"/>
                      <a:pt x="23" y="9"/>
                      <a:pt x="24" y="13"/>
                    </a:cubicBezTo>
                    <a:cubicBezTo>
                      <a:pt x="23" y="19"/>
                      <a:pt x="21" y="22"/>
                      <a:pt x="27" y="24"/>
                    </a:cubicBezTo>
                    <a:cubicBezTo>
                      <a:pt x="28" y="29"/>
                      <a:pt x="31" y="34"/>
                      <a:pt x="24" y="36"/>
                    </a:cubicBezTo>
                    <a:cubicBezTo>
                      <a:pt x="21" y="35"/>
                      <a:pt x="17" y="34"/>
                      <a:pt x="14" y="34"/>
                    </a:cubicBezTo>
                    <a:cubicBezTo>
                      <a:pt x="12" y="34"/>
                      <a:pt x="8" y="36"/>
                      <a:pt x="8" y="36"/>
                    </a:cubicBezTo>
                    <a:cubicBezTo>
                      <a:pt x="5" y="31"/>
                      <a:pt x="3" y="33"/>
                      <a:pt x="0" y="28"/>
                    </a:cubicBezTo>
                    <a:cubicBezTo>
                      <a:pt x="3" y="23"/>
                      <a:pt x="6" y="21"/>
                      <a:pt x="11" y="19"/>
                    </a:cubicBezTo>
                    <a:cubicBezTo>
                      <a:pt x="11" y="13"/>
                      <a:pt x="11" y="8"/>
                      <a:pt x="12" y="2"/>
                    </a:cubicBezTo>
                    <a:cubicBezTo>
                      <a:pt x="12" y="0"/>
                      <a:pt x="16" y="4"/>
                      <a:pt x="16" y="6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109" name="Freeform 18"/>
              <p:cNvSpPr>
                <a:spLocks noChangeAspect="1"/>
              </p:cNvSpPr>
              <p:nvPr/>
            </p:nvSpPr>
            <p:spPr bwMode="auto">
              <a:xfrm>
                <a:off x="5182" y="9370"/>
                <a:ext cx="104" cy="88"/>
              </a:xfrm>
              <a:custGeom>
                <a:avLst/>
                <a:gdLst>
                  <a:gd name="T0" fmla="*/ 2147483647 w 26"/>
                  <a:gd name="T1" fmla="*/ 2147483647 h 22"/>
                  <a:gd name="T2" fmla="*/ 2147483647 w 26"/>
                  <a:gd name="T3" fmla="*/ 2147483647 h 22"/>
                  <a:gd name="T4" fmla="*/ 2147483647 w 26"/>
                  <a:gd name="T5" fmla="*/ 2147483647 h 22"/>
                  <a:gd name="T6" fmla="*/ 2147483647 w 26"/>
                  <a:gd name="T7" fmla="*/ 2147483647 h 22"/>
                  <a:gd name="T8" fmla="*/ 2147483647 w 26"/>
                  <a:gd name="T9" fmla="*/ 2147483647 h 22"/>
                  <a:gd name="T10" fmla="*/ 2147483647 w 26"/>
                  <a:gd name="T11" fmla="*/ 2147483647 h 22"/>
                  <a:gd name="T12" fmla="*/ 2147483647 w 26"/>
                  <a:gd name="T13" fmla="*/ 2147483647 h 22"/>
                  <a:gd name="T14" fmla="*/ 2147483647 w 26"/>
                  <a:gd name="T15" fmla="*/ 2147483647 h 2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6"/>
                  <a:gd name="T25" fmla="*/ 0 h 22"/>
                  <a:gd name="T26" fmla="*/ 26 w 26"/>
                  <a:gd name="T27" fmla="*/ 22 h 2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6" h="22">
                    <a:moveTo>
                      <a:pt x="5" y="4"/>
                    </a:moveTo>
                    <a:cubicBezTo>
                      <a:pt x="15" y="5"/>
                      <a:pt x="17" y="12"/>
                      <a:pt x="26" y="15"/>
                    </a:cubicBezTo>
                    <a:cubicBezTo>
                      <a:pt x="24" y="20"/>
                      <a:pt x="24" y="21"/>
                      <a:pt x="18" y="22"/>
                    </a:cubicBezTo>
                    <a:cubicBezTo>
                      <a:pt x="16" y="22"/>
                      <a:pt x="14" y="22"/>
                      <a:pt x="13" y="21"/>
                    </a:cubicBezTo>
                    <a:cubicBezTo>
                      <a:pt x="12" y="20"/>
                      <a:pt x="12" y="19"/>
                      <a:pt x="11" y="18"/>
                    </a:cubicBezTo>
                    <a:cubicBezTo>
                      <a:pt x="8" y="16"/>
                      <a:pt x="2" y="15"/>
                      <a:pt x="2" y="15"/>
                    </a:cubicBezTo>
                    <a:cubicBezTo>
                      <a:pt x="0" y="10"/>
                      <a:pt x="1" y="8"/>
                      <a:pt x="5" y="5"/>
                    </a:cubicBezTo>
                    <a:cubicBezTo>
                      <a:pt x="6" y="0"/>
                      <a:pt x="6" y="0"/>
                      <a:pt x="5" y="4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110" name="Freeform 19"/>
              <p:cNvSpPr>
                <a:spLocks noChangeAspect="1"/>
              </p:cNvSpPr>
              <p:nvPr/>
            </p:nvSpPr>
            <p:spPr bwMode="auto">
              <a:xfrm>
                <a:off x="5690" y="8950"/>
                <a:ext cx="316" cy="204"/>
              </a:xfrm>
              <a:custGeom>
                <a:avLst/>
                <a:gdLst>
                  <a:gd name="T0" fmla="*/ 2147483647 w 79"/>
                  <a:gd name="T1" fmla="*/ 2147483647 h 51"/>
                  <a:gd name="T2" fmla="*/ 2147483647 w 79"/>
                  <a:gd name="T3" fmla="*/ 2147483647 h 51"/>
                  <a:gd name="T4" fmla="*/ 2147483647 w 79"/>
                  <a:gd name="T5" fmla="*/ 2147483647 h 51"/>
                  <a:gd name="T6" fmla="*/ 2147483647 w 79"/>
                  <a:gd name="T7" fmla="*/ 2147483647 h 51"/>
                  <a:gd name="T8" fmla="*/ 2147483647 w 79"/>
                  <a:gd name="T9" fmla="*/ 2147483647 h 51"/>
                  <a:gd name="T10" fmla="*/ 2147483647 w 79"/>
                  <a:gd name="T11" fmla="*/ 2147483647 h 51"/>
                  <a:gd name="T12" fmla="*/ 2147483647 w 79"/>
                  <a:gd name="T13" fmla="*/ 2147483647 h 51"/>
                  <a:gd name="T14" fmla="*/ 2147483647 w 79"/>
                  <a:gd name="T15" fmla="*/ 2147483647 h 51"/>
                  <a:gd name="T16" fmla="*/ 2147483647 w 79"/>
                  <a:gd name="T17" fmla="*/ 2147483647 h 51"/>
                  <a:gd name="T18" fmla="*/ 2147483647 w 79"/>
                  <a:gd name="T19" fmla="*/ 2147483647 h 51"/>
                  <a:gd name="T20" fmla="*/ 2147483647 w 79"/>
                  <a:gd name="T21" fmla="*/ 2147483647 h 51"/>
                  <a:gd name="T22" fmla="*/ 2147483647 w 79"/>
                  <a:gd name="T23" fmla="*/ 2147483647 h 51"/>
                  <a:gd name="T24" fmla="*/ 2147483647 w 79"/>
                  <a:gd name="T25" fmla="*/ 2147483647 h 51"/>
                  <a:gd name="T26" fmla="*/ 0 w 79"/>
                  <a:gd name="T27" fmla="*/ 2147483647 h 51"/>
                  <a:gd name="T28" fmla="*/ 2147483647 w 79"/>
                  <a:gd name="T29" fmla="*/ 0 h 51"/>
                  <a:gd name="T30" fmla="*/ 2147483647 w 79"/>
                  <a:gd name="T31" fmla="*/ 2147483647 h 51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79"/>
                  <a:gd name="T49" fmla="*/ 0 h 51"/>
                  <a:gd name="T50" fmla="*/ 79 w 79"/>
                  <a:gd name="T51" fmla="*/ 51 h 51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79" h="51">
                    <a:moveTo>
                      <a:pt x="12" y="3"/>
                    </a:moveTo>
                    <a:cubicBezTo>
                      <a:pt x="25" y="4"/>
                      <a:pt x="21" y="3"/>
                      <a:pt x="28" y="10"/>
                    </a:cubicBezTo>
                    <a:cubicBezTo>
                      <a:pt x="30" y="20"/>
                      <a:pt x="40" y="20"/>
                      <a:pt x="49" y="21"/>
                    </a:cubicBezTo>
                    <a:cubicBezTo>
                      <a:pt x="54" y="22"/>
                      <a:pt x="64" y="19"/>
                      <a:pt x="64" y="19"/>
                    </a:cubicBezTo>
                    <a:cubicBezTo>
                      <a:pt x="72" y="21"/>
                      <a:pt x="71" y="28"/>
                      <a:pt x="76" y="33"/>
                    </a:cubicBezTo>
                    <a:cubicBezTo>
                      <a:pt x="77" y="37"/>
                      <a:pt x="79" y="44"/>
                      <a:pt x="79" y="44"/>
                    </a:cubicBezTo>
                    <a:cubicBezTo>
                      <a:pt x="78" y="47"/>
                      <a:pt x="79" y="51"/>
                      <a:pt x="74" y="51"/>
                    </a:cubicBezTo>
                    <a:cubicBezTo>
                      <a:pt x="72" y="51"/>
                      <a:pt x="68" y="49"/>
                      <a:pt x="68" y="49"/>
                    </a:cubicBezTo>
                    <a:cubicBezTo>
                      <a:pt x="66" y="43"/>
                      <a:pt x="60" y="45"/>
                      <a:pt x="54" y="44"/>
                    </a:cubicBezTo>
                    <a:cubicBezTo>
                      <a:pt x="49" y="42"/>
                      <a:pt x="49" y="38"/>
                      <a:pt x="43" y="36"/>
                    </a:cubicBezTo>
                    <a:cubicBezTo>
                      <a:pt x="40" y="33"/>
                      <a:pt x="31" y="30"/>
                      <a:pt x="31" y="30"/>
                    </a:cubicBezTo>
                    <a:cubicBezTo>
                      <a:pt x="26" y="25"/>
                      <a:pt x="21" y="25"/>
                      <a:pt x="14" y="24"/>
                    </a:cubicBezTo>
                    <a:cubicBezTo>
                      <a:pt x="11" y="22"/>
                      <a:pt x="8" y="21"/>
                      <a:pt x="5" y="19"/>
                    </a:cubicBezTo>
                    <a:cubicBezTo>
                      <a:pt x="4" y="14"/>
                      <a:pt x="1" y="14"/>
                      <a:pt x="0" y="10"/>
                    </a:cubicBezTo>
                    <a:cubicBezTo>
                      <a:pt x="4" y="4"/>
                      <a:pt x="4" y="2"/>
                      <a:pt x="10" y="0"/>
                    </a:cubicBezTo>
                    <a:cubicBezTo>
                      <a:pt x="17" y="1"/>
                      <a:pt x="18" y="0"/>
                      <a:pt x="12" y="3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111" name="Freeform 20"/>
              <p:cNvSpPr>
                <a:spLocks noChangeAspect="1"/>
              </p:cNvSpPr>
              <p:nvPr/>
            </p:nvSpPr>
            <p:spPr bwMode="auto">
              <a:xfrm>
                <a:off x="5998" y="9150"/>
                <a:ext cx="136" cy="88"/>
              </a:xfrm>
              <a:custGeom>
                <a:avLst/>
                <a:gdLst>
                  <a:gd name="T0" fmla="*/ 2147483647 w 34"/>
                  <a:gd name="T1" fmla="*/ 0 h 22"/>
                  <a:gd name="T2" fmla="*/ 2147483647 w 34"/>
                  <a:gd name="T3" fmla="*/ 0 h 22"/>
                  <a:gd name="T4" fmla="*/ 2147483647 w 34"/>
                  <a:gd name="T5" fmla="*/ 2147483647 h 22"/>
                  <a:gd name="T6" fmla="*/ 2147483647 w 34"/>
                  <a:gd name="T7" fmla="*/ 2147483647 h 22"/>
                  <a:gd name="T8" fmla="*/ 2147483647 w 34"/>
                  <a:gd name="T9" fmla="*/ 2147483647 h 22"/>
                  <a:gd name="T10" fmla="*/ 2147483647 w 34"/>
                  <a:gd name="T11" fmla="*/ 0 h 2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4"/>
                  <a:gd name="T19" fmla="*/ 0 h 22"/>
                  <a:gd name="T20" fmla="*/ 34 w 34"/>
                  <a:gd name="T21" fmla="*/ 22 h 22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4" h="22">
                    <a:moveTo>
                      <a:pt x="6" y="0"/>
                    </a:moveTo>
                    <a:cubicBezTo>
                      <a:pt x="14" y="2"/>
                      <a:pt x="19" y="2"/>
                      <a:pt x="27" y="0"/>
                    </a:cubicBezTo>
                    <a:cubicBezTo>
                      <a:pt x="34" y="2"/>
                      <a:pt x="30" y="10"/>
                      <a:pt x="26" y="14"/>
                    </a:cubicBezTo>
                    <a:cubicBezTo>
                      <a:pt x="23" y="22"/>
                      <a:pt x="16" y="20"/>
                      <a:pt x="9" y="19"/>
                    </a:cubicBezTo>
                    <a:cubicBezTo>
                      <a:pt x="6" y="15"/>
                      <a:pt x="6" y="11"/>
                      <a:pt x="2" y="7"/>
                    </a:cubicBezTo>
                    <a:cubicBezTo>
                      <a:pt x="0" y="2"/>
                      <a:pt x="0" y="5"/>
                      <a:pt x="6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112" name="Freeform 21"/>
              <p:cNvSpPr>
                <a:spLocks noChangeAspect="1"/>
              </p:cNvSpPr>
              <p:nvPr/>
            </p:nvSpPr>
            <p:spPr bwMode="auto">
              <a:xfrm>
                <a:off x="6106" y="9202"/>
                <a:ext cx="100" cy="72"/>
              </a:xfrm>
              <a:custGeom>
                <a:avLst/>
                <a:gdLst>
                  <a:gd name="T0" fmla="*/ 2147483647 w 25"/>
                  <a:gd name="T1" fmla="*/ 0 h 18"/>
                  <a:gd name="T2" fmla="*/ 2147483647 w 25"/>
                  <a:gd name="T3" fmla="*/ 2147483647 h 18"/>
                  <a:gd name="T4" fmla="*/ 2147483647 w 25"/>
                  <a:gd name="T5" fmla="*/ 2147483647 h 18"/>
                  <a:gd name="T6" fmla="*/ 2147483647 w 25"/>
                  <a:gd name="T7" fmla="*/ 2147483647 h 18"/>
                  <a:gd name="T8" fmla="*/ 2147483647 w 25"/>
                  <a:gd name="T9" fmla="*/ 2147483647 h 18"/>
                  <a:gd name="T10" fmla="*/ 2147483647 w 25"/>
                  <a:gd name="T11" fmla="*/ 2147483647 h 18"/>
                  <a:gd name="T12" fmla="*/ 2147483647 w 25"/>
                  <a:gd name="T13" fmla="*/ 0 h 1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5"/>
                  <a:gd name="T22" fmla="*/ 0 h 18"/>
                  <a:gd name="T23" fmla="*/ 25 w 25"/>
                  <a:gd name="T24" fmla="*/ 18 h 18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5" h="18">
                    <a:moveTo>
                      <a:pt x="9" y="0"/>
                    </a:moveTo>
                    <a:cubicBezTo>
                      <a:pt x="13" y="0"/>
                      <a:pt x="16" y="0"/>
                      <a:pt x="20" y="1"/>
                    </a:cubicBezTo>
                    <a:cubicBezTo>
                      <a:pt x="23" y="2"/>
                      <a:pt x="24" y="10"/>
                      <a:pt x="24" y="10"/>
                    </a:cubicBezTo>
                    <a:cubicBezTo>
                      <a:pt x="24" y="12"/>
                      <a:pt x="25" y="16"/>
                      <a:pt x="23" y="17"/>
                    </a:cubicBezTo>
                    <a:cubicBezTo>
                      <a:pt x="22" y="18"/>
                      <a:pt x="21" y="14"/>
                      <a:pt x="20" y="13"/>
                    </a:cubicBezTo>
                    <a:cubicBezTo>
                      <a:pt x="18" y="11"/>
                      <a:pt x="11" y="9"/>
                      <a:pt x="11" y="9"/>
                    </a:cubicBezTo>
                    <a:cubicBezTo>
                      <a:pt x="8" y="5"/>
                      <a:pt x="0" y="2"/>
                      <a:pt x="9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113" name="Freeform 22"/>
              <p:cNvSpPr>
                <a:spLocks noChangeAspect="1"/>
              </p:cNvSpPr>
              <p:nvPr/>
            </p:nvSpPr>
            <p:spPr bwMode="auto">
              <a:xfrm>
                <a:off x="6574" y="9126"/>
                <a:ext cx="128" cy="76"/>
              </a:xfrm>
              <a:custGeom>
                <a:avLst/>
                <a:gdLst>
                  <a:gd name="T0" fmla="*/ 2147483647 w 32"/>
                  <a:gd name="T1" fmla="*/ 2147483647 h 19"/>
                  <a:gd name="T2" fmla="*/ 2147483647 w 32"/>
                  <a:gd name="T3" fmla="*/ 2147483647 h 19"/>
                  <a:gd name="T4" fmla="*/ 2147483647 w 32"/>
                  <a:gd name="T5" fmla="*/ 2147483647 h 19"/>
                  <a:gd name="T6" fmla="*/ 2147483647 w 32"/>
                  <a:gd name="T7" fmla="*/ 2147483647 h 19"/>
                  <a:gd name="T8" fmla="*/ 2147483647 w 32"/>
                  <a:gd name="T9" fmla="*/ 2147483647 h 19"/>
                  <a:gd name="T10" fmla="*/ 2147483647 w 32"/>
                  <a:gd name="T11" fmla="*/ 2147483647 h 19"/>
                  <a:gd name="T12" fmla="*/ 2147483647 w 32"/>
                  <a:gd name="T13" fmla="*/ 2147483647 h 1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2"/>
                  <a:gd name="T22" fmla="*/ 0 h 19"/>
                  <a:gd name="T23" fmla="*/ 32 w 32"/>
                  <a:gd name="T24" fmla="*/ 19 h 1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2" h="19">
                    <a:moveTo>
                      <a:pt x="29" y="2"/>
                    </a:moveTo>
                    <a:cubicBezTo>
                      <a:pt x="20" y="0"/>
                      <a:pt x="23" y="4"/>
                      <a:pt x="17" y="6"/>
                    </a:cubicBezTo>
                    <a:cubicBezTo>
                      <a:pt x="12" y="5"/>
                      <a:pt x="8" y="6"/>
                      <a:pt x="3" y="8"/>
                    </a:cubicBezTo>
                    <a:cubicBezTo>
                      <a:pt x="0" y="19"/>
                      <a:pt x="3" y="18"/>
                      <a:pt x="14" y="19"/>
                    </a:cubicBezTo>
                    <a:cubicBezTo>
                      <a:pt x="26" y="17"/>
                      <a:pt x="15" y="15"/>
                      <a:pt x="23" y="10"/>
                    </a:cubicBezTo>
                    <a:cubicBezTo>
                      <a:pt x="25" y="9"/>
                      <a:pt x="29" y="10"/>
                      <a:pt x="31" y="8"/>
                    </a:cubicBezTo>
                    <a:cubicBezTo>
                      <a:pt x="32" y="6"/>
                      <a:pt x="30" y="4"/>
                      <a:pt x="29" y="2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114" name="Freeform 23"/>
              <p:cNvSpPr>
                <a:spLocks noChangeAspect="1"/>
              </p:cNvSpPr>
              <p:nvPr/>
            </p:nvSpPr>
            <p:spPr bwMode="auto">
              <a:xfrm>
                <a:off x="5266" y="9210"/>
                <a:ext cx="636" cy="580"/>
              </a:xfrm>
              <a:custGeom>
                <a:avLst/>
                <a:gdLst>
                  <a:gd name="T0" fmla="*/ 2147483647 w 159"/>
                  <a:gd name="T1" fmla="*/ 2147483647 h 145"/>
                  <a:gd name="T2" fmla="*/ 2147483647 w 159"/>
                  <a:gd name="T3" fmla="*/ 2147483647 h 145"/>
                  <a:gd name="T4" fmla="*/ 2147483647 w 159"/>
                  <a:gd name="T5" fmla="*/ 2147483647 h 145"/>
                  <a:gd name="T6" fmla="*/ 2147483647 w 159"/>
                  <a:gd name="T7" fmla="*/ 2147483647 h 145"/>
                  <a:gd name="T8" fmla="*/ 0 w 159"/>
                  <a:gd name="T9" fmla="*/ 2147483647 h 145"/>
                  <a:gd name="T10" fmla="*/ 2147483647 w 159"/>
                  <a:gd name="T11" fmla="*/ 2147483647 h 145"/>
                  <a:gd name="T12" fmla="*/ 2147483647 w 159"/>
                  <a:gd name="T13" fmla="*/ 2147483647 h 145"/>
                  <a:gd name="T14" fmla="*/ 2147483647 w 159"/>
                  <a:gd name="T15" fmla="*/ 2147483647 h 145"/>
                  <a:gd name="T16" fmla="*/ 2147483647 w 159"/>
                  <a:gd name="T17" fmla="*/ 2147483647 h 145"/>
                  <a:gd name="T18" fmla="*/ 2147483647 w 159"/>
                  <a:gd name="T19" fmla="*/ 2147483647 h 145"/>
                  <a:gd name="T20" fmla="*/ 2147483647 w 159"/>
                  <a:gd name="T21" fmla="*/ 2147483647 h 145"/>
                  <a:gd name="T22" fmla="*/ 2147483647 w 159"/>
                  <a:gd name="T23" fmla="*/ 2147483647 h 145"/>
                  <a:gd name="T24" fmla="*/ 2147483647 w 159"/>
                  <a:gd name="T25" fmla="*/ 2147483647 h 145"/>
                  <a:gd name="T26" fmla="*/ 2147483647 w 159"/>
                  <a:gd name="T27" fmla="*/ 2147483647 h 145"/>
                  <a:gd name="T28" fmla="*/ 2147483647 w 159"/>
                  <a:gd name="T29" fmla="*/ 2147483647 h 145"/>
                  <a:gd name="T30" fmla="*/ 2147483647 w 159"/>
                  <a:gd name="T31" fmla="*/ 2147483647 h 145"/>
                  <a:gd name="T32" fmla="*/ 2147483647 w 159"/>
                  <a:gd name="T33" fmla="*/ 2147483647 h 145"/>
                  <a:gd name="T34" fmla="*/ 2147483647 w 159"/>
                  <a:gd name="T35" fmla="*/ 2147483647 h 145"/>
                  <a:gd name="T36" fmla="*/ 2147483647 w 159"/>
                  <a:gd name="T37" fmla="*/ 2147483647 h 145"/>
                  <a:gd name="T38" fmla="*/ 2147483647 w 159"/>
                  <a:gd name="T39" fmla="*/ 2147483647 h 145"/>
                  <a:gd name="T40" fmla="*/ 2147483647 w 159"/>
                  <a:gd name="T41" fmla="*/ 2147483647 h 145"/>
                  <a:gd name="T42" fmla="*/ 2147483647 w 159"/>
                  <a:gd name="T43" fmla="*/ 2147483647 h 145"/>
                  <a:gd name="T44" fmla="*/ 2147483647 w 159"/>
                  <a:gd name="T45" fmla="*/ 2147483647 h 145"/>
                  <a:gd name="T46" fmla="*/ 2147483647 w 159"/>
                  <a:gd name="T47" fmla="*/ 2147483647 h 145"/>
                  <a:gd name="T48" fmla="*/ 2147483647 w 159"/>
                  <a:gd name="T49" fmla="*/ 2147483647 h 145"/>
                  <a:gd name="T50" fmla="*/ 2147483647 w 159"/>
                  <a:gd name="T51" fmla="*/ 2147483647 h 145"/>
                  <a:gd name="T52" fmla="*/ 2147483647 w 159"/>
                  <a:gd name="T53" fmla="*/ 2147483647 h 145"/>
                  <a:gd name="T54" fmla="*/ 2147483647 w 159"/>
                  <a:gd name="T55" fmla="*/ 2147483647 h 145"/>
                  <a:gd name="T56" fmla="*/ 2147483647 w 159"/>
                  <a:gd name="T57" fmla="*/ 2147483647 h 145"/>
                  <a:gd name="T58" fmla="*/ 2147483647 w 159"/>
                  <a:gd name="T59" fmla="*/ 2147483647 h 145"/>
                  <a:gd name="T60" fmla="*/ 2147483647 w 159"/>
                  <a:gd name="T61" fmla="*/ 2147483647 h 145"/>
                  <a:gd name="T62" fmla="*/ 2147483647 w 159"/>
                  <a:gd name="T63" fmla="*/ 2147483647 h 145"/>
                  <a:gd name="T64" fmla="*/ 2147483647 w 159"/>
                  <a:gd name="T65" fmla="*/ 2147483647 h 145"/>
                  <a:gd name="T66" fmla="*/ 2147483647 w 159"/>
                  <a:gd name="T67" fmla="*/ 2147483647 h 145"/>
                  <a:gd name="T68" fmla="*/ 2147483647 w 159"/>
                  <a:gd name="T69" fmla="*/ 2147483647 h 145"/>
                  <a:gd name="T70" fmla="*/ 2147483647 w 159"/>
                  <a:gd name="T71" fmla="*/ 2147483647 h 145"/>
                  <a:gd name="T72" fmla="*/ 2147483647 w 159"/>
                  <a:gd name="T73" fmla="*/ 2147483647 h 145"/>
                  <a:gd name="T74" fmla="*/ 2147483647 w 159"/>
                  <a:gd name="T75" fmla="*/ 2147483647 h 145"/>
                  <a:gd name="T76" fmla="*/ 2147483647 w 159"/>
                  <a:gd name="T77" fmla="*/ 2147483647 h 145"/>
                  <a:gd name="T78" fmla="*/ 2147483647 w 159"/>
                  <a:gd name="T79" fmla="*/ 2147483647 h 145"/>
                  <a:gd name="T80" fmla="*/ 2147483647 w 159"/>
                  <a:gd name="T81" fmla="*/ 2147483647 h 145"/>
                  <a:gd name="T82" fmla="*/ 2147483647 w 159"/>
                  <a:gd name="T83" fmla="*/ 2147483647 h 145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159"/>
                  <a:gd name="T127" fmla="*/ 0 h 145"/>
                  <a:gd name="T128" fmla="*/ 159 w 159"/>
                  <a:gd name="T129" fmla="*/ 145 h 145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159" h="145">
                    <a:moveTo>
                      <a:pt x="47" y="3"/>
                    </a:moveTo>
                    <a:cubicBezTo>
                      <a:pt x="41" y="5"/>
                      <a:pt x="42" y="10"/>
                      <a:pt x="39" y="13"/>
                    </a:cubicBezTo>
                    <a:cubicBezTo>
                      <a:pt x="34" y="18"/>
                      <a:pt x="28" y="18"/>
                      <a:pt x="21" y="20"/>
                    </a:cubicBezTo>
                    <a:cubicBezTo>
                      <a:pt x="20" y="27"/>
                      <a:pt x="18" y="32"/>
                      <a:pt x="11" y="34"/>
                    </a:cubicBezTo>
                    <a:cubicBezTo>
                      <a:pt x="7" y="38"/>
                      <a:pt x="5" y="38"/>
                      <a:pt x="0" y="40"/>
                    </a:cubicBezTo>
                    <a:cubicBezTo>
                      <a:pt x="5" y="47"/>
                      <a:pt x="7" y="45"/>
                      <a:pt x="17" y="46"/>
                    </a:cubicBezTo>
                    <a:cubicBezTo>
                      <a:pt x="18" y="50"/>
                      <a:pt x="24" y="55"/>
                      <a:pt x="24" y="55"/>
                    </a:cubicBezTo>
                    <a:cubicBezTo>
                      <a:pt x="27" y="60"/>
                      <a:pt x="30" y="59"/>
                      <a:pt x="36" y="61"/>
                    </a:cubicBezTo>
                    <a:cubicBezTo>
                      <a:pt x="40" y="63"/>
                      <a:pt x="42" y="66"/>
                      <a:pt x="44" y="70"/>
                    </a:cubicBezTo>
                    <a:cubicBezTo>
                      <a:pt x="45" y="74"/>
                      <a:pt x="46" y="77"/>
                      <a:pt x="47" y="81"/>
                    </a:cubicBezTo>
                    <a:cubicBezTo>
                      <a:pt x="46" y="93"/>
                      <a:pt x="42" y="97"/>
                      <a:pt x="53" y="101"/>
                    </a:cubicBezTo>
                    <a:cubicBezTo>
                      <a:pt x="54" y="110"/>
                      <a:pt x="55" y="118"/>
                      <a:pt x="64" y="121"/>
                    </a:cubicBezTo>
                    <a:cubicBezTo>
                      <a:pt x="72" y="118"/>
                      <a:pt x="73" y="116"/>
                      <a:pt x="68" y="109"/>
                    </a:cubicBezTo>
                    <a:cubicBezTo>
                      <a:pt x="69" y="102"/>
                      <a:pt x="68" y="101"/>
                      <a:pt x="74" y="98"/>
                    </a:cubicBezTo>
                    <a:cubicBezTo>
                      <a:pt x="79" y="90"/>
                      <a:pt x="81" y="102"/>
                      <a:pt x="82" y="106"/>
                    </a:cubicBezTo>
                    <a:cubicBezTo>
                      <a:pt x="94" y="103"/>
                      <a:pt x="96" y="104"/>
                      <a:pt x="98" y="116"/>
                    </a:cubicBezTo>
                    <a:cubicBezTo>
                      <a:pt x="95" y="125"/>
                      <a:pt x="100" y="139"/>
                      <a:pt x="108" y="145"/>
                    </a:cubicBezTo>
                    <a:cubicBezTo>
                      <a:pt x="108" y="136"/>
                      <a:pt x="102" y="109"/>
                      <a:pt x="117" y="106"/>
                    </a:cubicBezTo>
                    <a:cubicBezTo>
                      <a:pt x="125" y="100"/>
                      <a:pt x="127" y="117"/>
                      <a:pt x="131" y="121"/>
                    </a:cubicBezTo>
                    <a:cubicBezTo>
                      <a:pt x="136" y="126"/>
                      <a:pt x="141" y="127"/>
                      <a:pt x="147" y="129"/>
                    </a:cubicBezTo>
                    <a:cubicBezTo>
                      <a:pt x="153" y="128"/>
                      <a:pt x="158" y="126"/>
                      <a:pt x="150" y="123"/>
                    </a:cubicBezTo>
                    <a:cubicBezTo>
                      <a:pt x="146" y="118"/>
                      <a:pt x="142" y="116"/>
                      <a:pt x="137" y="113"/>
                    </a:cubicBezTo>
                    <a:cubicBezTo>
                      <a:pt x="134" y="108"/>
                      <a:pt x="135" y="107"/>
                      <a:pt x="140" y="106"/>
                    </a:cubicBezTo>
                    <a:cubicBezTo>
                      <a:pt x="143" y="102"/>
                      <a:pt x="143" y="101"/>
                      <a:pt x="138" y="99"/>
                    </a:cubicBezTo>
                    <a:cubicBezTo>
                      <a:pt x="136" y="94"/>
                      <a:pt x="132" y="93"/>
                      <a:pt x="129" y="89"/>
                    </a:cubicBezTo>
                    <a:cubicBezTo>
                      <a:pt x="127" y="83"/>
                      <a:pt x="125" y="80"/>
                      <a:pt x="120" y="77"/>
                    </a:cubicBezTo>
                    <a:cubicBezTo>
                      <a:pt x="118" y="70"/>
                      <a:pt x="114" y="67"/>
                      <a:pt x="111" y="61"/>
                    </a:cubicBezTo>
                    <a:cubicBezTo>
                      <a:pt x="110" y="58"/>
                      <a:pt x="108" y="52"/>
                      <a:pt x="108" y="52"/>
                    </a:cubicBezTo>
                    <a:cubicBezTo>
                      <a:pt x="109" y="50"/>
                      <a:pt x="109" y="48"/>
                      <a:pt x="111" y="47"/>
                    </a:cubicBezTo>
                    <a:cubicBezTo>
                      <a:pt x="112" y="47"/>
                      <a:pt x="125" y="53"/>
                      <a:pt x="130" y="55"/>
                    </a:cubicBezTo>
                    <a:cubicBezTo>
                      <a:pt x="132" y="60"/>
                      <a:pt x="132" y="67"/>
                      <a:pt x="137" y="70"/>
                    </a:cubicBezTo>
                    <a:cubicBezTo>
                      <a:pt x="139" y="54"/>
                      <a:pt x="143" y="60"/>
                      <a:pt x="153" y="53"/>
                    </a:cubicBezTo>
                    <a:cubicBezTo>
                      <a:pt x="159" y="44"/>
                      <a:pt x="140" y="43"/>
                      <a:pt x="136" y="43"/>
                    </a:cubicBezTo>
                    <a:cubicBezTo>
                      <a:pt x="123" y="36"/>
                      <a:pt x="134" y="24"/>
                      <a:pt x="118" y="22"/>
                    </a:cubicBezTo>
                    <a:cubicBezTo>
                      <a:pt x="116" y="20"/>
                      <a:pt x="114" y="16"/>
                      <a:pt x="111" y="17"/>
                    </a:cubicBezTo>
                    <a:cubicBezTo>
                      <a:pt x="109" y="18"/>
                      <a:pt x="105" y="21"/>
                      <a:pt x="105" y="21"/>
                    </a:cubicBezTo>
                    <a:cubicBezTo>
                      <a:pt x="101" y="18"/>
                      <a:pt x="102" y="16"/>
                      <a:pt x="99" y="13"/>
                    </a:cubicBezTo>
                    <a:cubicBezTo>
                      <a:pt x="97" y="11"/>
                      <a:pt x="90" y="9"/>
                      <a:pt x="90" y="9"/>
                    </a:cubicBezTo>
                    <a:cubicBezTo>
                      <a:pt x="83" y="11"/>
                      <a:pt x="86" y="10"/>
                      <a:pt x="81" y="13"/>
                    </a:cubicBezTo>
                    <a:cubicBezTo>
                      <a:pt x="75" y="11"/>
                      <a:pt x="65" y="11"/>
                      <a:pt x="59" y="7"/>
                    </a:cubicBezTo>
                    <a:cubicBezTo>
                      <a:pt x="57" y="0"/>
                      <a:pt x="52" y="2"/>
                      <a:pt x="47" y="4"/>
                    </a:cubicBezTo>
                    <a:cubicBezTo>
                      <a:pt x="45" y="7"/>
                      <a:pt x="39" y="9"/>
                      <a:pt x="39" y="9"/>
                    </a:cubicBezTo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115" name="Freeform 24"/>
              <p:cNvSpPr>
                <a:spLocks noChangeAspect="1"/>
              </p:cNvSpPr>
              <p:nvPr/>
            </p:nvSpPr>
            <p:spPr bwMode="auto">
              <a:xfrm>
                <a:off x="5910" y="8378"/>
                <a:ext cx="76" cy="68"/>
              </a:xfrm>
              <a:custGeom>
                <a:avLst/>
                <a:gdLst>
                  <a:gd name="T0" fmla="*/ 2147483647 w 19"/>
                  <a:gd name="T1" fmla="*/ 0 h 17"/>
                  <a:gd name="T2" fmla="*/ 2147483647 w 19"/>
                  <a:gd name="T3" fmla="*/ 2147483647 h 17"/>
                  <a:gd name="T4" fmla="*/ 2147483647 w 19"/>
                  <a:gd name="T5" fmla="*/ 2147483647 h 17"/>
                  <a:gd name="T6" fmla="*/ 2147483647 w 19"/>
                  <a:gd name="T7" fmla="*/ 2147483647 h 17"/>
                  <a:gd name="T8" fmla="*/ 2147483647 w 19"/>
                  <a:gd name="T9" fmla="*/ 2147483647 h 17"/>
                  <a:gd name="T10" fmla="*/ 2147483647 w 19"/>
                  <a:gd name="T11" fmla="*/ 2147483647 h 17"/>
                  <a:gd name="T12" fmla="*/ 2147483647 w 19"/>
                  <a:gd name="T13" fmla="*/ 0 h 1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9"/>
                  <a:gd name="T22" fmla="*/ 0 h 17"/>
                  <a:gd name="T23" fmla="*/ 19 w 19"/>
                  <a:gd name="T24" fmla="*/ 17 h 17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9" h="17">
                    <a:moveTo>
                      <a:pt x="16" y="0"/>
                    </a:moveTo>
                    <a:cubicBezTo>
                      <a:pt x="13" y="1"/>
                      <a:pt x="9" y="2"/>
                      <a:pt x="6" y="3"/>
                    </a:cubicBezTo>
                    <a:cubicBezTo>
                      <a:pt x="5" y="5"/>
                      <a:pt x="2" y="6"/>
                      <a:pt x="1" y="9"/>
                    </a:cubicBezTo>
                    <a:cubicBezTo>
                      <a:pt x="0" y="13"/>
                      <a:pt x="9" y="15"/>
                      <a:pt x="12" y="17"/>
                    </a:cubicBezTo>
                    <a:cubicBezTo>
                      <a:pt x="14" y="16"/>
                      <a:pt x="16" y="16"/>
                      <a:pt x="17" y="15"/>
                    </a:cubicBezTo>
                    <a:cubicBezTo>
                      <a:pt x="18" y="13"/>
                      <a:pt x="19" y="9"/>
                      <a:pt x="19" y="9"/>
                    </a:cubicBezTo>
                    <a:cubicBezTo>
                      <a:pt x="19" y="7"/>
                      <a:pt x="16" y="0"/>
                      <a:pt x="16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116" name="Freeform 25"/>
              <p:cNvSpPr>
                <a:spLocks noChangeAspect="1"/>
              </p:cNvSpPr>
              <p:nvPr/>
            </p:nvSpPr>
            <p:spPr bwMode="auto">
              <a:xfrm>
                <a:off x="6134" y="8402"/>
                <a:ext cx="68" cy="52"/>
              </a:xfrm>
              <a:custGeom>
                <a:avLst/>
                <a:gdLst>
                  <a:gd name="T0" fmla="*/ 2147483647 w 17"/>
                  <a:gd name="T1" fmla="*/ 2147483647 h 13"/>
                  <a:gd name="T2" fmla="*/ 2147483647 w 17"/>
                  <a:gd name="T3" fmla="*/ 2147483647 h 13"/>
                  <a:gd name="T4" fmla="*/ 2147483647 w 17"/>
                  <a:gd name="T5" fmla="*/ 2147483647 h 13"/>
                  <a:gd name="T6" fmla="*/ 0 60000 65536"/>
                  <a:gd name="T7" fmla="*/ 0 60000 65536"/>
                  <a:gd name="T8" fmla="*/ 0 60000 65536"/>
                  <a:gd name="T9" fmla="*/ 0 w 17"/>
                  <a:gd name="T10" fmla="*/ 0 h 13"/>
                  <a:gd name="T11" fmla="*/ 17 w 17"/>
                  <a:gd name="T12" fmla="*/ 13 h 13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7" h="13">
                    <a:moveTo>
                      <a:pt x="15" y="3"/>
                    </a:moveTo>
                    <a:cubicBezTo>
                      <a:pt x="3" y="0"/>
                      <a:pt x="0" y="9"/>
                      <a:pt x="11" y="13"/>
                    </a:cubicBezTo>
                    <a:cubicBezTo>
                      <a:pt x="17" y="11"/>
                      <a:pt x="15" y="8"/>
                      <a:pt x="15" y="3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117" name="Freeform 26"/>
              <p:cNvSpPr>
                <a:spLocks noChangeAspect="1"/>
              </p:cNvSpPr>
              <p:nvPr/>
            </p:nvSpPr>
            <p:spPr bwMode="auto">
              <a:xfrm>
                <a:off x="6050" y="8570"/>
                <a:ext cx="120" cy="96"/>
              </a:xfrm>
              <a:custGeom>
                <a:avLst/>
                <a:gdLst>
                  <a:gd name="T0" fmla="*/ 2147483647 w 30"/>
                  <a:gd name="T1" fmla="*/ 0 h 24"/>
                  <a:gd name="T2" fmla="*/ 2147483647 w 30"/>
                  <a:gd name="T3" fmla="*/ 2147483647 h 24"/>
                  <a:gd name="T4" fmla="*/ 2147483647 w 30"/>
                  <a:gd name="T5" fmla="*/ 2147483647 h 24"/>
                  <a:gd name="T6" fmla="*/ 2147483647 w 30"/>
                  <a:gd name="T7" fmla="*/ 2147483647 h 24"/>
                  <a:gd name="T8" fmla="*/ 2147483647 w 30"/>
                  <a:gd name="T9" fmla="*/ 2147483647 h 24"/>
                  <a:gd name="T10" fmla="*/ 2147483647 w 30"/>
                  <a:gd name="T11" fmla="*/ 0 h 2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0"/>
                  <a:gd name="T19" fmla="*/ 0 h 24"/>
                  <a:gd name="T20" fmla="*/ 30 w 30"/>
                  <a:gd name="T21" fmla="*/ 24 h 2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0" h="24">
                    <a:moveTo>
                      <a:pt x="29" y="0"/>
                    </a:moveTo>
                    <a:cubicBezTo>
                      <a:pt x="28" y="3"/>
                      <a:pt x="26" y="6"/>
                      <a:pt x="25" y="9"/>
                    </a:cubicBezTo>
                    <a:cubicBezTo>
                      <a:pt x="22" y="8"/>
                      <a:pt x="16" y="6"/>
                      <a:pt x="16" y="6"/>
                    </a:cubicBezTo>
                    <a:cubicBezTo>
                      <a:pt x="10" y="7"/>
                      <a:pt x="0" y="8"/>
                      <a:pt x="10" y="13"/>
                    </a:cubicBezTo>
                    <a:cubicBezTo>
                      <a:pt x="12" y="24"/>
                      <a:pt x="16" y="20"/>
                      <a:pt x="28" y="19"/>
                    </a:cubicBezTo>
                    <a:cubicBezTo>
                      <a:pt x="30" y="12"/>
                      <a:pt x="30" y="7"/>
                      <a:pt x="29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118" name="Freeform 27"/>
              <p:cNvSpPr>
                <a:spLocks noChangeAspect="1"/>
              </p:cNvSpPr>
              <p:nvPr/>
            </p:nvSpPr>
            <p:spPr bwMode="auto">
              <a:xfrm>
                <a:off x="6330" y="9390"/>
                <a:ext cx="64" cy="88"/>
              </a:xfrm>
              <a:custGeom>
                <a:avLst/>
                <a:gdLst>
                  <a:gd name="T0" fmla="*/ 2147483647 w 16"/>
                  <a:gd name="T1" fmla="*/ 0 h 22"/>
                  <a:gd name="T2" fmla="*/ 2147483647 w 16"/>
                  <a:gd name="T3" fmla="*/ 2147483647 h 22"/>
                  <a:gd name="T4" fmla="*/ 2147483647 w 16"/>
                  <a:gd name="T5" fmla="*/ 2147483647 h 22"/>
                  <a:gd name="T6" fmla="*/ 2147483647 w 16"/>
                  <a:gd name="T7" fmla="*/ 2147483647 h 22"/>
                  <a:gd name="T8" fmla="*/ 2147483647 w 16"/>
                  <a:gd name="T9" fmla="*/ 0 h 2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6"/>
                  <a:gd name="T16" fmla="*/ 0 h 22"/>
                  <a:gd name="T17" fmla="*/ 16 w 16"/>
                  <a:gd name="T18" fmla="*/ 22 h 2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6" h="22">
                    <a:moveTo>
                      <a:pt x="6" y="0"/>
                    </a:moveTo>
                    <a:cubicBezTo>
                      <a:pt x="13" y="2"/>
                      <a:pt x="14" y="4"/>
                      <a:pt x="16" y="11"/>
                    </a:cubicBezTo>
                    <a:cubicBezTo>
                      <a:pt x="14" y="19"/>
                      <a:pt x="13" y="18"/>
                      <a:pt x="7" y="22"/>
                    </a:cubicBezTo>
                    <a:cubicBezTo>
                      <a:pt x="5" y="15"/>
                      <a:pt x="0" y="12"/>
                      <a:pt x="7" y="5"/>
                    </a:cubicBezTo>
                    <a:cubicBezTo>
                      <a:pt x="8" y="1"/>
                      <a:pt x="9" y="3"/>
                      <a:pt x="6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119" name="Freeform 28"/>
              <p:cNvSpPr>
                <a:spLocks noChangeAspect="1"/>
              </p:cNvSpPr>
              <p:nvPr/>
            </p:nvSpPr>
            <p:spPr bwMode="auto">
              <a:xfrm>
                <a:off x="6310" y="8702"/>
                <a:ext cx="180" cy="136"/>
              </a:xfrm>
              <a:custGeom>
                <a:avLst/>
                <a:gdLst>
                  <a:gd name="T0" fmla="*/ 2147483647 w 45"/>
                  <a:gd name="T1" fmla="*/ 0 h 34"/>
                  <a:gd name="T2" fmla="*/ 2147483647 w 45"/>
                  <a:gd name="T3" fmla="*/ 2147483647 h 34"/>
                  <a:gd name="T4" fmla="*/ 2147483647 w 45"/>
                  <a:gd name="T5" fmla="*/ 2147483647 h 34"/>
                  <a:gd name="T6" fmla="*/ 2147483647 w 45"/>
                  <a:gd name="T7" fmla="*/ 2147483647 h 34"/>
                  <a:gd name="T8" fmla="*/ 2147483647 w 45"/>
                  <a:gd name="T9" fmla="*/ 2147483647 h 34"/>
                  <a:gd name="T10" fmla="*/ 2147483647 w 45"/>
                  <a:gd name="T11" fmla="*/ 2147483647 h 34"/>
                  <a:gd name="T12" fmla="*/ 2147483647 w 45"/>
                  <a:gd name="T13" fmla="*/ 2147483647 h 34"/>
                  <a:gd name="T14" fmla="*/ 2147483647 w 45"/>
                  <a:gd name="T15" fmla="*/ 2147483647 h 34"/>
                  <a:gd name="T16" fmla="*/ 2147483647 w 45"/>
                  <a:gd name="T17" fmla="*/ 2147483647 h 34"/>
                  <a:gd name="T18" fmla="*/ 0 w 45"/>
                  <a:gd name="T19" fmla="*/ 2147483647 h 34"/>
                  <a:gd name="T20" fmla="*/ 2147483647 w 45"/>
                  <a:gd name="T21" fmla="*/ 2147483647 h 34"/>
                  <a:gd name="T22" fmla="*/ 2147483647 w 45"/>
                  <a:gd name="T23" fmla="*/ 2147483647 h 34"/>
                  <a:gd name="T24" fmla="*/ 2147483647 w 45"/>
                  <a:gd name="T25" fmla="*/ 0 h 34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45"/>
                  <a:gd name="T40" fmla="*/ 0 h 34"/>
                  <a:gd name="T41" fmla="*/ 45 w 45"/>
                  <a:gd name="T42" fmla="*/ 34 h 34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45" h="34">
                    <a:moveTo>
                      <a:pt x="26" y="0"/>
                    </a:moveTo>
                    <a:cubicBezTo>
                      <a:pt x="27" y="4"/>
                      <a:pt x="31" y="8"/>
                      <a:pt x="35" y="10"/>
                    </a:cubicBezTo>
                    <a:cubicBezTo>
                      <a:pt x="37" y="11"/>
                      <a:pt x="41" y="14"/>
                      <a:pt x="41" y="14"/>
                    </a:cubicBezTo>
                    <a:cubicBezTo>
                      <a:pt x="43" y="17"/>
                      <a:pt x="45" y="23"/>
                      <a:pt x="45" y="23"/>
                    </a:cubicBezTo>
                    <a:cubicBezTo>
                      <a:pt x="43" y="29"/>
                      <a:pt x="37" y="31"/>
                      <a:pt x="32" y="33"/>
                    </a:cubicBezTo>
                    <a:cubicBezTo>
                      <a:pt x="29" y="33"/>
                      <a:pt x="25" y="34"/>
                      <a:pt x="23" y="32"/>
                    </a:cubicBezTo>
                    <a:cubicBezTo>
                      <a:pt x="19" y="28"/>
                      <a:pt x="29" y="17"/>
                      <a:pt x="29" y="17"/>
                    </a:cubicBezTo>
                    <a:cubicBezTo>
                      <a:pt x="26" y="10"/>
                      <a:pt x="26" y="11"/>
                      <a:pt x="19" y="12"/>
                    </a:cubicBezTo>
                    <a:cubicBezTo>
                      <a:pt x="17" y="19"/>
                      <a:pt x="16" y="26"/>
                      <a:pt x="8" y="28"/>
                    </a:cubicBezTo>
                    <a:cubicBezTo>
                      <a:pt x="4" y="27"/>
                      <a:pt x="0" y="18"/>
                      <a:pt x="0" y="18"/>
                    </a:cubicBezTo>
                    <a:cubicBezTo>
                      <a:pt x="2" y="12"/>
                      <a:pt x="5" y="12"/>
                      <a:pt x="11" y="11"/>
                    </a:cubicBezTo>
                    <a:cubicBezTo>
                      <a:pt x="13" y="10"/>
                      <a:pt x="15" y="10"/>
                      <a:pt x="17" y="8"/>
                    </a:cubicBezTo>
                    <a:cubicBezTo>
                      <a:pt x="21" y="4"/>
                      <a:pt x="19" y="0"/>
                      <a:pt x="26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120" name="Freeform 29"/>
              <p:cNvSpPr>
                <a:spLocks noChangeAspect="1"/>
              </p:cNvSpPr>
              <p:nvPr/>
            </p:nvSpPr>
            <p:spPr bwMode="auto">
              <a:xfrm>
                <a:off x="6342" y="8942"/>
                <a:ext cx="108" cy="140"/>
              </a:xfrm>
              <a:custGeom>
                <a:avLst/>
                <a:gdLst>
                  <a:gd name="T0" fmla="*/ 2147483647 w 27"/>
                  <a:gd name="T1" fmla="*/ 2147483647 h 35"/>
                  <a:gd name="T2" fmla="*/ 2147483647 w 27"/>
                  <a:gd name="T3" fmla="*/ 2147483647 h 35"/>
                  <a:gd name="T4" fmla="*/ 2147483647 w 27"/>
                  <a:gd name="T5" fmla="*/ 2147483647 h 35"/>
                  <a:gd name="T6" fmla="*/ 2147483647 w 27"/>
                  <a:gd name="T7" fmla="*/ 2147483647 h 35"/>
                  <a:gd name="T8" fmla="*/ 0 w 27"/>
                  <a:gd name="T9" fmla="*/ 2147483647 h 35"/>
                  <a:gd name="T10" fmla="*/ 2147483647 w 27"/>
                  <a:gd name="T11" fmla="*/ 2147483647 h 3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7"/>
                  <a:gd name="T19" fmla="*/ 0 h 35"/>
                  <a:gd name="T20" fmla="*/ 27 w 27"/>
                  <a:gd name="T21" fmla="*/ 35 h 3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7" h="35">
                    <a:moveTo>
                      <a:pt x="13" y="4"/>
                    </a:moveTo>
                    <a:cubicBezTo>
                      <a:pt x="18" y="5"/>
                      <a:pt x="22" y="10"/>
                      <a:pt x="25" y="14"/>
                    </a:cubicBezTo>
                    <a:cubicBezTo>
                      <a:pt x="24" y="24"/>
                      <a:pt x="26" y="32"/>
                      <a:pt x="16" y="35"/>
                    </a:cubicBezTo>
                    <a:cubicBezTo>
                      <a:pt x="11" y="34"/>
                      <a:pt x="10" y="33"/>
                      <a:pt x="7" y="29"/>
                    </a:cubicBezTo>
                    <a:cubicBezTo>
                      <a:pt x="17" y="23"/>
                      <a:pt x="7" y="13"/>
                      <a:pt x="0" y="10"/>
                    </a:cubicBezTo>
                    <a:cubicBezTo>
                      <a:pt x="3" y="0"/>
                      <a:pt x="27" y="9"/>
                      <a:pt x="13" y="4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121" name="Freeform 30"/>
              <p:cNvSpPr>
                <a:spLocks noChangeAspect="1"/>
              </p:cNvSpPr>
              <p:nvPr/>
            </p:nvSpPr>
            <p:spPr bwMode="auto">
              <a:xfrm>
                <a:off x="6950" y="9454"/>
                <a:ext cx="108" cy="208"/>
              </a:xfrm>
              <a:custGeom>
                <a:avLst/>
                <a:gdLst>
                  <a:gd name="T0" fmla="*/ 2147483647 w 27"/>
                  <a:gd name="T1" fmla="*/ 2147483647 h 52"/>
                  <a:gd name="T2" fmla="*/ 2147483647 w 27"/>
                  <a:gd name="T3" fmla="*/ 2147483647 h 52"/>
                  <a:gd name="T4" fmla="*/ 2147483647 w 27"/>
                  <a:gd name="T5" fmla="*/ 2147483647 h 52"/>
                  <a:gd name="T6" fmla="*/ 2147483647 w 27"/>
                  <a:gd name="T7" fmla="*/ 2147483647 h 52"/>
                  <a:gd name="T8" fmla="*/ 2147483647 w 27"/>
                  <a:gd name="T9" fmla="*/ 2147483647 h 52"/>
                  <a:gd name="T10" fmla="*/ 2147483647 w 27"/>
                  <a:gd name="T11" fmla="*/ 2147483647 h 52"/>
                  <a:gd name="T12" fmla="*/ 2147483647 w 27"/>
                  <a:gd name="T13" fmla="*/ 2147483647 h 52"/>
                  <a:gd name="T14" fmla="*/ 2147483647 w 27"/>
                  <a:gd name="T15" fmla="*/ 2147483647 h 52"/>
                  <a:gd name="T16" fmla="*/ 2147483647 w 27"/>
                  <a:gd name="T17" fmla="*/ 2147483647 h 52"/>
                  <a:gd name="T18" fmla="*/ 2147483647 w 27"/>
                  <a:gd name="T19" fmla="*/ 2147483647 h 52"/>
                  <a:gd name="T20" fmla="*/ 2147483647 w 27"/>
                  <a:gd name="T21" fmla="*/ 2147483647 h 52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27"/>
                  <a:gd name="T34" fmla="*/ 0 h 52"/>
                  <a:gd name="T35" fmla="*/ 27 w 27"/>
                  <a:gd name="T36" fmla="*/ 52 h 52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27" h="52">
                    <a:moveTo>
                      <a:pt x="25" y="2"/>
                    </a:moveTo>
                    <a:cubicBezTo>
                      <a:pt x="20" y="4"/>
                      <a:pt x="19" y="9"/>
                      <a:pt x="14" y="12"/>
                    </a:cubicBezTo>
                    <a:cubicBezTo>
                      <a:pt x="11" y="14"/>
                      <a:pt x="5" y="15"/>
                      <a:pt x="5" y="15"/>
                    </a:cubicBezTo>
                    <a:cubicBezTo>
                      <a:pt x="2" y="24"/>
                      <a:pt x="0" y="40"/>
                      <a:pt x="8" y="46"/>
                    </a:cubicBezTo>
                    <a:cubicBezTo>
                      <a:pt x="12" y="52"/>
                      <a:pt x="15" y="46"/>
                      <a:pt x="19" y="43"/>
                    </a:cubicBezTo>
                    <a:cubicBezTo>
                      <a:pt x="21" y="38"/>
                      <a:pt x="22" y="33"/>
                      <a:pt x="23" y="28"/>
                    </a:cubicBezTo>
                    <a:cubicBezTo>
                      <a:pt x="22" y="21"/>
                      <a:pt x="22" y="19"/>
                      <a:pt x="25" y="13"/>
                    </a:cubicBezTo>
                    <a:cubicBezTo>
                      <a:pt x="26" y="11"/>
                      <a:pt x="27" y="7"/>
                      <a:pt x="27" y="7"/>
                    </a:cubicBezTo>
                    <a:cubicBezTo>
                      <a:pt x="26" y="5"/>
                      <a:pt x="27" y="2"/>
                      <a:pt x="25" y="1"/>
                    </a:cubicBezTo>
                    <a:cubicBezTo>
                      <a:pt x="24" y="0"/>
                      <a:pt x="22" y="3"/>
                      <a:pt x="22" y="4"/>
                    </a:cubicBezTo>
                    <a:cubicBezTo>
                      <a:pt x="22" y="5"/>
                      <a:pt x="24" y="3"/>
                      <a:pt x="25" y="2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122" name="Freeform 31"/>
              <p:cNvSpPr>
                <a:spLocks noChangeAspect="1"/>
              </p:cNvSpPr>
              <p:nvPr/>
            </p:nvSpPr>
            <p:spPr bwMode="auto">
              <a:xfrm>
                <a:off x="6790" y="9682"/>
                <a:ext cx="80" cy="164"/>
              </a:xfrm>
              <a:custGeom>
                <a:avLst/>
                <a:gdLst>
                  <a:gd name="T0" fmla="*/ 2147483647 w 20"/>
                  <a:gd name="T1" fmla="*/ 0 h 41"/>
                  <a:gd name="T2" fmla="*/ 2147483647 w 20"/>
                  <a:gd name="T3" fmla="*/ 2147483647 h 41"/>
                  <a:gd name="T4" fmla="*/ 2147483647 w 20"/>
                  <a:gd name="T5" fmla="*/ 0 h 41"/>
                  <a:gd name="T6" fmla="*/ 0 60000 65536"/>
                  <a:gd name="T7" fmla="*/ 0 60000 65536"/>
                  <a:gd name="T8" fmla="*/ 0 60000 65536"/>
                  <a:gd name="T9" fmla="*/ 0 w 20"/>
                  <a:gd name="T10" fmla="*/ 0 h 41"/>
                  <a:gd name="T11" fmla="*/ 20 w 20"/>
                  <a:gd name="T12" fmla="*/ 41 h 4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0" h="41">
                    <a:moveTo>
                      <a:pt x="20" y="0"/>
                    </a:moveTo>
                    <a:cubicBezTo>
                      <a:pt x="19" y="14"/>
                      <a:pt x="18" y="27"/>
                      <a:pt x="17" y="41"/>
                    </a:cubicBezTo>
                    <a:cubicBezTo>
                      <a:pt x="0" y="38"/>
                      <a:pt x="16" y="9"/>
                      <a:pt x="20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123" name="Freeform 32"/>
              <p:cNvSpPr>
                <a:spLocks noChangeAspect="1"/>
              </p:cNvSpPr>
              <p:nvPr/>
            </p:nvSpPr>
            <p:spPr bwMode="auto">
              <a:xfrm>
                <a:off x="6002" y="9894"/>
                <a:ext cx="700" cy="196"/>
              </a:xfrm>
              <a:custGeom>
                <a:avLst/>
                <a:gdLst>
                  <a:gd name="T0" fmla="*/ 2147483647 w 175"/>
                  <a:gd name="T1" fmla="*/ 2147483647 h 49"/>
                  <a:gd name="T2" fmla="*/ 2147483647 w 175"/>
                  <a:gd name="T3" fmla="*/ 2147483647 h 49"/>
                  <a:gd name="T4" fmla="*/ 2147483647 w 175"/>
                  <a:gd name="T5" fmla="*/ 2147483647 h 49"/>
                  <a:gd name="T6" fmla="*/ 2147483647 w 175"/>
                  <a:gd name="T7" fmla="*/ 2147483647 h 49"/>
                  <a:gd name="T8" fmla="*/ 2147483647 w 175"/>
                  <a:gd name="T9" fmla="*/ 2147483647 h 49"/>
                  <a:gd name="T10" fmla="*/ 2147483647 w 175"/>
                  <a:gd name="T11" fmla="*/ 2147483647 h 49"/>
                  <a:gd name="T12" fmla="*/ 2147483647 w 175"/>
                  <a:gd name="T13" fmla="*/ 2147483647 h 49"/>
                  <a:gd name="T14" fmla="*/ 2147483647 w 175"/>
                  <a:gd name="T15" fmla="*/ 2147483647 h 49"/>
                  <a:gd name="T16" fmla="*/ 2147483647 w 175"/>
                  <a:gd name="T17" fmla="*/ 2147483647 h 49"/>
                  <a:gd name="T18" fmla="*/ 2147483647 w 175"/>
                  <a:gd name="T19" fmla="*/ 2147483647 h 49"/>
                  <a:gd name="T20" fmla="*/ 2147483647 w 175"/>
                  <a:gd name="T21" fmla="*/ 2147483647 h 49"/>
                  <a:gd name="T22" fmla="*/ 2147483647 w 175"/>
                  <a:gd name="T23" fmla="*/ 2147483647 h 49"/>
                  <a:gd name="T24" fmla="*/ 2147483647 w 175"/>
                  <a:gd name="T25" fmla="*/ 2147483647 h 49"/>
                  <a:gd name="T26" fmla="*/ 2147483647 w 175"/>
                  <a:gd name="T27" fmla="*/ 2147483647 h 49"/>
                  <a:gd name="T28" fmla="*/ 2147483647 w 175"/>
                  <a:gd name="T29" fmla="*/ 2147483647 h 49"/>
                  <a:gd name="T30" fmla="*/ 2147483647 w 175"/>
                  <a:gd name="T31" fmla="*/ 2147483647 h 49"/>
                  <a:gd name="T32" fmla="*/ 2147483647 w 175"/>
                  <a:gd name="T33" fmla="*/ 2147483647 h 49"/>
                  <a:gd name="T34" fmla="*/ 2147483647 w 175"/>
                  <a:gd name="T35" fmla="*/ 2147483647 h 49"/>
                  <a:gd name="T36" fmla="*/ 2147483647 w 175"/>
                  <a:gd name="T37" fmla="*/ 2147483647 h 49"/>
                  <a:gd name="T38" fmla="*/ 2147483647 w 175"/>
                  <a:gd name="T39" fmla="*/ 2147483647 h 49"/>
                  <a:gd name="T40" fmla="*/ 2147483647 w 175"/>
                  <a:gd name="T41" fmla="*/ 2147483647 h 49"/>
                  <a:gd name="T42" fmla="*/ 2147483647 w 175"/>
                  <a:gd name="T43" fmla="*/ 2147483647 h 49"/>
                  <a:gd name="T44" fmla="*/ 2147483647 w 175"/>
                  <a:gd name="T45" fmla="*/ 2147483647 h 49"/>
                  <a:gd name="T46" fmla="*/ 0 w 175"/>
                  <a:gd name="T47" fmla="*/ 2147483647 h 49"/>
                  <a:gd name="T48" fmla="*/ 2147483647 w 175"/>
                  <a:gd name="T49" fmla="*/ 2147483647 h 49"/>
                  <a:gd name="T50" fmla="*/ 2147483647 w 175"/>
                  <a:gd name="T51" fmla="*/ 2147483647 h 49"/>
                  <a:gd name="T52" fmla="*/ 2147483647 w 175"/>
                  <a:gd name="T53" fmla="*/ 2147483647 h 49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w 175"/>
                  <a:gd name="T82" fmla="*/ 0 h 49"/>
                  <a:gd name="T83" fmla="*/ 175 w 175"/>
                  <a:gd name="T84" fmla="*/ 49 h 49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T81" t="T82" r="T83" b="T84"/>
                <a:pathLst>
                  <a:path w="175" h="49">
                    <a:moveTo>
                      <a:pt x="8" y="24"/>
                    </a:moveTo>
                    <a:cubicBezTo>
                      <a:pt x="13" y="21"/>
                      <a:pt x="13" y="6"/>
                      <a:pt x="13" y="6"/>
                    </a:cubicBezTo>
                    <a:cubicBezTo>
                      <a:pt x="23" y="9"/>
                      <a:pt x="9" y="17"/>
                      <a:pt x="25" y="19"/>
                    </a:cubicBezTo>
                    <a:cubicBezTo>
                      <a:pt x="32" y="18"/>
                      <a:pt x="29" y="16"/>
                      <a:pt x="34" y="11"/>
                    </a:cubicBezTo>
                    <a:cubicBezTo>
                      <a:pt x="38" y="0"/>
                      <a:pt x="32" y="25"/>
                      <a:pt x="40" y="23"/>
                    </a:cubicBezTo>
                    <a:cubicBezTo>
                      <a:pt x="41" y="19"/>
                      <a:pt x="47" y="22"/>
                      <a:pt x="52" y="23"/>
                    </a:cubicBezTo>
                    <a:cubicBezTo>
                      <a:pt x="57" y="22"/>
                      <a:pt x="64" y="14"/>
                      <a:pt x="70" y="12"/>
                    </a:cubicBezTo>
                    <a:cubicBezTo>
                      <a:pt x="76" y="10"/>
                      <a:pt x="83" y="12"/>
                      <a:pt x="88" y="13"/>
                    </a:cubicBezTo>
                    <a:cubicBezTo>
                      <a:pt x="92" y="7"/>
                      <a:pt x="97" y="12"/>
                      <a:pt x="101" y="16"/>
                    </a:cubicBezTo>
                    <a:cubicBezTo>
                      <a:pt x="111" y="13"/>
                      <a:pt x="107" y="14"/>
                      <a:pt x="114" y="12"/>
                    </a:cubicBezTo>
                    <a:cubicBezTo>
                      <a:pt x="121" y="14"/>
                      <a:pt x="120" y="14"/>
                      <a:pt x="128" y="12"/>
                    </a:cubicBezTo>
                    <a:cubicBezTo>
                      <a:pt x="130" y="7"/>
                      <a:pt x="131" y="4"/>
                      <a:pt x="136" y="6"/>
                    </a:cubicBezTo>
                    <a:cubicBezTo>
                      <a:pt x="137" y="12"/>
                      <a:pt x="137" y="13"/>
                      <a:pt x="134" y="18"/>
                    </a:cubicBezTo>
                    <a:cubicBezTo>
                      <a:pt x="136" y="23"/>
                      <a:pt x="150" y="19"/>
                      <a:pt x="150" y="19"/>
                    </a:cubicBezTo>
                    <a:cubicBezTo>
                      <a:pt x="156" y="16"/>
                      <a:pt x="155" y="11"/>
                      <a:pt x="162" y="10"/>
                    </a:cubicBezTo>
                    <a:cubicBezTo>
                      <a:pt x="174" y="11"/>
                      <a:pt x="173" y="9"/>
                      <a:pt x="175" y="18"/>
                    </a:cubicBezTo>
                    <a:cubicBezTo>
                      <a:pt x="173" y="25"/>
                      <a:pt x="169" y="25"/>
                      <a:pt x="163" y="28"/>
                    </a:cubicBezTo>
                    <a:cubicBezTo>
                      <a:pt x="158" y="36"/>
                      <a:pt x="154" y="25"/>
                      <a:pt x="142" y="30"/>
                    </a:cubicBezTo>
                    <a:cubicBezTo>
                      <a:pt x="135" y="31"/>
                      <a:pt x="129" y="35"/>
                      <a:pt x="122" y="35"/>
                    </a:cubicBezTo>
                    <a:cubicBezTo>
                      <a:pt x="114" y="36"/>
                      <a:pt x="108" y="43"/>
                      <a:pt x="100" y="43"/>
                    </a:cubicBezTo>
                    <a:cubicBezTo>
                      <a:pt x="95" y="44"/>
                      <a:pt x="92" y="46"/>
                      <a:pt x="88" y="49"/>
                    </a:cubicBezTo>
                    <a:cubicBezTo>
                      <a:pt x="63" y="43"/>
                      <a:pt x="100" y="42"/>
                      <a:pt x="52" y="38"/>
                    </a:cubicBezTo>
                    <a:cubicBezTo>
                      <a:pt x="42" y="35"/>
                      <a:pt x="33" y="34"/>
                      <a:pt x="24" y="37"/>
                    </a:cubicBezTo>
                    <a:cubicBezTo>
                      <a:pt x="8" y="36"/>
                      <a:pt x="3" y="45"/>
                      <a:pt x="0" y="32"/>
                    </a:cubicBezTo>
                    <a:cubicBezTo>
                      <a:pt x="1" y="31"/>
                      <a:pt x="2" y="30"/>
                      <a:pt x="2" y="29"/>
                    </a:cubicBezTo>
                    <a:cubicBezTo>
                      <a:pt x="4" y="28"/>
                      <a:pt x="10" y="24"/>
                      <a:pt x="11" y="23"/>
                    </a:cubicBezTo>
                    <a:lnTo>
                      <a:pt x="8" y="24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124" name="Freeform 33"/>
              <p:cNvSpPr>
                <a:spLocks noChangeAspect="1"/>
              </p:cNvSpPr>
              <p:nvPr/>
            </p:nvSpPr>
            <p:spPr bwMode="auto">
              <a:xfrm>
                <a:off x="6458" y="9194"/>
                <a:ext cx="84" cy="72"/>
              </a:xfrm>
              <a:custGeom>
                <a:avLst/>
                <a:gdLst>
                  <a:gd name="T0" fmla="*/ 2147483647 w 21"/>
                  <a:gd name="T1" fmla="*/ 2147483647 h 18"/>
                  <a:gd name="T2" fmla="*/ 2147483647 w 21"/>
                  <a:gd name="T3" fmla="*/ 2147483647 h 18"/>
                  <a:gd name="T4" fmla="*/ 0 w 21"/>
                  <a:gd name="T5" fmla="*/ 2147483647 h 18"/>
                  <a:gd name="T6" fmla="*/ 2147483647 w 21"/>
                  <a:gd name="T7" fmla="*/ 2147483647 h 18"/>
                  <a:gd name="T8" fmla="*/ 2147483647 w 21"/>
                  <a:gd name="T9" fmla="*/ 2147483647 h 18"/>
                  <a:gd name="T10" fmla="*/ 2147483647 w 21"/>
                  <a:gd name="T11" fmla="*/ 2147483647 h 1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1"/>
                  <a:gd name="T19" fmla="*/ 0 h 18"/>
                  <a:gd name="T20" fmla="*/ 21 w 21"/>
                  <a:gd name="T21" fmla="*/ 18 h 1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1" h="18">
                    <a:moveTo>
                      <a:pt x="17" y="2"/>
                    </a:moveTo>
                    <a:cubicBezTo>
                      <a:pt x="13" y="3"/>
                      <a:pt x="12" y="6"/>
                      <a:pt x="8" y="7"/>
                    </a:cubicBezTo>
                    <a:cubicBezTo>
                      <a:pt x="6" y="13"/>
                      <a:pt x="3" y="11"/>
                      <a:pt x="0" y="17"/>
                    </a:cubicBezTo>
                    <a:cubicBezTo>
                      <a:pt x="6" y="18"/>
                      <a:pt x="5" y="16"/>
                      <a:pt x="10" y="13"/>
                    </a:cubicBezTo>
                    <a:cubicBezTo>
                      <a:pt x="13" y="9"/>
                      <a:pt x="15" y="9"/>
                      <a:pt x="19" y="5"/>
                    </a:cubicBezTo>
                    <a:cubicBezTo>
                      <a:pt x="20" y="0"/>
                      <a:pt x="21" y="1"/>
                      <a:pt x="17" y="2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125" name="Freeform 34"/>
              <p:cNvSpPr>
                <a:spLocks noChangeAspect="1"/>
              </p:cNvSpPr>
              <p:nvPr/>
            </p:nvSpPr>
            <p:spPr bwMode="auto">
              <a:xfrm>
                <a:off x="6718" y="9378"/>
                <a:ext cx="84" cy="96"/>
              </a:xfrm>
              <a:custGeom>
                <a:avLst/>
                <a:gdLst>
                  <a:gd name="T0" fmla="*/ 2147483647 w 21"/>
                  <a:gd name="T1" fmla="*/ 2147483647 h 24"/>
                  <a:gd name="T2" fmla="*/ 2147483647 w 21"/>
                  <a:gd name="T3" fmla="*/ 2147483647 h 24"/>
                  <a:gd name="T4" fmla="*/ 2147483647 w 21"/>
                  <a:gd name="T5" fmla="*/ 2147483647 h 24"/>
                  <a:gd name="T6" fmla="*/ 2147483647 w 21"/>
                  <a:gd name="T7" fmla="*/ 2147483647 h 24"/>
                  <a:gd name="T8" fmla="*/ 2147483647 w 21"/>
                  <a:gd name="T9" fmla="*/ 0 h 24"/>
                  <a:gd name="T10" fmla="*/ 2147483647 w 21"/>
                  <a:gd name="T11" fmla="*/ 2147483647 h 2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1"/>
                  <a:gd name="T19" fmla="*/ 0 h 24"/>
                  <a:gd name="T20" fmla="*/ 21 w 21"/>
                  <a:gd name="T21" fmla="*/ 24 h 2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1" h="24">
                    <a:moveTo>
                      <a:pt x="12" y="5"/>
                    </a:moveTo>
                    <a:cubicBezTo>
                      <a:pt x="11" y="9"/>
                      <a:pt x="7" y="13"/>
                      <a:pt x="3" y="16"/>
                    </a:cubicBezTo>
                    <a:cubicBezTo>
                      <a:pt x="0" y="24"/>
                      <a:pt x="4" y="22"/>
                      <a:pt x="12" y="21"/>
                    </a:cubicBezTo>
                    <a:cubicBezTo>
                      <a:pt x="16" y="14"/>
                      <a:pt x="19" y="14"/>
                      <a:pt x="21" y="4"/>
                    </a:cubicBezTo>
                    <a:cubicBezTo>
                      <a:pt x="21" y="1"/>
                      <a:pt x="10" y="0"/>
                      <a:pt x="9" y="0"/>
                    </a:cubicBezTo>
                    <a:cubicBezTo>
                      <a:pt x="8" y="0"/>
                      <a:pt x="13" y="2"/>
                      <a:pt x="12" y="5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126" name="Freeform 35"/>
              <p:cNvSpPr>
                <a:spLocks noChangeAspect="1"/>
              </p:cNvSpPr>
              <p:nvPr/>
            </p:nvSpPr>
            <p:spPr bwMode="auto">
              <a:xfrm>
                <a:off x="5022" y="8018"/>
                <a:ext cx="1316" cy="1284"/>
              </a:xfrm>
              <a:custGeom>
                <a:avLst/>
                <a:gdLst>
                  <a:gd name="T0" fmla="*/ 2147483647 w 329"/>
                  <a:gd name="T1" fmla="*/ 2147483647 h 321"/>
                  <a:gd name="T2" fmla="*/ 2147483647 w 329"/>
                  <a:gd name="T3" fmla="*/ 2147483647 h 321"/>
                  <a:gd name="T4" fmla="*/ 2147483647 w 329"/>
                  <a:gd name="T5" fmla="*/ 2147483647 h 321"/>
                  <a:gd name="T6" fmla="*/ 2147483647 w 329"/>
                  <a:gd name="T7" fmla="*/ 2147483647 h 321"/>
                  <a:gd name="T8" fmla="*/ 2147483647 w 329"/>
                  <a:gd name="T9" fmla="*/ 2147483647 h 321"/>
                  <a:gd name="T10" fmla="*/ 2147483647 w 329"/>
                  <a:gd name="T11" fmla="*/ 2147483647 h 321"/>
                  <a:gd name="T12" fmla="*/ 2147483647 w 329"/>
                  <a:gd name="T13" fmla="*/ 2147483647 h 321"/>
                  <a:gd name="T14" fmla="*/ 2147483647 w 329"/>
                  <a:gd name="T15" fmla="*/ 2147483647 h 321"/>
                  <a:gd name="T16" fmla="*/ 2147483647 w 329"/>
                  <a:gd name="T17" fmla="*/ 2147483647 h 321"/>
                  <a:gd name="T18" fmla="*/ 2147483647 w 329"/>
                  <a:gd name="T19" fmla="*/ 2147483647 h 321"/>
                  <a:gd name="T20" fmla="*/ 2147483647 w 329"/>
                  <a:gd name="T21" fmla="*/ 2147483647 h 321"/>
                  <a:gd name="T22" fmla="*/ 2147483647 w 329"/>
                  <a:gd name="T23" fmla="*/ 2147483647 h 321"/>
                  <a:gd name="T24" fmla="*/ 2147483647 w 329"/>
                  <a:gd name="T25" fmla="*/ 2147483647 h 321"/>
                  <a:gd name="T26" fmla="*/ 2147483647 w 329"/>
                  <a:gd name="T27" fmla="*/ 2147483647 h 321"/>
                  <a:gd name="T28" fmla="*/ 2147483647 w 329"/>
                  <a:gd name="T29" fmla="*/ 2147483647 h 321"/>
                  <a:gd name="T30" fmla="*/ 2147483647 w 329"/>
                  <a:gd name="T31" fmla="*/ 2147483647 h 321"/>
                  <a:gd name="T32" fmla="*/ 2147483647 w 329"/>
                  <a:gd name="T33" fmla="*/ 2147483647 h 321"/>
                  <a:gd name="T34" fmla="*/ 2147483647 w 329"/>
                  <a:gd name="T35" fmla="*/ 2147483647 h 321"/>
                  <a:gd name="T36" fmla="*/ 2147483647 w 329"/>
                  <a:gd name="T37" fmla="*/ 2147483647 h 321"/>
                  <a:gd name="T38" fmla="*/ 2147483647 w 329"/>
                  <a:gd name="T39" fmla="*/ 2147483647 h 321"/>
                  <a:gd name="T40" fmla="*/ 2147483647 w 329"/>
                  <a:gd name="T41" fmla="*/ 2147483647 h 321"/>
                  <a:gd name="T42" fmla="*/ 2147483647 w 329"/>
                  <a:gd name="T43" fmla="*/ 2147483647 h 321"/>
                  <a:gd name="T44" fmla="*/ 2147483647 w 329"/>
                  <a:gd name="T45" fmla="*/ 2147483647 h 321"/>
                  <a:gd name="T46" fmla="*/ 2147483647 w 329"/>
                  <a:gd name="T47" fmla="*/ 2147483647 h 321"/>
                  <a:gd name="T48" fmla="*/ 2147483647 w 329"/>
                  <a:gd name="T49" fmla="*/ 2147483647 h 321"/>
                  <a:gd name="T50" fmla="*/ 2147483647 w 329"/>
                  <a:gd name="T51" fmla="*/ 2147483647 h 321"/>
                  <a:gd name="T52" fmla="*/ 2147483647 w 329"/>
                  <a:gd name="T53" fmla="*/ 2147483647 h 321"/>
                  <a:gd name="T54" fmla="*/ 2147483647 w 329"/>
                  <a:gd name="T55" fmla="*/ 2147483647 h 321"/>
                  <a:gd name="T56" fmla="*/ 2147483647 w 329"/>
                  <a:gd name="T57" fmla="*/ 2147483647 h 321"/>
                  <a:gd name="T58" fmla="*/ 2147483647 w 329"/>
                  <a:gd name="T59" fmla="*/ 2147483647 h 321"/>
                  <a:gd name="T60" fmla="*/ 2147483647 w 329"/>
                  <a:gd name="T61" fmla="*/ 2147483647 h 321"/>
                  <a:gd name="T62" fmla="*/ 2147483647 w 329"/>
                  <a:gd name="T63" fmla="*/ 2147483647 h 321"/>
                  <a:gd name="T64" fmla="*/ 2147483647 w 329"/>
                  <a:gd name="T65" fmla="*/ 2147483647 h 321"/>
                  <a:gd name="T66" fmla="*/ 2147483647 w 329"/>
                  <a:gd name="T67" fmla="*/ 2147483647 h 321"/>
                  <a:gd name="T68" fmla="*/ 2147483647 w 329"/>
                  <a:gd name="T69" fmla="*/ 2147483647 h 321"/>
                  <a:gd name="T70" fmla="*/ 2147483647 w 329"/>
                  <a:gd name="T71" fmla="*/ 2147483647 h 321"/>
                  <a:gd name="T72" fmla="*/ 2147483647 w 329"/>
                  <a:gd name="T73" fmla="*/ 2147483647 h 321"/>
                  <a:gd name="T74" fmla="*/ 2147483647 w 329"/>
                  <a:gd name="T75" fmla="*/ 2147483647 h 321"/>
                  <a:gd name="T76" fmla="*/ 2147483647 w 329"/>
                  <a:gd name="T77" fmla="*/ 2147483647 h 321"/>
                  <a:gd name="T78" fmla="*/ 2147483647 w 329"/>
                  <a:gd name="T79" fmla="*/ 2147483647 h 321"/>
                  <a:gd name="T80" fmla="*/ 2147483647 w 329"/>
                  <a:gd name="T81" fmla="*/ 2147483647 h 321"/>
                  <a:gd name="T82" fmla="*/ 2147483647 w 329"/>
                  <a:gd name="T83" fmla="*/ 2147483647 h 321"/>
                  <a:gd name="T84" fmla="*/ 2147483647 w 329"/>
                  <a:gd name="T85" fmla="*/ 2147483647 h 321"/>
                  <a:gd name="T86" fmla="*/ 2147483647 w 329"/>
                  <a:gd name="T87" fmla="*/ 2147483647 h 321"/>
                  <a:gd name="T88" fmla="*/ 2147483647 w 329"/>
                  <a:gd name="T89" fmla="*/ 2147483647 h 321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329"/>
                  <a:gd name="T136" fmla="*/ 0 h 321"/>
                  <a:gd name="T137" fmla="*/ 329 w 329"/>
                  <a:gd name="T138" fmla="*/ 321 h 321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329" h="321">
                    <a:moveTo>
                      <a:pt x="310" y="79"/>
                    </a:moveTo>
                    <a:cubicBezTo>
                      <a:pt x="311" y="78"/>
                      <a:pt x="311" y="76"/>
                      <a:pt x="312" y="75"/>
                    </a:cubicBezTo>
                    <a:cubicBezTo>
                      <a:pt x="313" y="74"/>
                      <a:pt x="314" y="74"/>
                      <a:pt x="315" y="73"/>
                    </a:cubicBezTo>
                    <a:cubicBezTo>
                      <a:pt x="318" y="69"/>
                      <a:pt x="318" y="62"/>
                      <a:pt x="321" y="57"/>
                    </a:cubicBezTo>
                    <a:cubicBezTo>
                      <a:pt x="317" y="41"/>
                      <a:pt x="321" y="36"/>
                      <a:pt x="329" y="24"/>
                    </a:cubicBezTo>
                    <a:cubicBezTo>
                      <a:pt x="326" y="15"/>
                      <a:pt x="310" y="8"/>
                      <a:pt x="305" y="5"/>
                    </a:cubicBezTo>
                    <a:cubicBezTo>
                      <a:pt x="301" y="0"/>
                      <a:pt x="299" y="0"/>
                      <a:pt x="297" y="6"/>
                    </a:cubicBezTo>
                    <a:cubicBezTo>
                      <a:pt x="299" y="13"/>
                      <a:pt x="302" y="19"/>
                      <a:pt x="304" y="26"/>
                    </a:cubicBezTo>
                    <a:cubicBezTo>
                      <a:pt x="302" y="37"/>
                      <a:pt x="297" y="36"/>
                      <a:pt x="287" y="37"/>
                    </a:cubicBezTo>
                    <a:cubicBezTo>
                      <a:pt x="273" y="48"/>
                      <a:pt x="271" y="48"/>
                      <a:pt x="250" y="49"/>
                    </a:cubicBezTo>
                    <a:cubicBezTo>
                      <a:pt x="243" y="49"/>
                      <a:pt x="235" y="50"/>
                      <a:pt x="228" y="47"/>
                    </a:cubicBezTo>
                    <a:cubicBezTo>
                      <a:pt x="224" y="45"/>
                      <a:pt x="216" y="42"/>
                      <a:pt x="216" y="42"/>
                    </a:cubicBezTo>
                    <a:cubicBezTo>
                      <a:pt x="213" y="39"/>
                      <a:pt x="203" y="37"/>
                      <a:pt x="203" y="37"/>
                    </a:cubicBezTo>
                    <a:cubicBezTo>
                      <a:pt x="197" y="38"/>
                      <a:pt x="192" y="43"/>
                      <a:pt x="187" y="47"/>
                    </a:cubicBezTo>
                    <a:cubicBezTo>
                      <a:pt x="185" y="49"/>
                      <a:pt x="181" y="53"/>
                      <a:pt x="181" y="53"/>
                    </a:cubicBezTo>
                    <a:cubicBezTo>
                      <a:pt x="180" y="55"/>
                      <a:pt x="180" y="58"/>
                      <a:pt x="178" y="59"/>
                    </a:cubicBezTo>
                    <a:cubicBezTo>
                      <a:pt x="176" y="60"/>
                      <a:pt x="172" y="61"/>
                      <a:pt x="172" y="61"/>
                    </a:cubicBezTo>
                    <a:cubicBezTo>
                      <a:pt x="155" y="60"/>
                      <a:pt x="147" y="62"/>
                      <a:pt x="132" y="67"/>
                    </a:cubicBezTo>
                    <a:cubicBezTo>
                      <a:pt x="126" y="92"/>
                      <a:pt x="119" y="89"/>
                      <a:pt x="90" y="90"/>
                    </a:cubicBezTo>
                    <a:cubicBezTo>
                      <a:pt x="82" y="97"/>
                      <a:pt x="79" y="99"/>
                      <a:pt x="75" y="103"/>
                    </a:cubicBezTo>
                    <a:cubicBezTo>
                      <a:pt x="71" y="108"/>
                      <a:pt x="71" y="110"/>
                      <a:pt x="64" y="113"/>
                    </a:cubicBezTo>
                    <a:cubicBezTo>
                      <a:pt x="51" y="119"/>
                      <a:pt x="36" y="121"/>
                      <a:pt x="22" y="126"/>
                    </a:cubicBezTo>
                    <a:cubicBezTo>
                      <a:pt x="31" y="128"/>
                      <a:pt x="27" y="133"/>
                      <a:pt x="31" y="140"/>
                    </a:cubicBezTo>
                    <a:cubicBezTo>
                      <a:pt x="33" y="143"/>
                      <a:pt x="35" y="149"/>
                      <a:pt x="35" y="149"/>
                    </a:cubicBezTo>
                    <a:cubicBezTo>
                      <a:pt x="33" y="155"/>
                      <a:pt x="36" y="150"/>
                      <a:pt x="27" y="153"/>
                    </a:cubicBezTo>
                    <a:cubicBezTo>
                      <a:pt x="24" y="154"/>
                      <a:pt x="19" y="157"/>
                      <a:pt x="19" y="157"/>
                    </a:cubicBezTo>
                    <a:cubicBezTo>
                      <a:pt x="22" y="163"/>
                      <a:pt x="22" y="179"/>
                      <a:pt x="16" y="183"/>
                    </a:cubicBezTo>
                    <a:cubicBezTo>
                      <a:pt x="12" y="185"/>
                      <a:pt x="4" y="188"/>
                      <a:pt x="4" y="188"/>
                    </a:cubicBezTo>
                    <a:cubicBezTo>
                      <a:pt x="2" y="193"/>
                      <a:pt x="0" y="193"/>
                      <a:pt x="3" y="198"/>
                    </a:cubicBezTo>
                    <a:cubicBezTo>
                      <a:pt x="2" y="205"/>
                      <a:pt x="6" y="224"/>
                      <a:pt x="4" y="233"/>
                    </a:cubicBezTo>
                    <a:cubicBezTo>
                      <a:pt x="5" y="238"/>
                      <a:pt x="15" y="240"/>
                      <a:pt x="15" y="240"/>
                    </a:cubicBezTo>
                    <a:cubicBezTo>
                      <a:pt x="17" y="241"/>
                      <a:pt x="17" y="244"/>
                      <a:pt x="19" y="245"/>
                    </a:cubicBezTo>
                    <a:cubicBezTo>
                      <a:pt x="22" y="246"/>
                      <a:pt x="31" y="248"/>
                      <a:pt x="34" y="249"/>
                    </a:cubicBezTo>
                    <a:cubicBezTo>
                      <a:pt x="37" y="251"/>
                      <a:pt x="40" y="252"/>
                      <a:pt x="43" y="254"/>
                    </a:cubicBezTo>
                    <a:cubicBezTo>
                      <a:pt x="47" y="260"/>
                      <a:pt x="51" y="260"/>
                      <a:pt x="57" y="261"/>
                    </a:cubicBezTo>
                    <a:cubicBezTo>
                      <a:pt x="49" y="263"/>
                      <a:pt x="46" y="262"/>
                      <a:pt x="43" y="269"/>
                    </a:cubicBezTo>
                    <a:cubicBezTo>
                      <a:pt x="44" y="273"/>
                      <a:pt x="44" y="283"/>
                      <a:pt x="47" y="287"/>
                    </a:cubicBezTo>
                    <a:cubicBezTo>
                      <a:pt x="52" y="293"/>
                      <a:pt x="60" y="296"/>
                      <a:pt x="66" y="302"/>
                    </a:cubicBezTo>
                    <a:cubicBezTo>
                      <a:pt x="67" y="306"/>
                      <a:pt x="69" y="306"/>
                      <a:pt x="73" y="305"/>
                    </a:cubicBezTo>
                    <a:cubicBezTo>
                      <a:pt x="80" y="298"/>
                      <a:pt x="79" y="298"/>
                      <a:pt x="90" y="302"/>
                    </a:cubicBezTo>
                    <a:cubicBezTo>
                      <a:pt x="98" y="301"/>
                      <a:pt x="100" y="297"/>
                      <a:pt x="108" y="294"/>
                    </a:cubicBezTo>
                    <a:cubicBezTo>
                      <a:pt x="124" y="296"/>
                      <a:pt x="138" y="296"/>
                      <a:pt x="154" y="295"/>
                    </a:cubicBezTo>
                    <a:cubicBezTo>
                      <a:pt x="160" y="294"/>
                      <a:pt x="168" y="293"/>
                      <a:pt x="174" y="295"/>
                    </a:cubicBezTo>
                    <a:cubicBezTo>
                      <a:pt x="176" y="296"/>
                      <a:pt x="176" y="300"/>
                      <a:pt x="178" y="301"/>
                    </a:cubicBezTo>
                    <a:cubicBezTo>
                      <a:pt x="187" y="299"/>
                      <a:pt x="185" y="303"/>
                      <a:pt x="183" y="311"/>
                    </a:cubicBezTo>
                    <a:cubicBezTo>
                      <a:pt x="185" y="321"/>
                      <a:pt x="193" y="310"/>
                      <a:pt x="198" y="308"/>
                    </a:cubicBezTo>
                    <a:cubicBezTo>
                      <a:pt x="212" y="309"/>
                      <a:pt x="211" y="311"/>
                      <a:pt x="221" y="315"/>
                    </a:cubicBezTo>
                    <a:cubicBezTo>
                      <a:pt x="224" y="316"/>
                      <a:pt x="231" y="319"/>
                      <a:pt x="231" y="319"/>
                    </a:cubicBezTo>
                    <a:cubicBezTo>
                      <a:pt x="234" y="319"/>
                      <a:pt x="238" y="320"/>
                      <a:pt x="241" y="318"/>
                    </a:cubicBezTo>
                    <a:cubicBezTo>
                      <a:pt x="243" y="317"/>
                      <a:pt x="239" y="312"/>
                      <a:pt x="239" y="312"/>
                    </a:cubicBezTo>
                    <a:cubicBezTo>
                      <a:pt x="238" y="298"/>
                      <a:pt x="235" y="297"/>
                      <a:pt x="226" y="288"/>
                    </a:cubicBezTo>
                    <a:cubicBezTo>
                      <a:pt x="225" y="285"/>
                      <a:pt x="220" y="278"/>
                      <a:pt x="216" y="277"/>
                    </a:cubicBezTo>
                    <a:cubicBezTo>
                      <a:pt x="212" y="269"/>
                      <a:pt x="205" y="271"/>
                      <a:pt x="197" y="270"/>
                    </a:cubicBezTo>
                    <a:cubicBezTo>
                      <a:pt x="180" y="257"/>
                      <a:pt x="154" y="259"/>
                      <a:pt x="135" y="253"/>
                    </a:cubicBezTo>
                    <a:cubicBezTo>
                      <a:pt x="139" y="245"/>
                      <a:pt x="150" y="248"/>
                      <a:pt x="159" y="247"/>
                    </a:cubicBezTo>
                    <a:cubicBezTo>
                      <a:pt x="162" y="242"/>
                      <a:pt x="161" y="237"/>
                      <a:pt x="156" y="234"/>
                    </a:cubicBezTo>
                    <a:cubicBezTo>
                      <a:pt x="154" y="231"/>
                      <a:pt x="153" y="228"/>
                      <a:pt x="151" y="225"/>
                    </a:cubicBezTo>
                    <a:cubicBezTo>
                      <a:pt x="156" y="217"/>
                      <a:pt x="171" y="223"/>
                      <a:pt x="180" y="222"/>
                    </a:cubicBezTo>
                    <a:cubicBezTo>
                      <a:pt x="179" y="218"/>
                      <a:pt x="178" y="216"/>
                      <a:pt x="174" y="215"/>
                    </a:cubicBezTo>
                    <a:cubicBezTo>
                      <a:pt x="172" y="208"/>
                      <a:pt x="164" y="199"/>
                      <a:pt x="157" y="197"/>
                    </a:cubicBezTo>
                    <a:cubicBezTo>
                      <a:pt x="156" y="193"/>
                      <a:pt x="154" y="193"/>
                      <a:pt x="150" y="191"/>
                    </a:cubicBezTo>
                    <a:cubicBezTo>
                      <a:pt x="148" y="185"/>
                      <a:pt x="149" y="183"/>
                      <a:pt x="144" y="180"/>
                    </a:cubicBezTo>
                    <a:cubicBezTo>
                      <a:pt x="142" y="177"/>
                      <a:pt x="136" y="175"/>
                      <a:pt x="136" y="175"/>
                    </a:cubicBezTo>
                    <a:cubicBezTo>
                      <a:pt x="133" y="171"/>
                      <a:pt x="131" y="166"/>
                      <a:pt x="127" y="162"/>
                    </a:cubicBezTo>
                    <a:cubicBezTo>
                      <a:pt x="125" y="157"/>
                      <a:pt x="124" y="152"/>
                      <a:pt x="121" y="147"/>
                    </a:cubicBezTo>
                    <a:cubicBezTo>
                      <a:pt x="122" y="136"/>
                      <a:pt x="120" y="128"/>
                      <a:pt x="130" y="125"/>
                    </a:cubicBezTo>
                    <a:cubicBezTo>
                      <a:pt x="132" y="122"/>
                      <a:pt x="138" y="120"/>
                      <a:pt x="138" y="120"/>
                    </a:cubicBezTo>
                    <a:cubicBezTo>
                      <a:pt x="150" y="122"/>
                      <a:pt x="152" y="127"/>
                      <a:pt x="147" y="135"/>
                    </a:cubicBezTo>
                    <a:cubicBezTo>
                      <a:pt x="150" y="145"/>
                      <a:pt x="161" y="139"/>
                      <a:pt x="169" y="144"/>
                    </a:cubicBezTo>
                    <a:cubicBezTo>
                      <a:pt x="170" y="150"/>
                      <a:pt x="170" y="166"/>
                      <a:pt x="177" y="168"/>
                    </a:cubicBezTo>
                    <a:cubicBezTo>
                      <a:pt x="186" y="167"/>
                      <a:pt x="197" y="168"/>
                      <a:pt x="187" y="162"/>
                    </a:cubicBezTo>
                    <a:cubicBezTo>
                      <a:pt x="185" y="156"/>
                      <a:pt x="181" y="149"/>
                      <a:pt x="177" y="144"/>
                    </a:cubicBezTo>
                    <a:cubicBezTo>
                      <a:pt x="174" y="141"/>
                      <a:pt x="166" y="133"/>
                      <a:pt x="169" y="135"/>
                    </a:cubicBezTo>
                    <a:cubicBezTo>
                      <a:pt x="170" y="136"/>
                      <a:pt x="171" y="136"/>
                      <a:pt x="172" y="137"/>
                    </a:cubicBezTo>
                    <a:cubicBezTo>
                      <a:pt x="178" y="147"/>
                      <a:pt x="194" y="153"/>
                      <a:pt x="205" y="156"/>
                    </a:cubicBezTo>
                    <a:cubicBezTo>
                      <a:pt x="215" y="153"/>
                      <a:pt x="207" y="147"/>
                      <a:pt x="199" y="144"/>
                    </a:cubicBezTo>
                    <a:cubicBezTo>
                      <a:pt x="197" y="138"/>
                      <a:pt x="195" y="138"/>
                      <a:pt x="190" y="135"/>
                    </a:cubicBezTo>
                    <a:cubicBezTo>
                      <a:pt x="195" y="131"/>
                      <a:pt x="201" y="134"/>
                      <a:pt x="207" y="135"/>
                    </a:cubicBezTo>
                    <a:cubicBezTo>
                      <a:pt x="210" y="140"/>
                      <a:pt x="217" y="140"/>
                      <a:pt x="222" y="143"/>
                    </a:cubicBezTo>
                    <a:cubicBezTo>
                      <a:pt x="224" y="142"/>
                      <a:pt x="227" y="142"/>
                      <a:pt x="228" y="141"/>
                    </a:cubicBezTo>
                    <a:cubicBezTo>
                      <a:pt x="230" y="139"/>
                      <a:pt x="225" y="136"/>
                      <a:pt x="223" y="135"/>
                    </a:cubicBezTo>
                    <a:cubicBezTo>
                      <a:pt x="215" y="131"/>
                      <a:pt x="207" y="124"/>
                      <a:pt x="199" y="121"/>
                    </a:cubicBezTo>
                    <a:cubicBezTo>
                      <a:pt x="197" y="117"/>
                      <a:pt x="196" y="114"/>
                      <a:pt x="192" y="113"/>
                    </a:cubicBezTo>
                    <a:cubicBezTo>
                      <a:pt x="191" y="109"/>
                      <a:pt x="187" y="109"/>
                      <a:pt x="186" y="105"/>
                    </a:cubicBezTo>
                    <a:cubicBezTo>
                      <a:pt x="188" y="96"/>
                      <a:pt x="197" y="98"/>
                      <a:pt x="205" y="97"/>
                    </a:cubicBezTo>
                    <a:cubicBezTo>
                      <a:pt x="211" y="95"/>
                      <a:pt x="212" y="90"/>
                      <a:pt x="217" y="87"/>
                    </a:cubicBezTo>
                    <a:cubicBezTo>
                      <a:pt x="222" y="84"/>
                      <a:pt x="232" y="83"/>
                      <a:pt x="237" y="83"/>
                    </a:cubicBezTo>
                    <a:cubicBezTo>
                      <a:pt x="243" y="79"/>
                      <a:pt x="250" y="78"/>
                      <a:pt x="257" y="77"/>
                    </a:cubicBezTo>
                    <a:cubicBezTo>
                      <a:pt x="262" y="74"/>
                      <a:pt x="268" y="73"/>
                      <a:pt x="274" y="72"/>
                    </a:cubicBezTo>
                    <a:cubicBezTo>
                      <a:pt x="282" y="73"/>
                      <a:pt x="297" y="75"/>
                      <a:pt x="297" y="75"/>
                    </a:cubicBezTo>
                    <a:cubicBezTo>
                      <a:pt x="301" y="78"/>
                      <a:pt x="305" y="79"/>
                      <a:pt x="310" y="79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</p:grpSp>
        <p:sp>
          <p:nvSpPr>
            <p:cNvPr id="14" name="Freeform 36"/>
            <p:cNvSpPr>
              <a:spLocks noChangeAspect="1"/>
            </p:cNvSpPr>
            <p:nvPr/>
          </p:nvSpPr>
          <p:spPr bwMode="auto">
            <a:xfrm>
              <a:off x="2879" y="2969"/>
              <a:ext cx="273" cy="143"/>
            </a:xfrm>
            <a:custGeom>
              <a:avLst/>
              <a:gdLst>
                <a:gd name="T0" fmla="*/ 495 w 270"/>
                <a:gd name="T1" fmla="*/ 67 h 142"/>
                <a:gd name="T2" fmla="*/ 519 w 270"/>
                <a:gd name="T3" fmla="*/ 26 h 142"/>
                <a:gd name="T4" fmla="*/ 526 w 270"/>
                <a:gd name="T5" fmla="*/ 16 h 142"/>
                <a:gd name="T6" fmla="*/ 423 w 270"/>
                <a:gd name="T7" fmla="*/ 0 h 142"/>
                <a:gd name="T8" fmla="*/ 359 w 270"/>
                <a:gd name="T9" fmla="*/ 9 h 142"/>
                <a:gd name="T10" fmla="*/ 329 w 270"/>
                <a:gd name="T11" fmla="*/ 9 h 142"/>
                <a:gd name="T12" fmla="*/ 291 w 270"/>
                <a:gd name="T13" fmla="*/ 18 h 142"/>
                <a:gd name="T14" fmla="*/ 274 w 270"/>
                <a:gd name="T15" fmla="*/ 25 h 142"/>
                <a:gd name="T16" fmla="*/ 246 w 270"/>
                <a:gd name="T17" fmla="*/ 18 h 142"/>
                <a:gd name="T18" fmla="*/ 213 w 270"/>
                <a:gd name="T19" fmla="*/ 7 h 142"/>
                <a:gd name="T20" fmla="*/ 203 w 270"/>
                <a:gd name="T21" fmla="*/ 2 h 142"/>
                <a:gd name="T22" fmla="*/ 189 w 270"/>
                <a:gd name="T23" fmla="*/ 14 h 142"/>
                <a:gd name="T24" fmla="*/ 159 w 270"/>
                <a:gd name="T25" fmla="*/ 8 h 142"/>
                <a:gd name="T26" fmla="*/ 131 w 270"/>
                <a:gd name="T27" fmla="*/ 13 h 142"/>
                <a:gd name="T28" fmla="*/ 124 w 270"/>
                <a:gd name="T29" fmla="*/ 22 h 142"/>
                <a:gd name="T30" fmla="*/ 115 w 270"/>
                <a:gd name="T31" fmla="*/ 36 h 142"/>
                <a:gd name="T32" fmla="*/ 108 w 270"/>
                <a:gd name="T33" fmla="*/ 46 h 142"/>
                <a:gd name="T34" fmla="*/ 41 w 270"/>
                <a:gd name="T35" fmla="*/ 57 h 142"/>
                <a:gd name="T36" fmla="*/ 6 w 270"/>
                <a:gd name="T37" fmla="*/ 69 h 142"/>
                <a:gd name="T38" fmla="*/ 0 w 270"/>
                <a:gd name="T39" fmla="*/ 153 h 142"/>
                <a:gd name="T40" fmla="*/ 6 w 270"/>
                <a:gd name="T41" fmla="*/ 164 h 142"/>
                <a:gd name="T42" fmla="*/ 10 w 270"/>
                <a:gd name="T43" fmla="*/ 185 h 142"/>
                <a:gd name="T44" fmla="*/ 23 w 270"/>
                <a:gd name="T45" fmla="*/ 189 h 142"/>
                <a:gd name="T46" fmla="*/ 26 w 270"/>
                <a:gd name="T47" fmla="*/ 190 h 142"/>
                <a:gd name="T48" fmla="*/ 35 w 270"/>
                <a:gd name="T49" fmla="*/ 196 h 142"/>
                <a:gd name="T50" fmla="*/ 41 w 270"/>
                <a:gd name="T51" fmla="*/ 203 h 142"/>
                <a:gd name="T52" fmla="*/ 171 w 270"/>
                <a:gd name="T53" fmla="*/ 200 h 142"/>
                <a:gd name="T54" fmla="*/ 189 w 270"/>
                <a:gd name="T55" fmla="*/ 191 h 142"/>
                <a:gd name="T56" fmla="*/ 240 w 270"/>
                <a:gd name="T57" fmla="*/ 169 h 142"/>
                <a:gd name="T58" fmla="*/ 270 w 270"/>
                <a:gd name="T59" fmla="*/ 161 h 142"/>
                <a:gd name="T60" fmla="*/ 277 w 270"/>
                <a:gd name="T61" fmla="*/ 157 h 142"/>
                <a:gd name="T62" fmla="*/ 291 w 270"/>
                <a:gd name="T63" fmla="*/ 160 h 142"/>
                <a:gd name="T64" fmla="*/ 316 w 270"/>
                <a:gd name="T65" fmla="*/ 157 h 142"/>
                <a:gd name="T66" fmla="*/ 360 w 270"/>
                <a:gd name="T67" fmla="*/ 66 h 142"/>
                <a:gd name="T68" fmla="*/ 413 w 270"/>
                <a:gd name="T69" fmla="*/ 66 h 142"/>
                <a:gd name="T70" fmla="*/ 451 w 270"/>
                <a:gd name="T71" fmla="*/ 67 h 142"/>
                <a:gd name="T72" fmla="*/ 466 w 270"/>
                <a:gd name="T73" fmla="*/ 133 h 142"/>
                <a:gd name="T74" fmla="*/ 495 w 270"/>
                <a:gd name="T75" fmla="*/ 67 h 142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70"/>
                <a:gd name="T115" fmla="*/ 0 h 142"/>
                <a:gd name="T116" fmla="*/ 270 w 270"/>
                <a:gd name="T117" fmla="*/ 142 h 142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70" h="142">
                  <a:moveTo>
                    <a:pt x="254" y="67"/>
                  </a:moveTo>
                  <a:cubicBezTo>
                    <a:pt x="257" y="58"/>
                    <a:pt x="256" y="33"/>
                    <a:pt x="266" y="26"/>
                  </a:cubicBezTo>
                  <a:cubicBezTo>
                    <a:pt x="267" y="22"/>
                    <a:pt x="269" y="20"/>
                    <a:pt x="270" y="16"/>
                  </a:cubicBezTo>
                  <a:cubicBezTo>
                    <a:pt x="251" y="13"/>
                    <a:pt x="234" y="4"/>
                    <a:pt x="216" y="0"/>
                  </a:cubicBezTo>
                  <a:cubicBezTo>
                    <a:pt x="202" y="1"/>
                    <a:pt x="197" y="5"/>
                    <a:pt x="185" y="9"/>
                  </a:cubicBezTo>
                  <a:cubicBezTo>
                    <a:pt x="182" y="17"/>
                    <a:pt x="176" y="11"/>
                    <a:pt x="171" y="9"/>
                  </a:cubicBezTo>
                  <a:cubicBezTo>
                    <a:pt x="158" y="10"/>
                    <a:pt x="154" y="9"/>
                    <a:pt x="147" y="18"/>
                  </a:cubicBezTo>
                  <a:cubicBezTo>
                    <a:pt x="146" y="27"/>
                    <a:pt x="145" y="26"/>
                    <a:pt x="136" y="25"/>
                  </a:cubicBezTo>
                  <a:cubicBezTo>
                    <a:pt x="133" y="23"/>
                    <a:pt x="126" y="18"/>
                    <a:pt x="126" y="18"/>
                  </a:cubicBezTo>
                  <a:cubicBezTo>
                    <a:pt x="124" y="12"/>
                    <a:pt x="117" y="11"/>
                    <a:pt x="113" y="7"/>
                  </a:cubicBezTo>
                  <a:cubicBezTo>
                    <a:pt x="112" y="5"/>
                    <a:pt x="112" y="1"/>
                    <a:pt x="108" y="2"/>
                  </a:cubicBezTo>
                  <a:cubicBezTo>
                    <a:pt x="108" y="2"/>
                    <a:pt x="104" y="12"/>
                    <a:pt x="101" y="14"/>
                  </a:cubicBezTo>
                  <a:cubicBezTo>
                    <a:pt x="96" y="23"/>
                    <a:pt x="91" y="11"/>
                    <a:pt x="86" y="8"/>
                  </a:cubicBezTo>
                  <a:cubicBezTo>
                    <a:pt x="80" y="9"/>
                    <a:pt x="76" y="12"/>
                    <a:pt x="70" y="13"/>
                  </a:cubicBezTo>
                  <a:cubicBezTo>
                    <a:pt x="69" y="17"/>
                    <a:pt x="63" y="22"/>
                    <a:pt x="63" y="22"/>
                  </a:cubicBezTo>
                  <a:cubicBezTo>
                    <a:pt x="62" y="28"/>
                    <a:pt x="58" y="32"/>
                    <a:pt x="54" y="36"/>
                  </a:cubicBezTo>
                  <a:cubicBezTo>
                    <a:pt x="52" y="41"/>
                    <a:pt x="52" y="44"/>
                    <a:pt x="47" y="46"/>
                  </a:cubicBezTo>
                  <a:cubicBezTo>
                    <a:pt x="45" y="52"/>
                    <a:pt x="46" y="54"/>
                    <a:pt x="41" y="57"/>
                  </a:cubicBezTo>
                  <a:cubicBezTo>
                    <a:pt x="32" y="70"/>
                    <a:pt x="22" y="68"/>
                    <a:pt x="6" y="69"/>
                  </a:cubicBezTo>
                  <a:cubicBezTo>
                    <a:pt x="1" y="76"/>
                    <a:pt x="3" y="84"/>
                    <a:pt x="0" y="92"/>
                  </a:cubicBezTo>
                  <a:cubicBezTo>
                    <a:pt x="2" y="98"/>
                    <a:pt x="4" y="98"/>
                    <a:pt x="6" y="103"/>
                  </a:cubicBezTo>
                  <a:cubicBezTo>
                    <a:pt x="4" y="109"/>
                    <a:pt x="3" y="120"/>
                    <a:pt x="10" y="124"/>
                  </a:cubicBezTo>
                  <a:cubicBezTo>
                    <a:pt x="14" y="126"/>
                    <a:pt x="19" y="127"/>
                    <a:pt x="23" y="128"/>
                  </a:cubicBezTo>
                  <a:cubicBezTo>
                    <a:pt x="24" y="128"/>
                    <a:pt x="26" y="129"/>
                    <a:pt x="26" y="129"/>
                  </a:cubicBezTo>
                  <a:cubicBezTo>
                    <a:pt x="29" y="132"/>
                    <a:pt x="32" y="133"/>
                    <a:pt x="35" y="135"/>
                  </a:cubicBezTo>
                  <a:cubicBezTo>
                    <a:pt x="36" y="139"/>
                    <a:pt x="39" y="138"/>
                    <a:pt x="41" y="142"/>
                  </a:cubicBezTo>
                  <a:cubicBezTo>
                    <a:pt x="58" y="141"/>
                    <a:pt x="75" y="140"/>
                    <a:pt x="92" y="139"/>
                  </a:cubicBezTo>
                  <a:cubicBezTo>
                    <a:pt x="97" y="137"/>
                    <a:pt x="99" y="135"/>
                    <a:pt x="101" y="130"/>
                  </a:cubicBezTo>
                  <a:cubicBezTo>
                    <a:pt x="99" y="106"/>
                    <a:pt x="99" y="109"/>
                    <a:pt x="124" y="108"/>
                  </a:cubicBezTo>
                  <a:cubicBezTo>
                    <a:pt x="129" y="106"/>
                    <a:pt x="131" y="104"/>
                    <a:pt x="134" y="100"/>
                  </a:cubicBezTo>
                  <a:cubicBezTo>
                    <a:pt x="135" y="98"/>
                    <a:pt x="135" y="96"/>
                    <a:pt x="138" y="96"/>
                  </a:cubicBezTo>
                  <a:cubicBezTo>
                    <a:pt x="141" y="96"/>
                    <a:pt x="147" y="99"/>
                    <a:pt x="147" y="99"/>
                  </a:cubicBezTo>
                  <a:cubicBezTo>
                    <a:pt x="153" y="98"/>
                    <a:pt x="164" y="96"/>
                    <a:pt x="164" y="96"/>
                  </a:cubicBezTo>
                  <a:cubicBezTo>
                    <a:pt x="169" y="82"/>
                    <a:pt x="169" y="70"/>
                    <a:pt x="186" y="66"/>
                  </a:cubicBezTo>
                  <a:cubicBezTo>
                    <a:pt x="195" y="67"/>
                    <a:pt x="203" y="69"/>
                    <a:pt x="212" y="66"/>
                  </a:cubicBezTo>
                  <a:cubicBezTo>
                    <a:pt x="217" y="66"/>
                    <a:pt x="223" y="66"/>
                    <a:pt x="228" y="67"/>
                  </a:cubicBezTo>
                  <a:cubicBezTo>
                    <a:pt x="231" y="67"/>
                    <a:pt x="237" y="72"/>
                    <a:pt x="237" y="72"/>
                  </a:cubicBezTo>
                  <a:cubicBezTo>
                    <a:pt x="238" y="72"/>
                    <a:pt x="254" y="72"/>
                    <a:pt x="254" y="67"/>
                  </a:cubicBez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  <p:grpSp>
          <p:nvGrpSpPr>
            <p:cNvPr id="15" name="Group 37"/>
            <p:cNvGrpSpPr>
              <a:grpSpLocks noChangeAspect="1"/>
            </p:cNvGrpSpPr>
            <p:nvPr/>
          </p:nvGrpSpPr>
          <p:grpSpPr bwMode="auto">
            <a:xfrm>
              <a:off x="2726" y="3208"/>
              <a:ext cx="304" cy="292"/>
              <a:chOff x="2859" y="3044"/>
              <a:chExt cx="302" cy="289"/>
            </a:xfrm>
            <a:grpFill/>
          </p:grpSpPr>
          <p:sp>
            <p:nvSpPr>
              <p:cNvPr id="97" name="Freeform 38"/>
              <p:cNvSpPr>
                <a:spLocks noChangeAspect="1"/>
              </p:cNvSpPr>
              <p:nvPr/>
            </p:nvSpPr>
            <p:spPr bwMode="auto">
              <a:xfrm>
                <a:off x="2901" y="3158"/>
                <a:ext cx="24" cy="49"/>
              </a:xfrm>
              <a:custGeom>
                <a:avLst/>
                <a:gdLst>
                  <a:gd name="T0" fmla="*/ 0 w 24"/>
                  <a:gd name="T1" fmla="*/ 0 h 49"/>
                  <a:gd name="T2" fmla="*/ 16 w 24"/>
                  <a:gd name="T3" fmla="*/ 43 h 49"/>
                  <a:gd name="T4" fmla="*/ 22 w 24"/>
                  <a:gd name="T5" fmla="*/ 43 h 49"/>
                  <a:gd name="T6" fmla="*/ 14 w 24"/>
                  <a:gd name="T7" fmla="*/ 10 h 49"/>
                  <a:gd name="T8" fmla="*/ 0 w 24"/>
                  <a:gd name="T9" fmla="*/ 0 h 4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4"/>
                  <a:gd name="T16" fmla="*/ 0 h 49"/>
                  <a:gd name="T17" fmla="*/ 24 w 24"/>
                  <a:gd name="T18" fmla="*/ 49 h 4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4" h="49">
                    <a:moveTo>
                      <a:pt x="0" y="0"/>
                    </a:moveTo>
                    <a:cubicBezTo>
                      <a:pt x="2" y="12"/>
                      <a:pt x="7" y="34"/>
                      <a:pt x="16" y="43"/>
                    </a:cubicBezTo>
                    <a:cubicBezTo>
                      <a:pt x="18" y="49"/>
                      <a:pt x="19" y="49"/>
                      <a:pt x="22" y="43"/>
                    </a:cubicBezTo>
                    <a:cubicBezTo>
                      <a:pt x="21" y="34"/>
                      <a:pt x="24" y="17"/>
                      <a:pt x="14" y="10"/>
                    </a:cubicBezTo>
                    <a:cubicBezTo>
                      <a:pt x="11" y="5"/>
                      <a:pt x="6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98" name="Freeform 39"/>
              <p:cNvSpPr>
                <a:spLocks noChangeAspect="1"/>
              </p:cNvSpPr>
              <p:nvPr/>
            </p:nvSpPr>
            <p:spPr bwMode="auto">
              <a:xfrm>
                <a:off x="2933" y="3220"/>
                <a:ext cx="39" cy="37"/>
              </a:xfrm>
              <a:custGeom>
                <a:avLst/>
                <a:gdLst>
                  <a:gd name="T0" fmla="*/ 0 w 39"/>
                  <a:gd name="T1" fmla="*/ 0 h 37"/>
                  <a:gd name="T2" fmla="*/ 20 w 39"/>
                  <a:gd name="T3" fmla="*/ 11 h 37"/>
                  <a:gd name="T4" fmla="*/ 26 w 39"/>
                  <a:gd name="T5" fmla="*/ 15 h 37"/>
                  <a:gd name="T6" fmla="*/ 36 w 39"/>
                  <a:gd name="T7" fmla="*/ 33 h 37"/>
                  <a:gd name="T8" fmla="*/ 38 w 39"/>
                  <a:gd name="T9" fmla="*/ 36 h 37"/>
                  <a:gd name="T10" fmla="*/ 34 w 39"/>
                  <a:gd name="T11" fmla="*/ 35 h 37"/>
                  <a:gd name="T12" fmla="*/ 0 w 39"/>
                  <a:gd name="T13" fmla="*/ 0 h 3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9"/>
                  <a:gd name="T22" fmla="*/ 0 h 37"/>
                  <a:gd name="T23" fmla="*/ 39 w 39"/>
                  <a:gd name="T24" fmla="*/ 37 h 37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9" h="37">
                    <a:moveTo>
                      <a:pt x="0" y="0"/>
                    </a:moveTo>
                    <a:cubicBezTo>
                      <a:pt x="8" y="3"/>
                      <a:pt x="12" y="8"/>
                      <a:pt x="20" y="11"/>
                    </a:cubicBezTo>
                    <a:cubicBezTo>
                      <a:pt x="22" y="13"/>
                      <a:pt x="24" y="13"/>
                      <a:pt x="26" y="15"/>
                    </a:cubicBezTo>
                    <a:cubicBezTo>
                      <a:pt x="31" y="20"/>
                      <a:pt x="33" y="27"/>
                      <a:pt x="36" y="33"/>
                    </a:cubicBezTo>
                    <a:cubicBezTo>
                      <a:pt x="37" y="34"/>
                      <a:pt x="39" y="35"/>
                      <a:pt x="38" y="36"/>
                    </a:cubicBezTo>
                    <a:cubicBezTo>
                      <a:pt x="37" y="37"/>
                      <a:pt x="35" y="35"/>
                      <a:pt x="34" y="35"/>
                    </a:cubicBezTo>
                    <a:cubicBezTo>
                      <a:pt x="28" y="29"/>
                      <a:pt x="2" y="4"/>
                      <a:pt x="0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99" name="Freeform 40"/>
              <p:cNvSpPr>
                <a:spLocks noChangeAspect="1"/>
              </p:cNvSpPr>
              <p:nvPr/>
            </p:nvSpPr>
            <p:spPr bwMode="auto">
              <a:xfrm>
                <a:off x="2926" y="3185"/>
                <a:ext cx="31" cy="34"/>
              </a:xfrm>
              <a:custGeom>
                <a:avLst/>
                <a:gdLst>
                  <a:gd name="T0" fmla="*/ 5 w 31"/>
                  <a:gd name="T1" fmla="*/ 2 h 34"/>
                  <a:gd name="T2" fmla="*/ 27 w 31"/>
                  <a:gd name="T3" fmla="*/ 23 h 34"/>
                  <a:gd name="T4" fmla="*/ 21 w 31"/>
                  <a:gd name="T5" fmla="*/ 27 h 34"/>
                  <a:gd name="T6" fmla="*/ 10 w 31"/>
                  <a:gd name="T7" fmla="*/ 13 h 34"/>
                  <a:gd name="T8" fmla="*/ 5 w 31"/>
                  <a:gd name="T9" fmla="*/ 2 h 3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1"/>
                  <a:gd name="T16" fmla="*/ 0 h 34"/>
                  <a:gd name="T17" fmla="*/ 31 w 31"/>
                  <a:gd name="T18" fmla="*/ 34 h 3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1" h="34">
                    <a:moveTo>
                      <a:pt x="5" y="2"/>
                    </a:moveTo>
                    <a:cubicBezTo>
                      <a:pt x="13" y="8"/>
                      <a:pt x="19" y="17"/>
                      <a:pt x="27" y="23"/>
                    </a:cubicBezTo>
                    <a:cubicBezTo>
                      <a:pt x="31" y="34"/>
                      <a:pt x="31" y="33"/>
                      <a:pt x="21" y="27"/>
                    </a:cubicBezTo>
                    <a:cubicBezTo>
                      <a:pt x="18" y="21"/>
                      <a:pt x="15" y="16"/>
                      <a:pt x="10" y="13"/>
                    </a:cubicBezTo>
                    <a:cubicBezTo>
                      <a:pt x="9" y="11"/>
                      <a:pt x="0" y="0"/>
                      <a:pt x="5" y="2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100" name="Freeform 41"/>
              <p:cNvSpPr>
                <a:spLocks noChangeAspect="1"/>
              </p:cNvSpPr>
              <p:nvPr/>
            </p:nvSpPr>
            <p:spPr bwMode="auto">
              <a:xfrm>
                <a:off x="3023" y="3273"/>
                <a:ext cx="27" cy="13"/>
              </a:xfrm>
              <a:custGeom>
                <a:avLst/>
                <a:gdLst>
                  <a:gd name="T0" fmla="*/ 0 w 27"/>
                  <a:gd name="T1" fmla="*/ 0 h 13"/>
                  <a:gd name="T2" fmla="*/ 11 w 27"/>
                  <a:gd name="T3" fmla="*/ 6 h 13"/>
                  <a:gd name="T4" fmla="*/ 27 w 27"/>
                  <a:gd name="T5" fmla="*/ 4 h 13"/>
                  <a:gd name="T6" fmla="*/ 12 w 27"/>
                  <a:gd name="T7" fmla="*/ 13 h 13"/>
                  <a:gd name="T8" fmla="*/ 0 w 27"/>
                  <a:gd name="T9" fmla="*/ 0 h 1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7"/>
                  <a:gd name="T16" fmla="*/ 0 h 13"/>
                  <a:gd name="T17" fmla="*/ 27 w 27"/>
                  <a:gd name="T18" fmla="*/ 13 h 1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7" h="13">
                    <a:moveTo>
                      <a:pt x="0" y="0"/>
                    </a:moveTo>
                    <a:cubicBezTo>
                      <a:pt x="3" y="3"/>
                      <a:pt x="11" y="6"/>
                      <a:pt x="11" y="6"/>
                    </a:cubicBezTo>
                    <a:cubicBezTo>
                      <a:pt x="17" y="5"/>
                      <a:pt x="22" y="3"/>
                      <a:pt x="27" y="4"/>
                    </a:cubicBezTo>
                    <a:cubicBezTo>
                      <a:pt x="24" y="12"/>
                      <a:pt x="19" y="12"/>
                      <a:pt x="12" y="13"/>
                    </a:cubicBezTo>
                    <a:cubicBezTo>
                      <a:pt x="5" y="11"/>
                      <a:pt x="0" y="8"/>
                      <a:pt x="0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101" name="Freeform 42"/>
              <p:cNvSpPr>
                <a:spLocks noChangeAspect="1"/>
              </p:cNvSpPr>
              <p:nvPr/>
            </p:nvSpPr>
            <p:spPr bwMode="auto">
              <a:xfrm>
                <a:off x="3008" y="3284"/>
                <a:ext cx="55" cy="11"/>
              </a:xfrm>
              <a:custGeom>
                <a:avLst/>
                <a:gdLst>
                  <a:gd name="T0" fmla="*/ 12 w 55"/>
                  <a:gd name="T1" fmla="*/ 4 h 11"/>
                  <a:gd name="T2" fmla="*/ 55 w 55"/>
                  <a:gd name="T3" fmla="*/ 4 h 11"/>
                  <a:gd name="T4" fmla="*/ 31 w 55"/>
                  <a:gd name="T5" fmla="*/ 8 h 11"/>
                  <a:gd name="T6" fmla="*/ 12 w 55"/>
                  <a:gd name="T7" fmla="*/ 4 h 11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55"/>
                  <a:gd name="T13" fmla="*/ 0 h 11"/>
                  <a:gd name="T14" fmla="*/ 55 w 55"/>
                  <a:gd name="T15" fmla="*/ 11 h 11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55" h="11">
                    <a:moveTo>
                      <a:pt x="12" y="4"/>
                    </a:moveTo>
                    <a:cubicBezTo>
                      <a:pt x="27" y="0"/>
                      <a:pt x="39" y="2"/>
                      <a:pt x="55" y="4"/>
                    </a:cubicBezTo>
                    <a:cubicBezTo>
                      <a:pt x="53" y="11"/>
                      <a:pt x="38" y="7"/>
                      <a:pt x="31" y="8"/>
                    </a:cubicBezTo>
                    <a:cubicBezTo>
                      <a:pt x="25" y="7"/>
                      <a:pt x="0" y="11"/>
                      <a:pt x="12" y="4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102" name="Freeform 43"/>
              <p:cNvSpPr>
                <a:spLocks noChangeAspect="1"/>
              </p:cNvSpPr>
              <p:nvPr/>
            </p:nvSpPr>
            <p:spPr bwMode="auto">
              <a:xfrm>
                <a:off x="3032" y="3300"/>
                <a:ext cx="33" cy="9"/>
              </a:xfrm>
              <a:custGeom>
                <a:avLst/>
                <a:gdLst>
                  <a:gd name="T0" fmla="*/ 5 w 33"/>
                  <a:gd name="T1" fmla="*/ 2 h 9"/>
                  <a:gd name="T2" fmla="*/ 30 w 33"/>
                  <a:gd name="T3" fmla="*/ 2 h 9"/>
                  <a:gd name="T4" fmla="*/ 19 w 33"/>
                  <a:gd name="T5" fmla="*/ 9 h 9"/>
                  <a:gd name="T6" fmla="*/ 5 w 33"/>
                  <a:gd name="T7" fmla="*/ 8 h 9"/>
                  <a:gd name="T8" fmla="*/ 5 w 33"/>
                  <a:gd name="T9" fmla="*/ 2 h 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3"/>
                  <a:gd name="T16" fmla="*/ 0 h 9"/>
                  <a:gd name="T17" fmla="*/ 33 w 33"/>
                  <a:gd name="T18" fmla="*/ 9 h 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3" h="9">
                    <a:moveTo>
                      <a:pt x="5" y="2"/>
                    </a:moveTo>
                    <a:cubicBezTo>
                      <a:pt x="6" y="2"/>
                      <a:pt x="27" y="0"/>
                      <a:pt x="30" y="2"/>
                    </a:cubicBezTo>
                    <a:cubicBezTo>
                      <a:pt x="33" y="4"/>
                      <a:pt x="19" y="9"/>
                      <a:pt x="19" y="9"/>
                    </a:cubicBezTo>
                    <a:cubicBezTo>
                      <a:pt x="14" y="9"/>
                      <a:pt x="9" y="9"/>
                      <a:pt x="5" y="8"/>
                    </a:cubicBezTo>
                    <a:cubicBezTo>
                      <a:pt x="0" y="6"/>
                      <a:pt x="5" y="0"/>
                      <a:pt x="5" y="2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103" name="Freeform 44"/>
              <p:cNvSpPr>
                <a:spLocks noChangeAspect="1"/>
              </p:cNvSpPr>
              <p:nvPr/>
            </p:nvSpPr>
            <p:spPr bwMode="auto">
              <a:xfrm>
                <a:off x="3074" y="3312"/>
                <a:ext cx="20" cy="10"/>
              </a:xfrm>
              <a:custGeom>
                <a:avLst/>
                <a:gdLst>
                  <a:gd name="T0" fmla="*/ 0 w 20"/>
                  <a:gd name="T1" fmla="*/ 2 h 10"/>
                  <a:gd name="T2" fmla="*/ 20 w 20"/>
                  <a:gd name="T3" fmla="*/ 4 h 10"/>
                  <a:gd name="T4" fmla="*/ 0 w 20"/>
                  <a:gd name="T5" fmla="*/ 2 h 10"/>
                  <a:gd name="T6" fmla="*/ 0 60000 65536"/>
                  <a:gd name="T7" fmla="*/ 0 60000 65536"/>
                  <a:gd name="T8" fmla="*/ 0 60000 65536"/>
                  <a:gd name="T9" fmla="*/ 0 w 20"/>
                  <a:gd name="T10" fmla="*/ 0 h 10"/>
                  <a:gd name="T11" fmla="*/ 20 w 20"/>
                  <a:gd name="T12" fmla="*/ 10 h 10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0" h="10">
                    <a:moveTo>
                      <a:pt x="0" y="2"/>
                    </a:moveTo>
                    <a:cubicBezTo>
                      <a:pt x="6" y="0"/>
                      <a:pt x="14" y="2"/>
                      <a:pt x="20" y="4"/>
                    </a:cubicBezTo>
                    <a:cubicBezTo>
                      <a:pt x="20" y="4"/>
                      <a:pt x="0" y="10"/>
                      <a:pt x="0" y="2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104" name="Freeform 45"/>
              <p:cNvSpPr>
                <a:spLocks noChangeAspect="1"/>
              </p:cNvSpPr>
              <p:nvPr/>
            </p:nvSpPr>
            <p:spPr bwMode="auto">
              <a:xfrm>
                <a:off x="2859" y="3044"/>
                <a:ext cx="302" cy="289"/>
              </a:xfrm>
              <a:custGeom>
                <a:avLst/>
                <a:gdLst>
                  <a:gd name="T0" fmla="*/ 248 w 302"/>
                  <a:gd name="T1" fmla="*/ 268 h 289"/>
                  <a:gd name="T2" fmla="*/ 235 w 302"/>
                  <a:gd name="T3" fmla="*/ 256 h 289"/>
                  <a:gd name="T4" fmla="*/ 220 w 302"/>
                  <a:gd name="T5" fmla="*/ 244 h 289"/>
                  <a:gd name="T6" fmla="*/ 192 w 302"/>
                  <a:gd name="T7" fmla="*/ 215 h 289"/>
                  <a:gd name="T8" fmla="*/ 170 w 302"/>
                  <a:gd name="T9" fmla="*/ 193 h 289"/>
                  <a:gd name="T10" fmla="*/ 131 w 302"/>
                  <a:gd name="T11" fmla="*/ 140 h 289"/>
                  <a:gd name="T12" fmla="*/ 119 w 302"/>
                  <a:gd name="T13" fmla="*/ 98 h 289"/>
                  <a:gd name="T14" fmla="*/ 158 w 302"/>
                  <a:gd name="T15" fmla="*/ 101 h 289"/>
                  <a:gd name="T16" fmla="*/ 196 w 302"/>
                  <a:gd name="T17" fmla="*/ 101 h 289"/>
                  <a:gd name="T18" fmla="*/ 244 w 302"/>
                  <a:gd name="T19" fmla="*/ 94 h 289"/>
                  <a:gd name="T20" fmla="*/ 277 w 302"/>
                  <a:gd name="T21" fmla="*/ 110 h 289"/>
                  <a:gd name="T22" fmla="*/ 293 w 302"/>
                  <a:gd name="T23" fmla="*/ 91 h 289"/>
                  <a:gd name="T24" fmla="*/ 295 w 302"/>
                  <a:gd name="T25" fmla="*/ 77 h 289"/>
                  <a:gd name="T26" fmla="*/ 283 w 302"/>
                  <a:gd name="T27" fmla="*/ 67 h 289"/>
                  <a:gd name="T28" fmla="*/ 275 w 302"/>
                  <a:gd name="T29" fmla="*/ 53 h 289"/>
                  <a:gd name="T30" fmla="*/ 250 w 302"/>
                  <a:gd name="T31" fmla="*/ 44 h 289"/>
                  <a:gd name="T32" fmla="*/ 204 w 302"/>
                  <a:gd name="T33" fmla="*/ 44 h 289"/>
                  <a:gd name="T34" fmla="*/ 186 w 302"/>
                  <a:gd name="T35" fmla="*/ 30 h 289"/>
                  <a:gd name="T36" fmla="*/ 145 w 302"/>
                  <a:gd name="T37" fmla="*/ 4 h 289"/>
                  <a:gd name="T38" fmla="*/ 133 w 302"/>
                  <a:gd name="T39" fmla="*/ 7 h 289"/>
                  <a:gd name="T40" fmla="*/ 109 w 302"/>
                  <a:gd name="T41" fmla="*/ 25 h 289"/>
                  <a:gd name="T42" fmla="*/ 91 w 302"/>
                  <a:gd name="T43" fmla="*/ 64 h 289"/>
                  <a:gd name="T44" fmla="*/ 85 w 302"/>
                  <a:gd name="T45" fmla="*/ 90 h 289"/>
                  <a:gd name="T46" fmla="*/ 62 w 302"/>
                  <a:gd name="T47" fmla="*/ 86 h 289"/>
                  <a:gd name="T48" fmla="*/ 54 w 302"/>
                  <a:gd name="T49" fmla="*/ 76 h 289"/>
                  <a:gd name="T50" fmla="*/ 47 w 302"/>
                  <a:gd name="T51" fmla="*/ 88 h 289"/>
                  <a:gd name="T52" fmla="*/ 34 w 302"/>
                  <a:gd name="T53" fmla="*/ 89 h 289"/>
                  <a:gd name="T54" fmla="*/ 20 w 302"/>
                  <a:gd name="T55" fmla="*/ 89 h 289"/>
                  <a:gd name="T56" fmla="*/ 1 w 302"/>
                  <a:gd name="T57" fmla="*/ 95 h 289"/>
                  <a:gd name="T58" fmla="*/ 16 w 302"/>
                  <a:gd name="T59" fmla="*/ 122 h 289"/>
                  <a:gd name="T60" fmla="*/ 34 w 302"/>
                  <a:gd name="T61" fmla="*/ 115 h 289"/>
                  <a:gd name="T62" fmla="*/ 52 w 302"/>
                  <a:gd name="T63" fmla="*/ 97 h 289"/>
                  <a:gd name="T64" fmla="*/ 76 w 302"/>
                  <a:gd name="T65" fmla="*/ 112 h 289"/>
                  <a:gd name="T66" fmla="*/ 88 w 302"/>
                  <a:gd name="T67" fmla="*/ 145 h 289"/>
                  <a:gd name="T68" fmla="*/ 103 w 302"/>
                  <a:gd name="T69" fmla="*/ 168 h 289"/>
                  <a:gd name="T70" fmla="*/ 121 w 302"/>
                  <a:gd name="T71" fmla="*/ 199 h 289"/>
                  <a:gd name="T72" fmla="*/ 192 w 302"/>
                  <a:gd name="T73" fmla="*/ 229 h 289"/>
                  <a:gd name="T74" fmla="*/ 209 w 302"/>
                  <a:gd name="T75" fmla="*/ 246 h 289"/>
                  <a:gd name="T76" fmla="*/ 239 w 302"/>
                  <a:gd name="T77" fmla="*/ 266 h 289"/>
                  <a:gd name="T78" fmla="*/ 262 w 302"/>
                  <a:gd name="T79" fmla="*/ 278 h 289"/>
                  <a:gd name="T80" fmla="*/ 275 w 302"/>
                  <a:gd name="T81" fmla="*/ 289 h 289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w 302"/>
                  <a:gd name="T124" fmla="*/ 0 h 289"/>
                  <a:gd name="T125" fmla="*/ 302 w 302"/>
                  <a:gd name="T126" fmla="*/ 289 h 289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T123" t="T124" r="T125" b="T126"/>
                <a:pathLst>
                  <a:path w="302" h="289">
                    <a:moveTo>
                      <a:pt x="275" y="289"/>
                    </a:moveTo>
                    <a:cubicBezTo>
                      <a:pt x="272" y="273"/>
                      <a:pt x="260" y="274"/>
                      <a:pt x="248" y="268"/>
                    </a:cubicBezTo>
                    <a:cubicBezTo>
                      <a:pt x="246" y="265"/>
                      <a:pt x="243" y="262"/>
                      <a:pt x="241" y="260"/>
                    </a:cubicBezTo>
                    <a:cubicBezTo>
                      <a:pt x="239" y="258"/>
                      <a:pt x="235" y="256"/>
                      <a:pt x="235" y="256"/>
                    </a:cubicBezTo>
                    <a:cubicBezTo>
                      <a:pt x="233" y="251"/>
                      <a:pt x="231" y="248"/>
                      <a:pt x="226" y="246"/>
                    </a:cubicBezTo>
                    <a:cubicBezTo>
                      <a:pt x="224" y="245"/>
                      <a:pt x="220" y="244"/>
                      <a:pt x="220" y="244"/>
                    </a:cubicBezTo>
                    <a:cubicBezTo>
                      <a:pt x="213" y="237"/>
                      <a:pt x="210" y="232"/>
                      <a:pt x="204" y="223"/>
                    </a:cubicBezTo>
                    <a:cubicBezTo>
                      <a:pt x="199" y="218"/>
                      <a:pt x="196" y="218"/>
                      <a:pt x="192" y="215"/>
                    </a:cubicBezTo>
                    <a:cubicBezTo>
                      <a:pt x="190" y="206"/>
                      <a:pt x="189" y="204"/>
                      <a:pt x="180" y="203"/>
                    </a:cubicBezTo>
                    <a:cubicBezTo>
                      <a:pt x="175" y="201"/>
                      <a:pt x="175" y="196"/>
                      <a:pt x="170" y="193"/>
                    </a:cubicBezTo>
                    <a:cubicBezTo>
                      <a:pt x="158" y="185"/>
                      <a:pt x="152" y="173"/>
                      <a:pt x="145" y="162"/>
                    </a:cubicBezTo>
                    <a:cubicBezTo>
                      <a:pt x="141" y="154"/>
                      <a:pt x="137" y="146"/>
                      <a:pt x="131" y="140"/>
                    </a:cubicBezTo>
                    <a:cubicBezTo>
                      <a:pt x="127" y="136"/>
                      <a:pt x="119" y="131"/>
                      <a:pt x="119" y="131"/>
                    </a:cubicBezTo>
                    <a:cubicBezTo>
                      <a:pt x="115" y="120"/>
                      <a:pt x="115" y="110"/>
                      <a:pt x="119" y="98"/>
                    </a:cubicBezTo>
                    <a:cubicBezTo>
                      <a:pt x="129" y="100"/>
                      <a:pt x="132" y="105"/>
                      <a:pt x="140" y="110"/>
                    </a:cubicBezTo>
                    <a:cubicBezTo>
                      <a:pt x="153" y="109"/>
                      <a:pt x="150" y="107"/>
                      <a:pt x="158" y="101"/>
                    </a:cubicBezTo>
                    <a:cubicBezTo>
                      <a:pt x="160" y="98"/>
                      <a:pt x="162" y="96"/>
                      <a:pt x="166" y="95"/>
                    </a:cubicBezTo>
                    <a:cubicBezTo>
                      <a:pt x="181" y="96"/>
                      <a:pt x="184" y="97"/>
                      <a:pt x="196" y="101"/>
                    </a:cubicBezTo>
                    <a:cubicBezTo>
                      <a:pt x="209" y="100"/>
                      <a:pt x="219" y="98"/>
                      <a:pt x="232" y="97"/>
                    </a:cubicBezTo>
                    <a:cubicBezTo>
                      <a:pt x="236" y="96"/>
                      <a:pt x="244" y="94"/>
                      <a:pt x="244" y="94"/>
                    </a:cubicBezTo>
                    <a:cubicBezTo>
                      <a:pt x="250" y="96"/>
                      <a:pt x="262" y="96"/>
                      <a:pt x="268" y="97"/>
                    </a:cubicBezTo>
                    <a:cubicBezTo>
                      <a:pt x="274" y="103"/>
                      <a:pt x="269" y="109"/>
                      <a:pt x="277" y="110"/>
                    </a:cubicBezTo>
                    <a:cubicBezTo>
                      <a:pt x="284" y="113"/>
                      <a:pt x="286" y="111"/>
                      <a:pt x="292" y="107"/>
                    </a:cubicBezTo>
                    <a:cubicBezTo>
                      <a:pt x="293" y="102"/>
                      <a:pt x="290" y="96"/>
                      <a:pt x="293" y="91"/>
                    </a:cubicBezTo>
                    <a:cubicBezTo>
                      <a:pt x="295" y="88"/>
                      <a:pt x="302" y="84"/>
                      <a:pt x="302" y="84"/>
                    </a:cubicBezTo>
                    <a:cubicBezTo>
                      <a:pt x="301" y="79"/>
                      <a:pt x="300" y="79"/>
                      <a:pt x="295" y="77"/>
                    </a:cubicBezTo>
                    <a:cubicBezTo>
                      <a:pt x="293" y="73"/>
                      <a:pt x="288" y="71"/>
                      <a:pt x="284" y="70"/>
                    </a:cubicBezTo>
                    <a:cubicBezTo>
                      <a:pt x="284" y="69"/>
                      <a:pt x="284" y="68"/>
                      <a:pt x="283" y="67"/>
                    </a:cubicBezTo>
                    <a:cubicBezTo>
                      <a:pt x="282" y="66"/>
                      <a:pt x="280" y="67"/>
                      <a:pt x="280" y="66"/>
                    </a:cubicBezTo>
                    <a:cubicBezTo>
                      <a:pt x="274" y="51"/>
                      <a:pt x="282" y="58"/>
                      <a:pt x="275" y="53"/>
                    </a:cubicBezTo>
                    <a:cubicBezTo>
                      <a:pt x="272" y="44"/>
                      <a:pt x="272" y="47"/>
                      <a:pt x="271" y="34"/>
                    </a:cubicBezTo>
                    <a:cubicBezTo>
                      <a:pt x="263" y="37"/>
                      <a:pt x="258" y="41"/>
                      <a:pt x="250" y="44"/>
                    </a:cubicBezTo>
                    <a:cubicBezTo>
                      <a:pt x="248" y="45"/>
                      <a:pt x="244" y="48"/>
                      <a:pt x="244" y="48"/>
                    </a:cubicBezTo>
                    <a:cubicBezTo>
                      <a:pt x="230" y="47"/>
                      <a:pt x="218" y="46"/>
                      <a:pt x="204" y="44"/>
                    </a:cubicBezTo>
                    <a:cubicBezTo>
                      <a:pt x="201" y="41"/>
                      <a:pt x="200" y="36"/>
                      <a:pt x="196" y="35"/>
                    </a:cubicBezTo>
                    <a:cubicBezTo>
                      <a:pt x="193" y="31"/>
                      <a:pt x="191" y="31"/>
                      <a:pt x="186" y="30"/>
                    </a:cubicBezTo>
                    <a:cubicBezTo>
                      <a:pt x="183" y="22"/>
                      <a:pt x="163" y="16"/>
                      <a:pt x="155" y="13"/>
                    </a:cubicBezTo>
                    <a:cubicBezTo>
                      <a:pt x="150" y="6"/>
                      <a:pt x="150" y="6"/>
                      <a:pt x="145" y="4"/>
                    </a:cubicBezTo>
                    <a:cubicBezTo>
                      <a:pt x="145" y="4"/>
                      <a:pt x="141" y="0"/>
                      <a:pt x="139" y="1"/>
                    </a:cubicBezTo>
                    <a:cubicBezTo>
                      <a:pt x="137" y="2"/>
                      <a:pt x="133" y="7"/>
                      <a:pt x="133" y="7"/>
                    </a:cubicBezTo>
                    <a:cubicBezTo>
                      <a:pt x="132" y="13"/>
                      <a:pt x="126" y="19"/>
                      <a:pt x="119" y="22"/>
                    </a:cubicBezTo>
                    <a:cubicBezTo>
                      <a:pt x="116" y="23"/>
                      <a:pt x="109" y="25"/>
                      <a:pt x="109" y="25"/>
                    </a:cubicBezTo>
                    <a:cubicBezTo>
                      <a:pt x="104" y="32"/>
                      <a:pt x="107" y="41"/>
                      <a:pt x="110" y="49"/>
                    </a:cubicBezTo>
                    <a:cubicBezTo>
                      <a:pt x="108" y="54"/>
                      <a:pt x="96" y="58"/>
                      <a:pt x="91" y="64"/>
                    </a:cubicBezTo>
                    <a:cubicBezTo>
                      <a:pt x="93" y="71"/>
                      <a:pt x="94" y="74"/>
                      <a:pt x="95" y="82"/>
                    </a:cubicBezTo>
                    <a:cubicBezTo>
                      <a:pt x="92" y="84"/>
                      <a:pt x="88" y="89"/>
                      <a:pt x="85" y="90"/>
                    </a:cubicBezTo>
                    <a:cubicBezTo>
                      <a:pt x="78" y="89"/>
                      <a:pt x="78" y="89"/>
                      <a:pt x="76" y="83"/>
                    </a:cubicBezTo>
                    <a:cubicBezTo>
                      <a:pt x="71" y="84"/>
                      <a:pt x="67" y="85"/>
                      <a:pt x="62" y="86"/>
                    </a:cubicBezTo>
                    <a:cubicBezTo>
                      <a:pt x="52" y="84"/>
                      <a:pt x="63" y="88"/>
                      <a:pt x="56" y="72"/>
                    </a:cubicBezTo>
                    <a:cubicBezTo>
                      <a:pt x="55" y="71"/>
                      <a:pt x="55" y="75"/>
                      <a:pt x="54" y="76"/>
                    </a:cubicBezTo>
                    <a:cubicBezTo>
                      <a:pt x="52" y="79"/>
                      <a:pt x="52" y="79"/>
                      <a:pt x="49" y="82"/>
                    </a:cubicBezTo>
                    <a:cubicBezTo>
                      <a:pt x="48" y="84"/>
                      <a:pt x="48" y="86"/>
                      <a:pt x="47" y="88"/>
                    </a:cubicBezTo>
                    <a:cubicBezTo>
                      <a:pt x="46" y="90"/>
                      <a:pt x="41" y="90"/>
                      <a:pt x="41" y="90"/>
                    </a:cubicBezTo>
                    <a:cubicBezTo>
                      <a:pt x="39" y="90"/>
                      <a:pt x="36" y="90"/>
                      <a:pt x="34" y="89"/>
                    </a:cubicBezTo>
                    <a:cubicBezTo>
                      <a:pt x="33" y="89"/>
                      <a:pt x="33" y="86"/>
                      <a:pt x="32" y="86"/>
                    </a:cubicBezTo>
                    <a:cubicBezTo>
                      <a:pt x="28" y="86"/>
                      <a:pt x="20" y="89"/>
                      <a:pt x="20" y="89"/>
                    </a:cubicBezTo>
                    <a:cubicBezTo>
                      <a:pt x="15" y="92"/>
                      <a:pt x="10" y="95"/>
                      <a:pt x="5" y="96"/>
                    </a:cubicBezTo>
                    <a:cubicBezTo>
                      <a:pt x="4" y="96"/>
                      <a:pt x="0" y="95"/>
                      <a:pt x="1" y="95"/>
                    </a:cubicBezTo>
                    <a:cubicBezTo>
                      <a:pt x="3" y="95"/>
                      <a:pt x="5" y="94"/>
                      <a:pt x="6" y="96"/>
                    </a:cubicBezTo>
                    <a:cubicBezTo>
                      <a:pt x="12" y="113"/>
                      <a:pt x="3" y="113"/>
                      <a:pt x="16" y="122"/>
                    </a:cubicBezTo>
                    <a:cubicBezTo>
                      <a:pt x="18" y="127"/>
                      <a:pt x="18" y="133"/>
                      <a:pt x="22" y="136"/>
                    </a:cubicBezTo>
                    <a:cubicBezTo>
                      <a:pt x="30" y="132"/>
                      <a:pt x="30" y="123"/>
                      <a:pt x="34" y="115"/>
                    </a:cubicBezTo>
                    <a:cubicBezTo>
                      <a:pt x="35" y="109"/>
                      <a:pt x="35" y="104"/>
                      <a:pt x="40" y="101"/>
                    </a:cubicBezTo>
                    <a:cubicBezTo>
                      <a:pt x="45" y="94"/>
                      <a:pt x="44" y="94"/>
                      <a:pt x="52" y="97"/>
                    </a:cubicBezTo>
                    <a:cubicBezTo>
                      <a:pt x="55" y="101"/>
                      <a:pt x="64" y="104"/>
                      <a:pt x="64" y="104"/>
                    </a:cubicBezTo>
                    <a:cubicBezTo>
                      <a:pt x="67" y="108"/>
                      <a:pt x="72" y="109"/>
                      <a:pt x="76" y="112"/>
                    </a:cubicBezTo>
                    <a:cubicBezTo>
                      <a:pt x="78" y="113"/>
                      <a:pt x="82" y="114"/>
                      <a:pt x="82" y="114"/>
                    </a:cubicBezTo>
                    <a:cubicBezTo>
                      <a:pt x="75" y="123"/>
                      <a:pt x="78" y="138"/>
                      <a:pt x="88" y="145"/>
                    </a:cubicBezTo>
                    <a:cubicBezTo>
                      <a:pt x="90" y="151"/>
                      <a:pt x="90" y="153"/>
                      <a:pt x="95" y="156"/>
                    </a:cubicBezTo>
                    <a:cubicBezTo>
                      <a:pt x="96" y="161"/>
                      <a:pt x="98" y="165"/>
                      <a:pt x="103" y="168"/>
                    </a:cubicBezTo>
                    <a:cubicBezTo>
                      <a:pt x="104" y="174"/>
                      <a:pt x="107" y="186"/>
                      <a:pt x="112" y="191"/>
                    </a:cubicBezTo>
                    <a:cubicBezTo>
                      <a:pt x="115" y="194"/>
                      <a:pt x="121" y="199"/>
                      <a:pt x="121" y="199"/>
                    </a:cubicBezTo>
                    <a:cubicBezTo>
                      <a:pt x="122" y="203"/>
                      <a:pt x="126" y="208"/>
                      <a:pt x="130" y="210"/>
                    </a:cubicBezTo>
                    <a:cubicBezTo>
                      <a:pt x="136" y="233"/>
                      <a:pt x="173" y="228"/>
                      <a:pt x="192" y="229"/>
                    </a:cubicBezTo>
                    <a:cubicBezTo>
                      <a:pt x="195" y="231"/>
                      <a:pt x="202" y="236"/>
                      <a:pt x="202" y="236"/>
                    </a:cubicBezTo>
                    <a:cubicBezTo>
                      <a:pt x="203" y="240"/>
                      <a:pt x="205" y="245"/>
                      <a:pt x="209" y="246"/>
                    </a:cubicBezTo>
                    <a:cubicBezTo>
                      <a:pt x="212" y="252"/>
                      <a:pt x="221" y="257"/>
                      <a:pt x="226" y="262"/>
                    </a:cubicBezTo>
                    <a:cubicBezTo>
                      <a:pt x="229" y="265"/>
                      <a:pt x="239" y="266"/>
                      <a:pt x="239" y="266"/>
                    </a:cubicBezTo>
                    <a:cubicBezTo>
                      <a:pt x="242" y="270"/>
                      <a:pt x="246" y="274"/>
                      <a:pt x="251" y="275"/>
                    </a:cubicBezTo>
                    <a:cubicBezTo>
                      <a:pt x="255" y="276"/>
                      <a:pt x="262" y="278"/>
                      <a:pt x="262" y="278"/>
                    </a:cubicBezTo>
                    <a:cubicBezTo>
                      <a:pt x="264" y="280"/>
                      <a:pt x="265" y="281"/>
                      <a:pt x="266" y="282"/>
                    </a:cubicBezTo>
                    <a:lnTo>
                      <a:pt x="275" y="289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</p:grpSp>
        <p:grpSp>
          <p:nvGrpSpPr>
            <p:cNvPr id="16" name="Group 46"/>
            <p:cNvGrpSpPr>
              <a:grpSpLocks/>
            </p:cNvGrpSpPr>
            <p:nvPr/>
          </p:nvGrpSpPr>
          <p:grpSpPr bwMode="auto">
            <a:xfrm>
              <a:off x="2362" y="3183"/>
              <a:ext cx="666" cy="766"/>
              <a:chOff x="1971" y="6871"/>
              <a:chExt cx="2639" cy="3027"/>
            </a:xfrm>
            <a:grpFill/>
          </p:grpSpPr>
          <p:sp>
            <p:nvSpPr>
              <p:cNvPr id="92" name="Freeform 47"/>
              <p:cNvSpPr>
                <a:spLocks noChangeAspect="1"/>
              </p:cNvSpPr>
              <p:nvPr/>
            </p:nvSpPr>
            <p:spPr bwMode="auto">
              <a:xfrm>
                <a:off x="3259" y="9410"/>
                <a:ext cx="764" cy="488"/>
              </a:xfrm>
              <a:custGeom>
                <a:avLst/>
                <a:gdLst>
                  <a:gd name="T0" fmla="*/ 2147483647 w 191"/>
                  <a:gd name="T1" fmla="*/ 0 h 122"/>
                  <a:gd name="T2" fmla="*/ 2147483647 w 191"/>
                  <a:gd name="T3" fmla="*/ 2147483647 h 122"/>
                  <a:gd name="T4" fmla="*/ 2147483647 w 191"/>
                  <a:gd name="T5" fmla="*/ 2147483647 h 122"/>
                  <a:gd name="T6" fmla="*/ 2147483647 w 191"/>
                  <a:gd name="T7" fmla="*/ 2147483647 h 122"/>
                  <a:gd name="T8" fmla="*/ 2147483647 w 191"/>
                  <a:gd name="T9" fmla="*/ 2147483647 h 122"/>
                  <a:gd name="T10" fmla="*/ 2147483647 w 191"/>
                  <a:gd name="T11" fmla="*/ 2147483647 h 122"/>
                  <a:gd name="T12" fmla="*/ 2147483647 w 191"/>
                  <a:gd name="T13" fmla="*/ 2147483647 h 122"/>
                  <a:gd name="T14" fmla="*/ 2147483647 w 191"/>
                  <a:gd name="T15" fmla="*/ 2147483647 h 122"/>
                  <a:gd name="T16" fmla="*/ 2147483647 w 191"/>
                  <a:gd name="T17" fmla="*/ 2147483647 h 122"/>
                  <a:gd name="T18" fmla="*/ 2147483647 w 191"/>
                  <a:gd name="T19" fmla="*/ 2147483647 h 122"/>
                  <a:gd name="T20" fmla="*/ 2147483647 w 191"/>
                  <a:gd name="T21" fmla="*/ 2147483647 h 122"/>
                  <a:gd name="T22" fmla="*/ 2147483647 w 191"/>
                  <a:gd name="T23" fmla="*/ 2147483647 h 122"/>
                  <a:gd name="T24" fmla="*/ 2147483647 w 191"/>
                  <a:gd name="T25" fmla="*/ 2147483647 h 122"/>
                  <a:gd name="T26" fmla="*/ 2147483647 w 191"/>
                  <a:gd name="T27" fmla="*/ 2147483647 h 122"/>
                  <a:gd name="T28" fmla="*/ 2147483647 w 191"/>
                  <a:gd name="T29" fmla="*/ 2147483647 h 122"/>
                  <a:gd name="T30" fmla="*/ 0 w 191"/>
                  <a:gd name="T31" fmla="*/ 2147483647 h 122"/>
                  <a:gd name="T32" fmla="*/ 2147483647 w 191"/>
                  <a:gd name="T33" fmla="*/ 2147483647 h 122"/>
                  <a:gd name="T34" fmla="*/ 2147483647 w 191"/>
                  <a:gd name="T35" fmla="*/ 2147483647 h 122"/>
                  <a:gd name="T36" fmla="*/ 2147483647 w 191"/>
                  <a:gd name="T37" fmla="*/ 2147483647 h 122"/>
                  <a:gd name="T38" fmla="*/ 2147483647 w 191"/>
                  <a:gd name="T39" fmla="*/ 2147483647 h 122"/>
                  <a:gd name="T40" fmla="*/ 2147483647 w 191"/>
                  <a:gd name="T41" fmla="*/ 2147483647 h 122"/>
                  <a:gd name="T42" fmla="*/ 2147483647 w 191"/>
                  <a:gd name="T43" fmla="*/ 2147483647 h 122"/>
                  <a:gd name="T44" fmla="*/ 2147483647 w 191"/>
                  <a:gd name="T45" fmla="*/ 2147483647 h 122"/>
                  <a:gd name="T46" fmla="*/ 2147483647 w 191"/>
                  <a:gd name="T47" fmla="*/ 2147483647 h 122"/>
                  <a:gd name="T48" fmla="*/ 2147483647 w 191"/>
                  <a:gd name="T49" fmla="*/ 2147483647 h 122"/>
                  <a:gd name="T50" fmla="*/ 2147483647 w 191"/>
                  <a:gd name="T51" fmla="*/ 2147483647 h 122"/>
                  <a:gd name="T52" fmla="*/ 2147483647 w 191"/>
                  <a:gd name="T53" fmla="*/ 2147483647 h 122"/>
                  <a:gd name="T54" fmla="*/ 2147483647 w 191"/>
                  <a:gd name="T55" fmla="*/ 2147483647 h 122"/>
                  <a:gd name="T56" fmla="*/ 2147483647 w 191"/>
                  <a:gd name="T57" fmla="*/ 2147483647 h 122"/>
                  <a:gd name="T58" fmla="*/ 2147483647 w 191"/>
                  <a:gd name="T59" fmla="*/ 2147483647 h 122"/>
                  <a:gd name="T60" fmla="*/ 2147483647 w 191"/>
                  <a:gd name="T61" fmla="*/ 2147483647 h 122"/>
                  <a:gd name="T62" fmla="*/ 2147483647 w 191"/>
                  <a:gd name="T63" fmla="*/ 2147483647 h 122"/>
                  <a:gd name="T64" fmla="*/ 2147483647 w 191"/>
                  <a:gd name="T65" fmla="*/ 2147483647 h 122"/>
                  <a:gd name="T66" fmla="*/ 2147483647 w 191"/>
                  <a:gd name="T67" fmla="*/ 2147483647 h 122"/>
                  <a:gd name="T68" fmla="*/ 2147483647 w 191"/>
                  <a:gd name="T69" fmla="*/ 2147483647 h 122"/>
                  <a:gd name="T70" fmla="*/ 2147483647 w 191"/>
                  <a:gd name="T71" fmla="*/ 2147483647 h 122"/>
                  <a:gd name="T72" fmla="*/ 2147483647 w 191"/>
                  <a:gd name="T73" fmla="*/ 2147483647 h 122"/>
                  <a:gd name="T74" fmla="*/ 2147483647 w 191"/>
                  <a:gd name="T75" fmla="*/ 0 h 122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191"/>
                  <a:gd name="T115" fmla="*/ 0 h 122"/>
                  <a:gd name="T116" fmla="*/ 191 w 191"/>
                  <a:gd name="T117" fmla="*/ 122 h 122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191" h="122">
                    <a:moveTo>
                      <a:pt x="180" y="0"/>
                    </a:moveTo>
                    <a:cubicBezTo>
                      <a:pt x="174" y="2"/>
                      <a:pt x="171" y="6"/>
                      <a:pt x="165" y="8"/>
                    </a:cubicBezTo>
                    <a:cubicBezTo>
                      <a:pt x="162" y="11"/>
                      <a:pt x="159" y="12"/>
                      <a:pt x="156" y="14"/>
                    </a:cubicBezTo>
                    <a:cubicBezTo>
                      <a:pt x="149" y="13"/>
                      <a:pt x="142" y="11"/>
                      <a:pt x="135" y="13"/>
                    </a:cubicBezTo>
                    <a:cubicBezTo>
                      <a:pt x="129" y="21"/>
                      <a:pt x="124" y="24"/>
                      <a:pt x="114" y="25"/>
                    </a:cubicBezTo>
                    <a:cubicBezTo>
                      <a:pt x="107" y="27"/>
                      <a:pt x="104" y="26"/>
                      <a:pt x="97" y="24"/>
                    </a:cubicBezTo>
                    <a:cubicBezTo>
                      <a:pt x="89" y="25"/>
                      <a:pt x="86" y="30"/>
                      <a:pt x="78" y="33"/>
                    </a:cubicBezTo>
                    <a:cubicBezTo>
                      <a:pt x="71" y="31"/>
                      <a:pt x="72" y="27"/>
                      <a:pt x="63" y="26"/>
                    </a:cubicBezTo>
                    <a:cubicBezTo>
                      <a:pt x="63" y="24"/>
                      <a:pt x="63" y="22"/>
                      <a:pt x="62" y="21"/>
                    </a:cubicBezTo>
                    <a:cubicBezTo>
                      <a:pt x="61" y="20"/>
                      <a:pt x="59" y="21"/>
                      <a:pt x="58" y="20"/>
                    </a:cubicBezTo>
                    <a:cubicBezTo>
                      <a:pt x="51" y="11"/>
                      <a:pt x="61" y="15"/>
                      <a:pt x="52" y="13"/>
                    </a:cubicBezTo>
                    <a:cubicBezTo>
                      <a:pt x="46" y="15"/>
                      <a:pt x="45" y="17"/>
                      <a:pt x="38" y="18"/>
                    </a:cubicBezTo>
                    <a:cubicBezTo>
                      <a:pt x="36" y="24"/>
                      <a:pt x="36" y="25"/>
                      <a:pt x="30" y="27"/>
                    </a:cubicBezTo>
                    <a:cubicBezTo>
                      <a:pt x="21" y="26"/>
                      <a:pt x="25" y="21"/>
                      <a:pt x="18" y="19"/>
                    </a:cubicBezTo>
                    <a:cubicBezTo>
                      <a:pt x="13" y="28"/>
                      <a:pt x="18" y="26"/>
                      <a:pt x="3" y="27"/>
                    </a:cubicBezTo>
                    <a:cubicBezTo>
                      <a:pt x="2" y="28"/>
                      <a:pt x="0" y="31"/>
                      <a:pt x="0" y="33"/>
                    </a:cubicBezTo>
                    <a:cubicBezTo>
                      <a:pt x="0" y="35"/>
                      <a:pt x="2" y="39"/>
                      <a:pt x="2" y="39"/>
                    </a:cubicBezTo>
                    <a:cubicBezTo>
                      <a:pt x="2" y="44"/>
                      <a:pt x="1" y="50"/>
                      <a:pt x="3" y="55"/>
                    </a:cubicBezTo>
                    <a:cubicBezTo>
                      <a:pt x="4" y="57"/>
                      <a:pt x="9" y="57"/>
                      <a:pt x="9" y="57"/>
                    </a:cubicBezTo>
                    <a:cubicBezTo>
                      <a:pt x="11" y="62"/>
                      <a:pt x="13" y="64"/>
                      <a:pt x="18" y="66"/>
                    </a:cubicBezTo>
                    <a:cubicBezTo>
                      <a:pt x="28" y="64"/>
                      <a:pt x="25" y="63"/>
                      <a:pt x="36" y="65"/>
                    </a:cubicBezTo>
                    <a:cubicBezTo>
                      <a:pt x="39" y="67"/>
                      <a:pt x="42" y="68"/>
                      <a:pt x="46" y="69"/>
                    </a:cubicBezTo>
                    <a:cubicBezTo>
                      <a:pt x="49" y="71"/>
                      <a:pt x="55" y="73"/>
                      <a:pt x="55" y="73"/>
                    </a:cubicBezTo>
                    <a:cubicBezTo>
                      <a:pt x="58" y="84"/>
                      <a:pt x="61" y="84"/>
                      <a:pt x="72" y="85"/>
                    </a:cubicBezTo>
                    <a:cubicBezTo>
                      <a:pt x="78" y="87"/>
                      <a:pt x="77" y="91"/>
                      <a:pt x="82" y="92"/>
                    </a:cubicBezTo>
                    <a:cubicBezTo>
                      <a:pt x="91" y="95"/>
                      <a:pt x="101" y="94"/>
                      <a:pt x="111" y="95"/>
                    </a:cubicBezTo>
                    <a:cubicBezTo>
                      <a:pt x="113" y="101"/>
                      <a:pt x="116" y="100"/>
                      <a:pt x="121" y="103"/>
                    </a:cubicBezTo>
                    <a:cubicBezTo>
                      <a:pt x="123" y="113"/>
                      <a:pt x="126" y="117"/>
                      <a:pt x="136" y="120"/>
                    </a:cubicBezTo>
                    <a:cubicBezTo>
                      <a:pt x="150" y="118"/>
                      <a:pt x="150" y="119"/>
                      <a:pt x="164" y="122"/>
                    </a:cubicBezTo>
                    <a:cubicBezTo>
                      <a:pt x="166" y="119"/>
                      <a:pt x="164" y="111"/>
                      <a:pt x="164" y="111"/>
                    </a:cubicBezTo>
                    <a:cubicBezTo>
                      <a:pt x="165" y="106"/>
                      <a:pt x="165" y="105"/>
                      <a:pt x="169" y="102"/>
                    </a:cubicBezTo>
                    <a:cubicBezTo>
                      <a:pt x="172" y="98"/>
                      <a:pt x="175" y="98"/>
                      <a:pt x="177" y="92"/>
                    </a:cubicBezTo>
                    <a:cubicBezTo>
                      <a:pt x="176" y="88"/>
                      <a:pt x="174" y="86"/>
                      <a:pt x="171" y="84"/>
                    </a:cubicBezTo>
                    <a:cubicBezTo>
                      <a:pt x="168" y="75"/>
                      <a:pt x="170" y="75"/>
                      <a:pt x="160" y="73"/>
                    </a:cubicBezTo>
                    <a:cubicBezTo>
                      <a:pt x="162" y="68"/>
                      <a:pt x="162" y="61"/>
                      <a:pt x="164" y="56"/>
                    </a:cubicBezTo>
                    <a:cubicBezTo>
                      <a:pt x="165" y="54"/>
                      <a:pt x="168" y="50"/>
                      <a:pt x="168" y="50"/>
                    </a:cubicBezTo>
                    <a:cubicBezTo>
                      <a:pt x="170" y="21"/>
                      <a:pt x="169" y="33"/>
                      <a:pt x="184" y="18"/>
                    </a:cubicBezTo>
                    <a:cubicBezTo>
                      <a:pt x="186" y="1"/>
                      <a:pt x="191" y="5"/>
                      <a:pt x="180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grpSp>
            <p:nvGrpSpPr>
              <p:cNvPr id="93" name="Group 48"/>
              <p:cNvGrpSpPr>
                <a:grpSpLocks noChangeAspect="1"/>
              </p:cNvGrpSpPr>
              <p:nvPr/>
            </p:nvGrpSpPr>
            <p:grpSpPr bwMode="auto">
              <a:xfrm>
                <a:off x="1971" y="6871"/>
                <a:ext cx="2639" cy="2667"/>
                <a:chOff x="2499" y="3020"/>
                <a:chExt cx="660" cy="667"/>
              </a:xfrm>
              <a:grpFill/>
            </p:grpSpPr>
            <p:sp>
              <p:nvSpPr>
                <p:cNvPr id="94" name="Freeform 49"/>
                <p:cNvSpPr>
                  <a:spLocks noChangeAspect="1"/>
                </p:cNvSpPr>
                <p:nvPr/>
              </p:nvSpPr>
              <p:spPr bwMode="auto">
                <a:xfrm>
                  <a:off x="2575" y="3447"/>
                  <a:ext cx="92" cy="181"/>
                </a:xfrm>
                <a:custGeom>
                  <a:avLst/>
                  <a:gdLst>
                    <a:gd name="T0" fmla="*/ 61 w 92"/>
                    <a:gd name="T1" fmla="*/ 0 h 181"/>
                    <a:gd name="T2" fmla="*/ 52 w 92"/>
                    <a:gd name="T3" fmla="*/ 6 h 181"/>
                    <a:gd name="T4" fmla="*/ 45 w 92"/>
                    <a:gd name="T5" fmla="*/ 13 h 181"/>
                    <a:gd name="T6" fmla="*/ 33 w 92"/>
                    <a:gd name="T7" fmla="*/ 24 h 181"/>
                    <a:gd name="T8" fmla="*/ 21 w 92"/>
                    <a:gd name="T9" fmla="*/ 30 h 181"/>
                    <a:gd name="T10" fmla="*/ 10 w 92"/>
                    <a:gd name="T11" fmla="*/ 29 h 181"/>
                    <a:gd name="T12" fmla="*/ 3 w 92"/>
                    <a:gd name="T13" fmla="*/ 18 h 181"/>
                    <a:gd name="T14" fmla="*/ 0 w 92"/>
                    <a:gd name="T15" fmla="*/ 36 h 181"/>
                    <a:gd name="T16" fmla="*/ 7 w 92"/>
                    <a:gd name="T17" fmla="*/ 49 h 181"/>
                    <a:gd name="T18" fmla="*/ 13 w 92"/>
                    <a:gd name="T19" fmla="*/ 58 h 181"/>
                    <a:gd name="T20" fmla="*/ 18 w 92"/>
                    <a:gd name="T21" fmla="*/ 76 h 181"/>
                    <a:gd name="T22" fmla="*/ 21 w 92"/>
                    <a:gd name="T23" fmla="*/ 106 h 181"/>
                    <a:gd name="T24" fmla="*/ 15 w 92"/>
                    <a:gd name="T25" fmla="*/ 118 h 181"/>
                    <a:gd name="T26" fmla="*/ 12 w 92"/>
                    <a:gd name="T27" fmla="*/ 132 h 181"/>
                    <a:gd name="T28" fmla="*/ 14 w 92"/>
                    <a:gd name="T29" fmla="*/ 145 h 181"/>
                    <a:gd name="T30" fmla="*/ 8 w 92"/>
                    <a:gd name="T31" fmla="*/ 154 h 181"/>
                    <a:gd name="T32" fmla="*/ 8 w 92"/>
                    <a:gd name="T33" fmla="*/ 168 h 181"/>
                    <a:gd name="T34" fmla="*/ 18 w 92"/>
                    <a:gd name="T35" fmla="*/ 165 h 181"/>
                    <a:gd name="T36" fmla="*/ 24 w 92"/>
                    <a:gd name="T37" fmla="*/ 177 h 181"/>
                    <a:gd name="T38" fmla="*/ 36 w 92"/>
                    <a:gd name="T39" fmla="*/ 180 h 181"/>
                    <a:gd name="T40" fmla="*/ 48 w 92"/>
                    <a:gd name="T41" fmla="*/ 159 h 181"/>
                    <a:gd name="T42" fmla="*/ 55 w 92"/>
                    <a:gd name="T43" fmla="*/ 154 h 181"/>
                    <a:gd name="T44" fmla="*/ 72 w 92"/>
                    <a:gd name="T45" fmla="*/ 160 h 181"/>
                    <a:gd name="T46" fmla="*/ 84 w 92"/>
                    <a:gd name="T47" fmla="*/ 145 h 181"/>
                    <a:gd name="T48" fmla="*/ 91 w 92"/>
                    <a:gd name="T49" fmla="*/ 96 h 181"/>
                    <a:gd name="T50" fmla="*/ 81 w 92"/>
                    <a:gd name="T51" fmla="*/ 72 h 181"/>
                    <a:gd name="T52" fmla="*/ 86 w 92"/>
                    <a:gd name="T53" fmla="*/ 63 h 181"/>
                    <a:gd name="T54" fmla="*/ 90 w 92"/>
                    <a:gd name="T55" fmla="*/ 57 h 181"/>
                    <a:gd name="T56" fmla="*/ 90 w 92"/>
                    <a:gd name="T57" fmla="*/ 28 h 181"/>
                    <a:gd name="T58" fmla="*/ 79 w 92"/>
                    <a:gd name="T59" fmla="*/ 21 h 181"/>
                    <a:gd name="T60" fmla="*/ 79 w 92"/>
                    <a:gd name="T61" fmla="*/ 4 h 181"/>
                    <a:gd name="T62" fmla="*/ 61 w 92"/>
                    <a:gd name="T63" fmla="*/ 0 h 181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92"/>
                    <a:gd name="T97" fmla="*/ 0 h 181"/>
                    <a:gd name="T98" fmla="*/ 92 w 92"/>
                    <a:gd name="T99" fmla="*/ 181 h 181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92" h="181">
                      <a:moveTo>
                        <a:pt x="61" y="0"/>
                      </a:moveTo>
                      <a:cubicBezTo>
                        <a:pt x="58" y="3"/>
                        <a:pt x="55" y="4"/>
                        <a:pt x="52" y="6"/>
                      </a:cubicBezTo>
                      <a:cubicBezTo>
                        <a:pt x="47" y="13"/>
                        <a:pt x="50" y="11"/>
                        <a:pt x="45" y="13"/>
                      </a:cubicBezTo>
                      <a:cubicBezTo>
                        <a:pt x="44" y="17"/>
                        <a:pt x="38" y="22"/>
                        <a:pt x="33" y="24"/>
                      </a:cubicBezTo>
                      <a:cubicBezTo>
                        <a:pt x="30" y="28"/>
                        <a:pt x="26" y="29"/>
                        <a:pt x="21" y="30"/>
                      </a:cubicBezTo>
                      <a:cubicBezTo>
                        <a:pt x="17" y="30"/>
                        <a:pt x="13" y="30"/>
                        <a:pt x="10" y="29"/>
                      </a:cubicBezTo>
                      <a:cubicBezTo>
                        <a:pt x="4" y="27"/>
                        <a:pt x="9" y="20"/>
                        <a:pt x="3" y="18"/>
                      </a:cubicBezTo>
                      <a:cubicBezTo>
                        <a:pt x="2" y="24"/>
                        <a:pt x="2" y="30"/>
                        <a:pt x="0" y="36"/>
                      </a:cubicBezTo>
                      <a:cubicBezTo>
                        <a:pt x="1" y="40"/>
                        <a:pt x="3" y="48"/>
                        <a:pt x="7" y="49"/>
                      </a:cubicBezTo>
                      <a:cubicBezTo>
                        <a:pt x="8" y="53"/>
                        <a:pt x="10" y="55"/>
                        <a:pt x="13" y="58"/>
                      </a:cubicBezTo>
                      <a:cubicBezTo>
                        <a:pt x="15" y="64"/>
                        <a:pt x="15" y="70"/>
                        <a:pt x="18" y="76"/>
                      </a:cubicBezTo>
                      <a:cubicBezTo>
                        <a:pt x="15" y="93"/>
                        <a:pt x="16" y="92"/>
                        <a:pt x="21" y="106"/>
                      </a:cubicBezTo>
                      <a:cubicBezTo>
                        <a:pt x="20" y="110"/>
                        <a:pt x="16" y="114"/>
                        <a:pt x="15" y="118"/>
                      </a:cubicBezTo>
                      <a:cubicBezTo>
                        <a:pt x="16" y="124"/>
                        <a:pt x="18" y="128"/>
                        <a:pt x="12" y="132"/>
                      </a:cubicBezTo>
                      <a:cubicBezTo>
                        <a:pt x="9" y="137"/>
                        <a:pt x="11" y="140"/>
                        <a:pt x="14" y="145"/>
                      </a:cubicBezTo>
                      <a:cubicBezTo>
                        <a:pt x="12" y="148"/>
                        <a:pt x="9" y="150"/>
                        <a:pt x="8" y="154"/>
                      </a:cubicBezTo>
                      <a:cubicBezTo>
                        <a:pt x="10" y="160"/>
                        <a:pt x="10" y="162"/>
                        <a:pt x="8" y="168"/>
                      </a:cubicBezTo>
                      <a:cubicBezTo>
                        <a:pt x="11" y="169"/>
                        <a:pt x="18" y="165"/>
                        <a:pt x="18" y="165"/>
                      </a:cubicBezTo>
                      <a:cubicBezTo>
                        <a:pt x="23" y="157"/>
                        <a:pt x="23" y="175"/>
                        <a:pt x="24" y="177"/>
                      </a:cubicBezTo>
                      <a:cubicBezTo>
                        <a:pt x="25" y="181"/>
                        <a:pt x="32" y="179"/>
                        <a:pt x="36" y="180"/>
                      </a:cubicBezTo>
                      <a:cubicBezTo>
                        <a:pt x="52" y="178"/>
                        <a:pt x="36" y="167"/>
                        <a:pt x="48" y="159"/>
                      </a:cubicBezTo>
                      <a:cubicBezTo>
                        <a:pt x="49" y="156"/>
                        <a:pt x="55" y="154"/>
                        <a:pt x="55" y="154"/>
                      </a:cubicBezTo>
                      <a:cubicBezTo>
                        <a:pt x="63" y="155"/>
                        <a:pt x="65" y="158"/>
                        <a:pt x="72" y="160"/>
                      </a:cubicBezTo>
                      <a:cubicBezTo>
                        <a:pt x="81" y="158"/>
                        <a:pt x="80" y="151"/>
                        <a:pt x="84" y="145"/>
                      </a:cubicBezTo>
                      <a:cubicBezTo>
                        <a:pt x="86" y="128"/>
                        <a:pt x="88" y="112"/>
                        <a:pt x="91" y="96"/>
                      </a:cubicBezTo>
                      <a:cubicBezTo>
                        <a:pt x="90" y="86"/>
                        <a:pt x="86" y="81"/>
                        <a:pt x="81" y="72"/>
                      </a:cubicBezTo>
                      <a:cubicBezTo>
                        <a:pt x="83" y="61"/>
                        <a:pt x="80" y="70"/>
                        <a:pt x="86" y="63"/>
                      </a:cubicBezTo>
                      <a:cubicBezTo>
                        <a:pt x="88" y="61"/>
                        <a:pt x="90" y="57"/>
                        <a:pt x="90" y="57"/>
                      </a:cubicBezTo>
                      <a:cubicBezTo>
                        <a:pt x="91" y="55"/>
                        <a:pt x="92" y="34"/>
                        <a:pt x="90" y="28"/>
                      </a:cubicBezTo>
                      <a:lnTo>
                        <a:pt x="79" y="21"/>
                      </a:lnTo>
                      <a:lnTo>
                        <a:pt x="79" y="4"/>
                      </a:lnTo>
                      <a:lnTo>
                        <a:pt x="61" y="0"/>
                      </a:lnTo>
                      <a:close/>
                    </a:path>
                  </a:pathLst>
                </a:custGeom>
                <a:grpFill/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orpoS" pitchFamily="2" charset="0"/>
                    <a:ea typeface="+mn-ea"/>
                  </a:endParaRPr>
                </a:p>
              </p:txBody>
            </p:sp>
            <p:sp>
              <p:nvSpPr>
                <p:cNvPr id="95" name="Freeform 50"/>
                <p:cNvSpPr>
                  <a:spLocks noChangeAspect="1"/>
                </p:cNvSpPr>
                <p:nvPr/>
              </p:nvSpPr>
              <p:spPr bwMode="auto">
                <a:xfrm>
                  <a:off x="2686" y="3330"/>
                  <a:ext cx="17" cy="14"/>
                </a:xfrm>
                <a:custGeom>
                  <a:avLst/>
                  <a:gdLst>
                    <a:gd name="T0" fmla="*/ 0 w 17"/>
                    <a:gd name="T1" fmla="*/ 3 h 14"/>
                    <a:gd name="T2" fmla="*/ 16 w 17"/>
                    <a:gd name="T3" fmla="*/ 2 h 14"/>
                    <a:gd name="T4" fmla="*/ 15 w 17"/>
                    <a:gd name="T5" fmla="*/ 14 h 14"/>
                    <a:gd name="T6" fmla="*/ 0 w 17"/>
                    <a:gd name="T7" fmla="*/ 3 h 14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7"/>
                    <a:gd name="T13" fmla="*/ 0 h 14"/>
                    <a:gd name="T14" fmla="*/ 17 w 17"/>
                    <a:gd name="T15" fmla="*/ 14 h 14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7" h="14">
                      <a:moveTo>
                        <a:pt x="0" y="3"/>
                      </a:moveTo>
                      <a:cubicBezTo>
                        <a:pt x="5" y="3"/>
                        <a:pt x="11" y="0"/>
                        <a:pt x="16" y="2"/>
                      </a:cubicBezTo>
                      <a:cubicBezTo>
                        <a:pt x="16" y="6"/>
                        <a:pt x="17" y="10"/>
                        <a:pt x="15" y="14"/>
                      </a:cubicBezTo>
                      <a:cubicBezTo>
                        <a:pt x="12" y="14"/>
                        <a:pt x="0" y="5"/>
                        <a:pt x="0" y="3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orpoS" pitchFamily="2" charset="0"/>
                    <a:ea typeface="+mn-ea"/>
                  </a:endParaRPr>
                </a:p>
              </p:txBody>
            </p:sp>
            <p:sp>
              <p:nvSpPr>
                <p:cNvPr id="96" name="Freeform 51"/>
                <p:cNvSpPr>
                  <a:spLocks noChangeAspect="1"/>
                </p:cNvSpPr>
                <p:nvPr/>
              </p:nvSpPr>
              <p:spPr bwMode="auto">
                <a:xfrm>
                  <a:off x="2499" y="3020"/>
                  <a:ext cx="660" cy="667"/>
                </a:xfrm>
                <a:custGeom>
                  <a:avLst/>
                  <a:gdLst>
                    <a:gd name="T0" fmla="*/ 355 w 660"/>
                    <a:gd name="T1" fmla="*/ 73 h 667"/>
                    <a:gd name="T2" fmla="*/ 353 w 660"/>
                    <a:gd name="T3" fmla="*/ 58 h 667"/>
                    <a:gd name="T4" fmla="*/ 302 w 660"/>
                    <a:gd name="T5" fmla="*/ 24 h 667"/>
                    <a:gd name="T6" fmla="*/ 280 w 660"/>
                    <a:gd name="T7" fmla="*/ 0 h 667"/>
                    <a:gd name="T8" fmla="*/ 211 w 660"/>
                    <a:gd name="T9" fmla="*/ 14 h 667"/>
                    <a:gd name="T10" fmla="*/ 184 w 660"/>
                    <a:gd name="T11" fmla="*/ 48 h 667"/>
                    <a:gd name="T12" fmla="*/ 155 w 660"/>
                    <a:gd name="T13" fmla="*/ 52 h 667"/>
                    <a:gd name="T14" fmla="*/ 137 w 660"/>
                    <a:gd name="T15" fmla="*/ 62 h 667"/>
                    <a:gd name="T16" fmla="*/ 118 w 660"/>
                    <a:gd name="T17" fmla="*/ 80 h 667"/>
                    <a:gd name="T18" fmla="*/ 88 w 660"/>
                    <a:gd name="T19" fmla="*/ 62 h 667"/>
                    <a:gd name="T20" fmla="*/ 53 w 660"/>
                    <a:gd name="T21" fmla="*/ 80 h 667"/>
                    <a:gd name="T22" fmla="*/ 22 w 660"/>
                    <a:gd name="T23" fmla="*/ 91 h 667"/>
                    <a:gd name="T24" fmla="*/ 5 w 660"/>
                    <a:gd name="T25" fmla="*/ 150 h 667"/>
                    <a:gd name="T26" fmla="*/ 32 w 660"/>
                    <a:gd name="T27" fmla="*/ 212 h 667"/>
                    <a:gd name="T28" fmla="*/ 64 w 660"/>
                    <a:gd name="T29" fmla="*/ 238 h 667"/>
                    <a:gd name="T30" fmla="*/ 100 w 660"/>
                    <a:gd name="T31" fmla="*/ 208 h 667"/>
                    <a:gd name="T32" fmla="*/ 131 w 660"/>
                    <a:gd name="T33" fmla="*/ 194 h 667"/>
                    <a:gd name="T34" fmla="*/ 176 w 660"/>
                    <a:gd name="T35" fmla="*/ 218 h 667"/>
                    <a:gd name="T36" fmla="*/ 236 w 660"/>
                    <a:gd name="T37" fmla="*/ 323 h 667"/>
                    <a:gd name="T38" fmla="*/ 266 w 660"/>
                    <a:gd name="T39" fmla="*/ 350 h 667"/>
                    <a:gd name="T40" fmla="*/ 335 w 660"/>
                    <a:gd name="T41" fmla="*/ 409 h 667"/>
                    <a:gd name="T42" fmla="*/ 388 w 660"/>
                    <a:gd name="T43" fmla="*/ 420 h 667"/>
                    <a:gd name="T44" fmla="*/ 424 w 660"/>
                    <a:gd name="T45" fmla="*/ 454 h 667"/>
                    <a:gd name="T46" fmla="*/ 502 w 660"/>
                    <a:gd name="T47" fmla="*/ 503 h 667"/>
                    <a:gd name="T48" fmla="*/ 535 w 660"/>
                    <a:gd name="T49" fmla="*/ 571 h 667"/>
                    <a:gd name="T50" fmla="*/ 527 w 660"/>
                    <a:gd name="T51" fmla="*/ 662 h 667"/>
                    <a:gd name="T52" fmla="*/ 551 w 660"/>
                    <a:gd name="T53" fmla="*/ 638 h 667"/>
                    <a:gd name="T54" fmla="*/ 592 w 660"/>
                    <a:gd name="T55" fmla="*/ 582 h 667"/>
                    <a:gd name="T56" fmla="*/ 557 w 660"/>
                    <a:gd name="T57" fmla="*/ 526 h 667"/>
                    <a:gd name="T58" fmla="*/ 583 w 660"/>
                    <a:gd name="T59" fmla="*/ 467 h 667"/>
                    <a:gd name="T60" fmla="*/ 635 w 660"/>
                    <a:gd name="T61" fmla="*/ 498 h 667"/>
                    <a:gd name="T62" fmla="*/ 659 w 660"/>
                    <a:gd name="T63" fmla="*/ 469 h 667"/>
                    <a:gd name="T64" fmla="*/ 608 w 660"/>
                    <a:gd name="T65" fmla="*/ 437 h 667"/>
                    <a:gd name="T66" fmla="*/ 566 w 660"/>
                    <a:gd name="T67" fmla="*/ 424 h 667"/>
                    <a:gd name="T68" fmla="*/ 516 w 660"/>
                    <a:gd name="T69" fmla="*/ 377 h 667"/>
                    <a:gd name="T70" fmla="*/ 469 w 660"/>
                    <a:gd name="T71" fmla="*/ 367 h 667"/>
                    <a:gd name="T72" fmla="*/ 398 w 660"/>
                    <a:gd name="T73" fmla="*/ 323 h 667"/>
                    <a:gd name="T74" fmla="*/ 350 w 660"/>
                    <a:gd name="T75" fmla="*/ 244 h 667"/>
                    <a:gd name="T76" fmla="*/ 314 w 660"/>
                    <a:gd name="T77" fmla="*/ 217 h 667"/>
                    <a:gd name="T78" fmla="*/ 305 w 660"/>
                    <a:gd name="T79" fmla="*/ 168 h 667"/>
                    <a:gd name="T80" fmla="*/ 299 w 660"/>
                    <a:gd name="T81" fmla="*/ 142 h 667"/>
                    <a:gd name="T82" fmla="*/ 336 w 660"/>
                    <a:gd name="T83" fmla="*/ 107 h 667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w 660"/>
                    <a:gd name="T127" fmla="*/ 0 h 667"/>
                    <a:gd name="T128" fmla="*/ 660 w 660"/>
                    <a:gd name="T129" fmla="*/ 667 h 667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T126" t="T127" r="T128" b="T129"/>
                  <a:pathLst>
                    <a:path w="660" h="667">
                      <a:moveTo>
                        <a:pt x="359" y="90"/>
                      </a:moveTo>
                      <a:cubicBezTo>
                        <a:pt x="360" y="87"/>
                        <a:pt x="362" y="80"/>
                        <a:pt x="362" y="80"/>
                      </a:cubicBezTo>
                      <a:cubicBezTo>
                        <a:pt x="360" y="75"/>
                        <a:pt x="360" y="74"/>
                        <a:pt x="355" y="73"/>
                      </a:cubicBezTo>
                      <a:cubicBezTo>
                        <a:pt x="354" y="71"/>
                        <a:pt x="356" y="69"/>
                        <a:pt x="357" y="68"/>
                      </a:cubicBezTo>
                      <a:cubicBezTo>
                        <a:pt x="358" y="67"/>
                        <a:pt x="361" y="66"/>
                        <a:pt x="360" y="64"/>
                      </a:cubicBezTo>
                      <a:cubicBezTo>
                        <a:pt x="359" y="61"/>
                        <a:pt x="353" y="58"/>
                        <a:pt x="353" y="58"/>
                      </a:cubicBezTo>
                      <a:cubicBezTo>
                        <a:pt x="352" y="54"/>
                        <a:pt x="365" y="41"/>
                        <a:pt x="358" y="36"/>
                      </a:cubicBezTo>
                      <a:cubicBezTo>
                        <a:pt x="345" y="32"/>
                        <a:pt x="327" y="33"/>
                        <a:pt x="314" y="30"/>
                      </a:cubicBezTo>
                      <a:cubicBezTo>
                        <a:pt x="310" y="28"/>
                        <a:pt x="302" y="24"/>
                        <a:pt x="302" y="24"/>
                      </a:cubicBezTo>
                      <a:cubicBezTo>
                        <a:pt x="299" y="21"/>
                        <a:pt x="294" y="14"/>
                        <a:pt x="294" y="14"/>
                      </a:cubicBezTo>
                      <a:cubicBezTo>
                        <a:pt x="293" y="10"/>
                        <a:pt x="293" y="7"/>
                        <a:pt x="289" y="6"/>
                      </a:cubicBezTo>
                      <a:cubicBezTo>
                        <a:pt x="286" y="1"/>
                        <a:pt x="285" y="1"/>
                        <a:pt x="280" y="0"/>
                      </a:cubicBezTo>
                      <a:cubicBezTo>
                        <a:pt x="266" y="5"/>
                        <a:pt x="257" y="6"/>
                        <a:pt x="241" y="7"/>
                      </a:cubicBezTo>
                      <a:cubicBezTo>
                        <a:pt x="238" y="11"/>
                        <a:pt x="236" y="15"/>
                        <a:pt x="233" y="19"/>
                      </a:cubicBezTo>
                      <a:cubicBezTo>
                        <a:pt x="224" y="18"/>
                        <a:pt x="219" y="18"/>
                        <a:pt x="211" y="14"/>
                      </a:cubicBezTo>
                      <a:cubicBezTo>
                        <a:pt x="199" y="19"/>
                        <a:pt x="206" y="22"/>
                        <a:pt x="200" y="31"/>
                      </a:cubicBezTo>
                      <a:cubicBezTo>
                        <a:pt x="198" y="38"/>
                        <a:pt x="195" y="36"/>
                        <a:pt x="188" y="37"/>
                      </a:cubicBezTo>
                      <a:cubicBezTo>
                        <a:pt x="187" y="41"/>
                        <a:pt x="185" y="44"/>
                        <a:pt x="184" y="48"/>
                      </a:cubicBezTo>
                      <a:cubicBezTo>
                        <a:pt x="182" y="51"/>
                        <a:pt x="177" y="51"/>
                        <a:pt x="174" y="53"/>
                      </a:cubicBezTo>
                      <a:cubicBezTo>
                        <a:pt x="171" y="54"/>
                        <a:pt x="164" y="61"/>
                        <a:pt x="164" y="61"/>
                      </a:cubicBezTo>
                      <a:cubicBezTo>
                        <a:pt x="162" y="54"/>
                        <a:pt x="162" y="54"/>
                        <a:pt x="155" y="52"/>
                      </a:cubicBezTo>
                      <a:cubicBezTo>
                        <a:pt x="154" y="50"/>
                        <a:pt x="154" y="48"/>
                        <a:pt x="151" y="48"/>
                      </a:cubicBezTo>
                      <a:cubicBezTo>
                        <a:pt x="149" y="48"/>
                        <a:pt x="145" y="50"/>
                        <a:pt x="145" y="50"/>
                      </a:cubicBezTo>
                      <a:cubicBezTo>
                        <a:pt x="143" y="55"/>
                        <a:pt x="141" y="58"/>
                        <a:pt x="137" y="62"/>
                      </a:cubicBezTo>
                      <a:cubicBezTo>
                        <a:pt x="135" y="69"/>
                        <a:pt x="131" y="75"/>
                        <a:pt x="128" y="82"/>
                      </a:cubicBezTo>
                      <a:cubicBezTo>
                        <a:pt x="126" y="86"/>
                        <a:pt x="124" y="94"/>
                        <a:pt x="124" y="94"/>
                      </a:cubicBezTo>
                      <a:cubicBezTo>
                        <a:pt x="122" y="92"/>
                        <a:pt x="118" y="80"/>
                        <a:pt x="118" y="80"/>
                      </a:cubicBezTo>
                      <a:cubicBezTo>
                        <a:pt x="117" y="71"/>
                        <a:pt x="119" y="68"/>
                        <a:pt x="110" y="66"/>
                      </a:cubicBezTo>
                      <a:cubicBezTo>
                        <a:pt x="108" y="59"/>
                        <a:pt x="107" y="55"/>
                        <a:pt x="100" y="53"/>
                      </a:cubicBezTo>
                      <a:cubicBezTo>
                        <a:pt x="95" y="55"/>
                        <a:pt x="94" y="60"/>
                        <a:pt x="88" y="62"/>
                      </a:cubicBezTo>
                      <a:cubicBezTo>
                        <a:pt x="85" y="66"/>
                        <a:pt x="85" y="72"/>
                        <a:pt x="82" y="76"/>
                      </a:cubicBezTo>
                      <a:cubicBezTo>
                        <a:pt x="80" y="79"/>
                        <a:pt x="73" y="80"/>
                        <a:pt x="73" y="80"/>
                      </a:cubicBezTo>
                      <a:cubicBezTo>
                        <a:pt x="65" y="79"/>
                        <a:pt x="61" y="78"/>
                        <a:pt x="53" y="80"/>
                      </a:cubicBezTo>
                      <a:cubicBezTo>
                        <a:pt x="48" y="81"/>
                        <a:pt x="40" y="85"/>
                        <a:pt x="40" y="85"/>
                      </a:cubicBezTo>
                      <a:cubicBezTo>
                        <a:pt x="34" y="84"/>
                        <a:pt x="28" y="81"/>
                        <a:pt x="23" y="85"/>
                      </a:cubicBezTo>
                      <a:cubicBezTo>
                        <a:pt x="25" y="92"/>
                        <a:pt x="24" y="86"/>
                        <a:pt x="22" y="91"/>
                      </a:cubicBezTo>
                      <a:cubicBezTo>
                        <a:pt x="23" y="101"/>
                        <a:pt x="26" y="117"/>
                        <a:pt x="32" y="125"/>
                      </a:cubicBezTo>
                      <a:cubicBezTo>
                        <a:pt x="19" y="136"/>
                        <a:pt x="18" y="139"/>
                        <a:pt x="2" y="140"/>
                      </a:cubicBezTo>
                      <a:cubicBezTo>
                        <a:pt x="0" y="145"/>
                        <a:pt x="0" y="148"/>
                        <a:pt x="5" y="150"/>
                      </a:cubicBezTo>
                      <a:cubicBezTo>
                        <a:pt x="7" y="159"/>
                        <a:pt x="16" y="157"/>
                        <a:pt x="25" y="158"/>
                      </a:cubicBezTo>
                      <a:cubicBezTo>
                        <a:pt x="30" y="165"/>
                        <a:pt x="20" y="179"/>
                        <a:pt x="17" y="186"/>
                      </a:cubicBezTo>
                      <a:cubicBezTo>
                        <a:pt x="19" y="199"/>
                        <a:pt x="21" y="205"/>
                        <a:pt x="32" y="212"/>
                      </a:cubicBezTo>
                      <a:cubicBezTo>
                        <a:pt x="41" y="211"/>
                        <a:pt x="51" y="209"/>
                        <a:pt x="59" y="214"/>
                      </a:cubicBezTo>
                      <a:cubicBezTo>
                        <a:pt x="62" y="219"/>
                        <a:pt x="56" y="232"/>
                        <a:pt x="50" y="234"/>
                      </a:cubicBezTo>
                      <a:cubicBezTo>
                        <a:pt x="46" y="243"/>
                        <a:pt x="58" y="239"/>
                        <a:pt x="64" y="238"/>
                      </a:cubicBezTo>
                      <a:cubicBezTo>
                        <a:pt x="70" y="234"/>
                        <a:pt x="78" y="234"/>
                        <a:pt x="83" y="230"/>
                      </a:cubicBezTo>
                      <a:cubicBezTo>
                        <a:pt x="86" y="228"/>
                        <a:pt x="90" y="221"/>
                        <a:pt x="90" y="221"/>
                      </a:cubicBezTo>
                      <a:cubicBezTo>
                        <a:pt x="91" y="217"/>
                        <a:pt x="95" y="210"/>
                        <a:pt x="100" y="208"/>
                      </a:cubicBezTo>
                      <a:cubicBezTo>
                        <a:pt x="102" y="205"/>
                        <a:pt x="105" y="202"/>
                        <a:pt x="107" y="200"/>
                      </a:cubicBezTo>
                      <a:cubicBezTo>
                        <a:pt x="109" y="198"/>
                        <a:pt x="113" y="196"/>
                        <a:pt x="113" y="196"/>
                      </a:cubicBezTo>
                      <a:cubicBezTo>
                        <a:pt x="118" y="189"/>
                        <a:pt x="115" y="191"/>
                        <a:pt x="131" y="194"/>
                      </a:cubicBezTo>
                      <a:cubicBezTo>
                        <a:pt x="136" y="195"/>
                        <a:pt x="141" y="201"/>
                        <a:pt x="145" y="203"/>
                      </a:cubicBezTo>
                      <a:cubicBezTo>
                        <a:pt x="151" y="206"/>
                        <a:pt x="160" y="209"/>
                        <a:pt x="166" y="210"/>
                      </a:cubicBezTo>
                      <a:cubicBezTo>
                        <a:pt x="170" y="213"/>
                        <a:pt x="172" y="215"/>
                        <a:pt x="176" y="218"/>
                      </a:cubicBezTo>
                      <a:cubicBezTo>
                        <a:pt x="180" y="224"/>
                        <a:pt x="187" y="227"/>
                        <a:pt x="190" y="235"/>
                      </a:cubicBezTo>
                      <a:cubicBezTo>
                        <a:pt x="205" y="250"/>
                        <a:pt x="194" y="277"/>
                        <a:pt x="212" y="289"/>
                      </a:cubicBezTo>
                      <a:cubicBezTo>
                        <a:pt x="219" y="304"/>
                        <a:pt x="230" y="314"/>
                        <a:pt x="236" y="323"/>
                      </a:cubicBezTo>
                      <a:cubicBezTo>
                        <a:pt x="238" y="326"/>
                        <a:pt x="248" y="341"/>
                        <a:pt x="250" y="342"/>
                      </a:cubicBezTo>
                      <a:cubicBezTo>
                        <a:pt x="252" y="343"/>
                        <a:pt x="256" y="344"/>
                        <a:pt x="256" y="344"/>
                      </a:cubicBezTo>
                      <a:cubicBezTo>
                        <a:pt x="259" y="347"/>
                        <a:pt x="263" y="348"/>
                        <a:pt x="266" y="350"/>
                      </a:cubicBezTo>
                      <a:cubicBezTo>
                        <a:pt x="272" y="355"/>
                        <a:pt x="285" y="364"/>
                        <a:pt x="294" y="372"/>
                      </a:cubicBezTo>
                      <a:cubicBezTo>
                        <a:pt x="304" y="377"/>
                        <a:pt x="311" y="392"/>
                        <a:pt x="322" y="398"/>
                      </a:cubicBezTo>
                      <a:cubicBezTo>
                        <a:pt x="324" y="404"/>
                        <a:pt x="329" y="407"/>
                        <a:pt x="335" y="409"/>
                      </a:cubicBezTo>
                      <a:cubicBezTo>
                        <a:pt x="340" y="417"/>
                        <a:pt x="345" y="419"/>
                        <a:pt x="352" y="424"/>
                      </a:cubicBezTo>
                      <a:cubicBezTo>
                        <a:pt x="365" y="422"/>
                        <a:pt x="364" y="421"/>
                        <a:pt x="373" y="418"/>
                      </a:cubicBezTo>
                      <a:cubicBezTo>
                        <a:pt x="378" y="418"/>
                        <a:pt x="384" y="416"/>
                        <a:pt x="388" y="420"/>
                      </a:cubicBezTo>
                      <a:cubicBezTo>
                        <a:pt x="391" y="423"/>
                        <a:pt x="395" y="428"/>
                        <a:pt x="395" y="428"/>
                      </a:cubicBezTo>
                      <a:cubicBezTo>
                        <a:pt x="397" y="435"/>
                        <a:pt x="398" y="442"/>
                        <a:pt x="400" y="449"/>
                      </a:cubicBezTo>
                      <a:cubicBezTo>
                        <a:pt x="405" y="453"/>
                        <a:pt x="415" y="452"/>
                        <a:pt x="424" y="454"/>
                      </a:cubicBezTo>
                      <a:cubicBezTo>
                        <a:pt x="432" y="460"/>
                        <a:pt x="442" y="458"/>
                        <a:pt x="452" y="460"/>
                      </a:cubicBezTo>
                      <a:cubicBezTo>
                        <a:pt x="457" y="468"/>
                        <a:pt x="458" y="489"/>
                        <a:pt x="467" y="492"/>
                      </a:cubicBezTo>
                      <a:cubicBezTo>
                        <a:pt x="475" y="503"/>
                        <a:pt x="489" y="501"/>
                        <a:pt x="502" y="503"/>
                      </a:cubicBezTo>
                      <a:cubicBezTo>
                        <a:pt x="508" y="511"/>
                        <a:pt x="514" y="524"/>
                        <a:pt x="516" y="534"/>
                      </a:cubicBezTo>
                      <a:cubicBezTo>
                        <a:pt x="517" y="539"/>
                        <a:pt x="522" y="547"/>
                        <a:pt x="522" y="547"/>
                      </a:cubicBezTo>
                      <a:cubicBezTo>
                        <a:pt x="524" y="553"/>
                        <a:pt x="530" y="566"/>
                        <a:pt x="535" y="571"/>
                      </a:cubicBezTo>
                      <a:cubicBezTo>
                        <a:pt x="539" y="584"/>
                        <a:pt x="534" y="599"/>
                        <a:pt x="523" y="607"/>
                      </a:cubicBezTo>
                      <a:cubicBezTo>
                        <a:pt x="519" y="620"/>
                        <a:pt x="516" y="633"/>
                        <a:pt x="515" y="647"/>
                      </a:cubicBezTo>
                      <a:cubicBezTo>
                        <a:pt x="516" y="658"/>
                        <a:pt x="517" y="659"/>
                        <a:pt x="527" y="662"/>
                      </a:cubicBezTo>
                      <a:cubicBezTo>
                        <a:pt x="534" y="661"/>
                        <a:pt x="531" y="667"/>
                        <a:pt x="535" y="662"/>
                      </a:cubicBezTo>
                      <a:cubicBezTo>
                        <a:pt x="536" y="658"/>
                        <a:pt x="538" y="656"/>
                        <a:pt x="541" y="653"/>
                      </a:cubicBezTo>
                      <a:cubicBezTo>
                        <a:pt x="543" y="648"/>
                        <a:pt x="547" y="642"/>
                        <a:pt x="551" y="638"/>
                      </a:cubicBezTo>
                      <a:cubicBezTo>
                        <a:pt x="553" y="631"/>
                        <a:pt x="559" y="627"/>
                        <a:pt x="560" y="620"/>
                      </a:cubicBezTo>
                      <a:cubicBezTo>
                        <a:pt x="562" y="606"/>
                        <a:pt x="566" y="589"/>
                        <a:pt x="582" y="586"/>
                      </a:cubicBezTo>
                      <a:cubicBezTo>
                        <a:pt x="585" y="584"/>
                        <a:pt x="592" y="582"/>
                        <a:pt x="592" y="582"/>
                      </a:cubicBezTo>
                      <a:cubicBezTo>
                        <a:pt x="592" y="581"/>
                        <a:pt x="595" y="576"/>
                        <a:pt x="595" y="575"/>
                      </a:cubicBezTo>
                      <a:cubicBezTo>
                        <a:pt x="595" y="568"/>
                        <a:pt x="595" y="561"/>
                        <a:pt x="594" y="554"/>
                      </a:cubicBezTo>
                      <a:cubicBezTo>
                        <a:pt x="592" y="532"/>
                        <a:pt x="571" y="535"/>
                        <a:pt x="557" y="526"/>
                      </a:cubicBezTo>
                      <a:cubicBezTo>
                        <a:pt x="556" y="523"/>
                        <a:pt x="554" y="520"/>
                        <a:pt x="553" y="517"/>
                      </a:cubicBezTo>
                      <a:cubicBezTo>
                        <a:pt x="554" y="494"/>
                        <a:pt x="556" y="491"/>
                        <a:pt x="563" y="479"/>
                      </a:cubicBezTo>
                      <a:cubicBezTo>
                        <a:pt x="566" y="471"/>
                        <a:pt x="575" y="468"/>
                        <a:pt x="583" y="467"/>
                      </a:cubicBezTo>
                      <a:cubicBezTo>
                        <a:pt x="595" y="468"/>
                        <a:pt x="592" y="471"/>
                        <a:pt x="601" y="474"/>
                      </a:cubicBezTo>
                      <a:cubicBezTo>
                        <a:pt x="607" y="474"/>
                        <a:pt x="628" y="469"/>
                        <a:pt x="630" y="478"/>
                      </a:cubicBezTo>
                      <a:cubicBezTo>
                        <a:pt x="629" y="484"/>
                        <a:pt x="627" y="495"/>
                        <a:pt x="635" y="498"/>
                      </a:cubicBezTo>
                      <a:cubicBezTo>
                        <a:pt x="639" y="506"/>
                        <a:pt x="649" y="504"/>
                        <a:pt x="656" y="509"/>
                      </a:cubicBezTo>
                      <a:cubicBezTo>
                        <a:pt x="659" y="501"/>
                        <a:pt x="659" y="498"/>
                        <a:pt x="660" y="490"/>
                      </a:cubicBezTo>
                      <a:cubicBezTo>
                        <a:pt x="660" y="483"/>
                        <a:pt x="660" y="476"/>
                        <a:pt x="659" y="469"/>
                      </a:cubicBezTo>
                      <a:cubicBezTo>
                        <a:pt x="658" y="464"/>
                        <a:pt x="644" y="462"/>
                        <a:pt x="644" y="462"/>
                      </a:cubicBezTo>
                      <a:cubicBezTo>
                        <a:pt x="638" y="450"/>
                        <a:pt x="632" y="450"/>
                        <a:pt x="622" y="443"/>
                      </a:cubicBezTo>
                      <a:cubicBezTo>
                        <a:pt x="618" y="440"/>
                        <a:pt x="608" y="437"/>
                        <a:pt x="608" y="437"/>
                      </a:cubicBezTo>
                      <a:cubicBezTo>
                        <a:pt x="604" y="434"/>
                        <a:pt x="595" y="431"/>
                        <a:pt x="595" y="431"/>
                      </a:cubicBezTo>
                      <a:cubicBezTo>
                        <a:pt x="591" y="425"/>
                        <a:pt x="584" y="427"/>
                        <a:pt x="578" y="426"/>
                      </a:cubicBezTo>
                      <a:cubicBezTo>
                        <a:pt x="574" y="425"/>
                        <a:pt x="570" y="425"/>
                        <a:pt x="566" y="424"/>
                      </a:cubicBezTo>
                      <a:cubicBezTo>
                        <a:pt x="556" y="420"/>
                        <a:pt x="527" y="408"/>
                        <a:pt x="518" y="403"/>
                      </a:cubicBezTo>
                      <a:cubicBezTo>
                        <a:pt x="512" y="401"/>
                        <a:pt x="512" y="399"/>
                        <a:pt x="509" y="394"/>
                      </a:cubicBezTo>
                      <a:cubicBezTo>
                        <a:pt x="511" y="388"/>
                        <a:pt x="513" y="383"/>
                        <a:pt x="516" y="377"/>
                      </a:cubicBezTo>
                      <a:cubicBezTo>
                        <a:pt x="517" y="375"/>
                        <a:pt x="520" y="362"/>
                        <a:pt x="520" y="362"/>
                      </a:cubicBezTo>
                      <a:cubicBezTo>
                        <a:pt x="518" y="351"/>
                        <a:pt x="509" y="361"/>
                        <a:pt x="499" y="360"/>
                      </a:cubicBezTo>
                      <a:cubicBezTo>
                        <a:pt x="485" y="362"/>
                        <a:pt x="483" y="368"/>
                        <a:pt x="469" y="367"/>
                      </a:cubicBezTo>
                      <a:cubicBezTo>
                        <a:pt x="457" y="363"/>
                        <a:pt x="434" y="351"/>
                        <a:pt x="422" y="347"/>
                      </a:cubicBezTo>
                      <a:cubicBezTo>
                        <a:pt x="417" y="342"/>
                        <a:pt x="412" y="339"/>
                        <a:pt x="407" y="334"/>
                      </a:cubicBezTo>
                      <a:cubicBezTo>
                        <a:pt x="406" y="330"/>
                        <a:pt x="402" y="325"/>
                        <a:pt x="398" y="323"/>
                      </a:cubicBezTo>
                      <a:cubicBezTo>
                        <a:pt x="387" y="307"/>
                        <a:pt x="395" y="279"/>
                        <a:pt x="378" y="268"/>
                      </a:cubicBezTo>
                      <a:cubicBezTo>
                        <a:pt x="377" y="264"/>
                        <a:pt x="365" y="254"/>
                        <a:pt x="361" y="253"/>
                      </a:cubicBezTo>
                      <a:cubicBezTo>
                        <a:pt x="358" y="249"/>
                        <a:pt x="350" y="244"/>
                        <a:pt x="350" y="244"/>
                      </a:cubicBezTo>
                      <a:cubicBezTo>
                        <a:pt x="347" y="239"/>
                        <a:pt x="341" y="235"/>
                        <a:pt x="335" y="233"/>
                      </a:cubicBezTo>
                      <a:cubicBezTo>
                        <a:pt x="332" y="230"/>
                        <a:pt x="330" y="227"/>
                        <a:pt x="326" y="226"/>
                      </a:cubicBezTo>
                      <a:cubicBezTo>
                        <a:pt x="323" y="222"/>
                        <a:pt x="319" y="218"/>
                        <a:pt x="314" y="217"/>
                      </a:cubicBezTo>
                      <a:cubicBezTo>
                        <a:pt x="310" y="215"/>
                        <a:pt x="311" y="212"/>
                        <a:pt x="307" y="210"/>
                      </a:cubicBezTo>
                      <a:cubicBezTo>
                        <a:pt x="306" y="202"/>
                        <a:pt x="304" y="194"/>
                        <a:pt x="301" y="187"/>
                      </a:cubicBezTo>
                      <a:cubicBezTo>
                        <a:pt x="305" y="155"/>
                        <a:pt x="302" y="181"/>
                        <a:pt x="305" y="168"/>
                      </a:cubicBezTo>
                      <a:cubicBezTo>
                        <a:pt x="306" y="165"/>
                        <a:pt x="307" y="158"/>
                        <a:pt x="307" y="158"/>
                      </a:cubicBezTo>
                      <a:cubicBezTo>
                        <a:pt x="307" y="155"/>
                        <a:pt x="307" y="151"/>
                        <a:pt x="305" y="148"/>
                      </a:cubicBezTo>
                      <a:cubicBezTo>
                        <a:pt x="303" y="146"/>
                        <a:pt x="299" y="142"/>
                        <a:pt x="299" y="142"/>
                      </a:cubicBezTo>
                      <a:cubicBezTo>
                        <a:pt x="298" y="138"/>
                        <a:pt x="295" y="137"/>
                        <a:pt x="294" y="133"/>
                      </a:cubicBezTo>
                      <a:cubicBezTo>
                        <a:pt x="296" y="126"/>
                        <a:pt x="294" y="128"/>
                        <a:pt x="299" y="125"/>
                      </a:cubicBezTo>
                      <a:cubicBezTo>
                        <a:pt x="303" y="114"/>
                        <a:pt x="326" y="109"/>
                        <a:pt x="336" y="107"/>
                      </a:cubicBezTo>
                      <a:cubicBezTo>
                        <a:pt x="339" y="105"/>
                        <a:pt x="346" y="100"/>
                        <a:pt x="346" y="100"/>
                      </a:cubicBezTo>
                      <a:cubicBezTo>
                        <a:pt x="349" y="96"/>
                        <a:pt x="354" y="92"/>
                        <a:pt x="359" y="90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orpoS" pitchFamily="2" charset="0"/>
                    <a:ea typeface="+mn-ea"/>
                  </a:endParaRPr>
                </a:p>
              </p:txBody>
            </p:sp>
          </p:grpSp>
        </p:grpSp>
        <p:grpSp>
          <p:nvGrpSpPr>
            <p:cNvPr id="17" name="Group 52"/>
            <p:cNvGrpSpPr>
              <a:grpSpLocks noChangeAspect="1"/>
            </p:cNvGrpSpPr>
            <p:nvPr/>
          </p:nvGrpSpPr>
          <p:grpSpPr bwMode="auto">
            <a:xfrm>
              <a:off x="1502" y="3309"/>
              <a:ext cx="714" cy="596"/>
              <a:chOff x="1648" y="3145"/>
              <a:chExt cx="707" cy="590"/>
            </a:xfrm>
            <a:grpFill/>
          </p:grpSpPr>
          <p:sp>
            <p:nvSpPr>
              <p:cNvPr id="87" name="Freeform 53"/>
              <p:cNvSpPr>
                <a:spLocks noChangeAspect="1"/>
              </p:cNvSpPr>
              <p:nvPr/>
            </p:nvSpPr>
            <p:spPr bwMode="auto">
              <a:xfrm>
                <a:off x="2167" y="3576"/>
                <a:ext cx="27" cy="21"/>
              </a:xfrm>
              <a:custGeom>
                <a:avLst/>
                <a:gdLst>
                  <a:gd name="T0" fmla="*/ 25 w 27"/>
                  <a:gd name="T1" fmla="*/ 0 h 21"/>
                  <a:gd name="T2" fmla="*/ 0 w 27"/>
                  <a:gd name="T3" fmla="*/ 10 h 21"/>
                  <a:gd name="T4" fmla="*/ 10 w 27"/>
                  <a:gd name="T5" fmla="*/ 20 h 21"/>
                  <a:gd name="T6" fmla="*/ 27 w 27"/>
                  <a:gd name="T7" fmla="*/ 15 h 21"/>
                  <a:gd name="T8" fmla="*/ 19 w 27"/>
                  <a:gd name="T9" fmla="*/ 1 h 21"/>
                  <a:gd name="T10" fmla="*/ 9 w 27"/>
                  <a:gd name="T11" fmla="*/ 3 h 21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7"/>
                  <a:gd name="T19" fmla="*/ 0 h 21"/>
                  <a:gd name="T20" fmla="*/ 27 w 27"/>
                  <a:gd name="T21" fmla="*/ 21 h 21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7" h="21">
                    <a:moveTo>
                      <a:pt x="25" y="0"/>
                    </a:moveTo>
                    <a:cubicBezTo>
                      <a:pt x="5" y="2"/>
                      <a:pt x="12" y="2"/>
                      <a:pt x="0" y="10"/>
                    </a:cubicBezTo>
                    <a:cubicBezTo>
                      <a:pt x="1" y="15"/>
                      <a:pt x="10" y="20"/>
                      <a:pt x="10" y="20"/>
                    </a:cubicBezTo>
                    <a:cubicBezTo>
                      <a:pt x="16" y="19"/>
                      <a:pt x="23" y="21"/>
                      <a:pt x="27" y="15"/>
                    </a:cubicBezTo>
                    <a:cubicBezTo>
                      <a:pt x="25" y="10"/>
                      <a:pt x="24" y="3"/>
                      <a:pt x="19" y="1"/>
                    </a:cubicBezTo>
                    <a:cubicBezTo>
                      <a:pt x="16" y="2"/>
                      <a:pt x="9" y="3"/>
                      <a:pt x="9" y="3"/>
                    </a:cubicBezTo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88" name="Freeform 54"/>
              <p:cNvSpPr>
                <a:spLocks noChangeAspect="1"/>
              </p:cNvSpPr>
              <p:nvPr/>
            </p:nvSpPr>
            <p:spPr bwMode="auto">
              <a:xfrm>
                <a:off x="2178" y="3606"/>
                <a:ext cx="23" cy="9"/>
              </a:xfrm>
              <a:custGeom>
                <a:avLst/>
                <a:gdLst>
                  <a:gd name="T0" fmla="*/ 1 w 23"/>
                  <a:gd name="T1" fmla="*/ 0 h 9"/>
                  <a:gd name="T2" fmla="*/ 3 w 23"/>
                  <a:gd name="T3" fmla="*/ 7 h 9"/>
                  <a:gd name="T4" fmla="*/ 1 w 23"/>
                  <a:gd name="T5" fmla="*/ 0 h 9"/>
                  <a:gd name="T6" fmla="*/ 0 60000 65536"/>
                  <a:gd name="T7" fmla="*/ 0 60000 65536"/>
                  <a:gd name="T8" fmla="*/ 0 60000 65536"/>
                  <a:gd name="T9" fmla="*/ 0 w 23"/>
                  <a:gd name="T10" fmla="*/ 0 h 9"/>
                  <a:gd name="T11" fmla="*/ 23 w 23"/>
                  <a:gd name="T12" fmla="*/ 9 h 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3" h="9">
                    <a:moveTo>
                      <a:pt x="1" y="0"/>
                    </a:moveTo>
                    <a:cubicBezTo>
                      <a:pt x="23" y="2"/>
                      <a:pt x="19" y="9"/>
                      <a:pt x="3" y="7"/>
                    </a:cubicBezTo>
                    <a:cubicBezTo>
                      <a:pt x="0" y="3"/>
                      <a:pt x="1" y="5"/>
                      <a:pt x="1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89" name="Freeform 55"/>
              <p:cNvSpPr>
                <a:spLocks noChangeAspect="1"/>
              </p:cNvSpPr>
              <p:nvPr/>
            </p:nvSpPr>
            <p:spPr bwMode="auto">
              <a:xfrm>
                <a:off x="2239" y="3523"/>
                <a:ext cx="64" cy="50"/>
              </a:xfrm>
              <a:custGeom>
                <a:avLst/>
                <a:gdLst>
                  <a:gd name="T0" fmla="*/ 3 w 64"/>
                  <a:gd name="T1" fmla="*/ 19 h 50"/>
                  <a:gd name="T2" fmla="*/ 18 w 64"/>
                  <a:gd name="T3" fmla="*/ 14 h 50"/>
                  <a:gd name="T4" fmla="*/ 30 w 64"/>
                  <a:gd name="T5" fmla="*/ 6 h 50"/>
                  <a:gd name="T6" fmla="*/ 44 w 64"/>
                  <a:gd name="T7" fmla="*/ 0 h 50"/>
                  <a:gd name="T8" fmla="*/ 52 w 64"/>
                  <a:gd name="T9" fmla="*/ 21 h 50"/>
                  <a:gd name="T10" fmla="*/ 64 w 64"/>
                  <a:gd name="T11" fmla="*/ 18 h 50"/>
                  <a:gd name="T12" fmla="*/ 58 w 64"/>
                  <a:gd name="T13" fmla="*/ 32 h 50"/>
                  <a:gd name="T14" fmla="*/ 56 w 64"/>
                  <a:gd name="T15" fmla="*/ 35 h 50"/>
                  <a:gd name="T16" fmla="*/ 52 w 64"/>
                  <a:gd name="T17" fmla="*/ 37 h 50"/>
                  <a:gd name="T18" fmla="*/ 40 w 64"/>
                  <a:gd name="T19" fmla="*/ 50 h 50"/>
                  <a:gd name="T20" fmla="*/ 26 w 64"/>
                  <a:gd name="T21" fmla="*/ 42 h 50"/>
                  <a:gd name="T22" fmla="*/ 19 w 64"/>
                  <a:gd name="T23" fmla="*/ 31 h 50"/>
                  <a:gd name="T24" fmla="*/ 0 w 64"/>
                  <a:gd name="T25" fmla="*/ 25 h 50"/>
                  <a:gd name="T26" fmla="*/ 15 w 64"/>
                  <a:gd name="T27" fmla="*/ 15 h 50"/>
                  <a:gd name="T28" fmla="*/ 18 w 64"/>
                  <a:gd name="T29" fmla="*/ 14 h 50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64"/>
                  <a:gd name="T46" fmla="*/ 0 h 50"/>
                  <a:gd name="T47" fmla="*/ 64 w 64"/>
                  <a:gd name="T48" fmla="*/ 50 h 50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64" h="50">
                    <a:moveTo>
                      <a:pt x="3" y="19"/>
                    </a:moveTo>
                    <a:cubicBezTo>
                      <a:pt x="8" y="17"/>
                      <a:pt x="13" y="16"/>
                      <a:pt x="18" y="14"/>
                    </a:cubicBezTo>
                    <a:cubicBezTo>
                      <a:pt x="23" y="12"/>
                      <a:pt x="25" y="8"/>
                      <a:pt x="30" y="6"/>
                    </a:cubicBezTo>
                    <a:cubicBezTo>
                      <a:pt x="33" y="2"/>
                      <a:pt x="44" y="0"/>
                      <a:pt x="44" y="0"/>
                    </a:cubicBezTo>
                    <a:cubicBezTo>
                      <a:pt x="55" y="3"/>
                      <a:pt x="43" y="15"/>
                      <a:pt x="52" y="21"/>
                    </a:cubicBezTo>
                    <a:cubicBezTo>
                      <a:pt x="60" y="16"/>
                      <a:pt x="56" y="17"/>
                      <a:pt x="64" y="18"/>
                    </a:cubicBezTo>
                    <a:cubicBezTo>
                      <a:pt x="63" y="24"/>
                      <a:pt x="63" y="29"/>
                      <a:pt x="58" y="32"/>
                    </a:cubicBezTo>
                    <a:cubicBezTo>
                      <a:pt x="57" y="33"/>
                      <a:pt x="57" y="34"/>
                      <a:pt x="56" y="35"/>
                    </a:cubicBezTo>
                    <a:cubicBezTo>
                      <a:pt x="55" y="36"/>
                      <a:pt x="53" y="36"/>
                      <a:pt x="52" y="37"/>
                    </a:cubicBezTo>
                    <a:cubicBezTo>
                      <a:pt x="45" y="45"/>
                      <a:pt x="52" y="44"/>
                      <a:pt x="40" y="50"/>
                    </a:cubicBezTo>
                    <a:cubicBezTo>
                      <a:pt x="35" y="46"/>
                      <a:pt x="33" y="43"/>
                      <a:pt x="26" y="42"/>
                    </a:cubicBezTo>
                    <a:cubicBezTo>
                      <a:pt x="24" y="36"/>
                      <a:pt x="24" y="34"/>
                      <a:pt x="19" y="31"/>
                    </a:cubicBezTo>
                    <a:cubicBezTo>
                      <a:pt x="3" y="32"/>
                      <a:pt x="0" y="38"/>
                      <a:pt x="0" y="25"/>
                    </a:cubicBezTo>
                    <a:cubicBezTo>
                      <a:pt x="0" y="19"/>
                      <a:pt x="10" y="17"/>
                      <a:pt x="15" y="15"/>
                    </a:cubicBezTo>
                    <a:cubicBezTo>
                      <a:pt x="16" y="15"/>
                      <a:pt x="18" y="14"/>
                      <a:pt x="18" y="14"/>
                    </a:cubicBezTo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90" name="Freeform 56"/>
              <p:cNvSpPr>
                <a:spLocks noChangeAspect="1"/>
              </p:cNvSpPr>
              <p:nvPr/>
            </p:nvSpPr>
            <p:spPr bwMode="auto">
              <a:xfrm>
                <a:off x="2324" y="3522"/>
                <a:ext cx="31" cy="24"/>
              </a:xfrm>
              <a:custGeom>
                <a:avLst/>
                <a:gdLst>
                  <a:gd name="T0" fmla="*/ 1 w 31"/>
                  <a:gd name="T1" fmla="*/ 0 h 24"/>
                  <a:gd name="T2" fmla="*/ 24 w 31"/>
                  <a:gd name="T3" fmla="*/ 1 h 24"/>
                  <a:gd name="T4" fmla="*/ 29 w 31"/>
                  <a:gd name="T5" fmla="*/ 21 h 24"/>
                  <a:gd name="T6" fmla="*/ 19 w 31"/>
                  <a:gd name="T7" fmla="*/ 13 h 24"/>
                  <a:gd name="T8" fmla="*/ 6 w 31"/>
                  <a:gd name="T9" fmla="*/ 10 h 24"/>
                  <a:gd name="T10" fmla="*/ 1 w 31"/>
                  <a:gd name="T11" fmla="*/ 0 h 2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1"/>
                  <a:gd name="T19" fmla="*/ 0 h 24"/>
                  <a:gd name="T20" fmla="*/ 31 w 31"/>
                  <a:gd name="T21" fmla="*/ 24 h 2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1" h="24">
                    <a:moveTo>
                      <a:pt x="1" y="0"/>
                    </a:moveTo>
                    <a:cubicBezTo>
                      <a:pt x="9" y="0"/>
                      <a:pt x="16" y="0"/>
                      <a:pt x="24" y="1"/>
                    </a:cubicBezTo>
                    <a:cubicBezTo>
                      <a:pt x="31" y="2"/>
                      <a:pt x="29" y="21"/>
                      <a:pt x="29" y="21"/>
                    </a:cubicBezTo>
                    <a:cubicBezTo>
                      <a:pt x="21" y="24"/>
                      <a:pt x="24" y="16"/>
                      <a:pt x="19" y="13"/>
                    </a:cubicBezTo>
                    <a:cubicBezTo>
                      <a:pt x="15" y="11"/>
                      <a:pt x="10" y="11"/>
                      <a:pt x="6" y="10"/>
                    </a:cubicBezTo>
                    <a:cubicBezTo>
                      <a:pt x="0" y="6"/>
                      <a:pt x="0" y="9"/>
                      <a:pt x="1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91" name="Freeform 57"/>
              <p:cNvSpPr>
                <a:spLocks noChangeAspect="1"/>
              </p:cNvSpPr>
              <p:nvPr/>
            </p:nvSpPr>
            <p:spPr bwMode="auto">
              <a:xfrm>
                <a:off x="1648" y="3145"/>
                <a:ext cx="665" cy="590"/>
              </a:xfrm>
              <a:custGeom>
                <a:avLst/>
                <a:gdLst>
                  <a:gd name="T0" fmla="*/ 395 w 665"/>
                  <a:gd name="T1" fmla="*/ 96 h 590"/>
                  <a:gd name="T2" fmla="*/ 361 w 665"/>
                  <a:gd name="T3" fmla="*/ 90 h 590"/>
                  <a:gd name="T4" fmla="*/ 337 w 665"/>
                  <a:gd name="T5" fmla="*/ 86 h 590"/>
                  <a:gd name="T6" fmla="*/ 310 w 665"/>
                  <a:gd name="T7" fmla="*/ 71 h 590"/>
                  <a:gd name="T8" fmla="*/ 258 w 665"/>
                  <a:gd name="T9" fmla="*/ 61 h 590"/>
                  <a:gd name="T10" fmla="*/ 220 w 665"/>
                  <a:gd name="T11" fmla="*/ 53 h 590"/>
                  <a:gd name="T12" fmla="*/ 137 w 665"/>
                  <a:gd name="T13" fmla="*/ 26 h 590"/>
                  <a:gd name="T14" fmla="*/ 90 w 665"/>
                  <a:gd name="T15" fmla="*/ 2 h 590"/>
                  <a:gd name="T16" fmla="*/ 66 w 665"/>
                  <a:gd name="T17" fmla="*/ 18 h 590"/>
                  <a:gd name="T18" fmla="*/ 40 w 665"/>
                  <a:gd name="T19" fmla="*/ 23 h 590"/>
                  <a:gd name="T20" fmla="*/ 15 w 665"/>
                  <a:gd name="T21" fmla="*/ 20 h 590"/>
                  <a:gd name="T22" fmla="*/ 12 w 665"/>
                  <a:gd name="T23" fmla="*/ 102 h 590"/>
                  <a:gd name="T24" fmla="*/ 29 w 665"/>
                  <a:gd name="T25" fmla="*/ 115 h 590"/>
                  <a:gd name="T26" fmla="*/ 43 w 665"/>
                  <a:gd name="T27" fmla="*/ 133 h 590"/>
                  <a:gd name="T28" fmla="*/ 129 w 665"/>
                  <a:gd name="T29" fmla="*/ 147 h 590"/>
                  <a:gd name="T30" fmla="*/ 138 w 665"/>
                  <a:gd name="T31" fmla="*/ 182 h 590"/>
                  <a:gd name="T32" fmla="*/ 99 w 665"/>
                  <a:gd name="T33" fmla="*/ 212 h 590"/>
                  <a:gd name="T34" fmla="*/ 91 w 665"/>
                  <a:gd name="T35" fmla="*/ 247 h 590"/>
                  <a:gd name="T36" fmla="*/ 82 w 665"/>
                  <a:gd name="T37" fmla="*/ 275 h 590"/>
                  <a:gd name="T38" fmla="*/ 63 w 665"/>
                  <a:gd name="T39" fmla="*/ 303 h 590"/>
                  <a:gd name="T40" fmla="*/ 45 w 665"/>
                  <a:gd name="T41" fmla="*/ 309 h 590"/>
                  <a:gd name="T42" fmla="*/ 48 w 665"/>
                  <a:gd name="T43" fmla="*/ 362 h 590"/>
                  <a:gd name="T44" fmla="*/ 34 w 665"/>
                  <a:gd name="T45" fmla="*/ 392 h 590"/>
                  <a:gd name="T46" fmla="*/ 40 w 665"/>
                  <a:gd name="T47" fmla="*/ 409 h 590"/>
                  <a:gd name="T48" fmla="*/ 23 w 665"/>
                  <a:gd name="T49" fmla="*/ 428 h 590"/>
                  <a:gd name="T50" fmla="*/ 0 w 665"/>
                  <a:gd name="T51" fmla="*/ 461 h 590"/>
                  <a:gd name="T52" fmla="*/ 34 w 665"/>
                  <a:gd name="T53" fmla="*/ 492 h 590"/>
                  <a:gd name="T54" fmla="*/ 57 w 665"/>
                  <a:gd name="T55" fmla="*/ 537 h 590"/>
                  <a:gd name="T56" fmla="*/ 75 w 665"/>
                  <a:gd name="T57" fmla="*/ 590 h 590"/>
                  <a:gd name="T58" fmla="*/ 124 w 665"/>
                  <a:gd name="T59" fmla="*/ 572 h 590"/>
                  <a:gd name="T60" fmla="*/ 186 w 665"/>
                  <a:gd name="T61" fmla="*/ 554 h 590"/>
                  <a:gd name="T62" fmla="*/ 281 w 665"/>
                  <a:gd name="T63" fmla="*/ 567 h 590"/>
                  <a:gd name="T64" fmla="*/ 336 w 665"/>
                  <a:gd name="T65" fmla="*/ 537 h 590"/>
                  <a:gd name="T66" fmla="*/ 402 w 665"/>
                  <a:gd name="T67" fmla="*/ 518 h 590"/>
                  <a:gd name="T68" fmla="*/ 438 w 665"/>
                  <a:gd name="T69" fmla="*/ 455 h 590"/>
                  <a:gd name="T70" fmla="*/ 450 w 665"/>
                  <a:gd name="T71" fmla="*/ 425 h 590"/>
                  <a:gd name="T72" fmla="*/ 435 w 665"/>
                  <a:gd name="T73" fmla="*/ 405 h 590"/>
                  <a:gd name="T74" fmla="*/ 456 w 665"/>
                  <a:gd name="T75" fmla="*/ 371 h 590"/>
                  <a:gd name="T76" fmla="*/ 480 w 665"/>
                  <a:gd name="T77" fmla="*/ 341 h 590"/>
                  <a:gd name="T78" fmla="*/ 497 w 665"/>
                  <a:gd name="T79" fmla="*/ 315 h 590"/>
                  <a:gd name="T80" fmla="*/ 522 w 665"/>
                  <a:gd name="T81" fmla="*/ 297 h 590"/>
                  <a:gd name="T82" fmla="*/ 549 w 665"/>
                  <a:gd name="T83" fmla="*/ 281 h 590"/>
                  <a:gd name="T84" fmla="*/ 607 w 665"/>
                  <a:gd name="T85" fmla="*/ 267 h 590"/>
                  <a:gd name="T86" fmla="*/ 640 w 665"/>
                  <a:gd name="T87" fmla="*/ 251 h 590"/>
                  <a:gd name="T88" fmla="*/ 659 w 665"/>
                  <a:gd name="T89" fmla="*/ 191 h 590"/>
                  <a:gd name="T90" fmla="*/ 598 w 665"/>
                  <a:gd name="T91" fmla="*/ 193 h 590"/>
                  <a:gd name="T92" fmla="*/ 569 w 665"/>
                  <a:gd name="T93" fmla="*/ 170 h 590"/>
                  <a:gd name="T94" fmla="*/ 531 w 665"/>
                  <a:gd name="T95" fmla="*/ 162 h 590"/>
                  <a:gd name="T96" fmla="*/ 504 w 665"/>
                  <a:gd name="T97" fmla="*/ 159 h 590"/>
                  <a:gd name="T98" fmla="*/ 467 w 665"/>
                  <a:gd name="T99" fmla="*/ 143 h 590"/>
                  <a:gd name="T100" fmla="*/ 437 w 665"/>
                  <a:gd name="T101" fmla="*/ 131 h 590"/>
                  <a:gd name="T102" fmla="*/ 418 w 665"/>
                  <a:gd name="T103" fmla="*/ 89 h 590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665"/>
                  <a:gd name="T157" fmla="*/ 0 h 590"/>
                  <a:gd name="T158" fmla="*/ 665 w 665"/>
                  <a:gd name="T159" fmla="*/ 590 h 590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665" h="590">
                    <a:moveTo>
                      <a:pt x="418" y="89"/>
                    </a:moveTo>
                    <a:cubicBezTo>
                      <a:pt x="411" y="90"/>
                      <a:pt x="402" y="95"/>
                      <a:pt x="395" y="96"/>
                    </a:cubicBezTo>
                    <a:cubicBezTo>
                      <a:pt x="384" y="95"/>
                      <a:pt x="382" y="94"/>
                      <a:pt x="373" y="92"/>
                    </a:cubicBezTo>
                    <a:cubicBezTo>
                      <a:pt x="369" y="91"/>
                      <a:pt x="361" y="90"/>
                      <a:pt x="361" y="90"/>
                    </a:cubicBezTo>
                    <a:cubicBezTo>
                      <a:pt x="358" y="86"/>
                      <a:pt x="356" y="84"/>
                      <a:pt x="351" y="83"/>
                    </a:cubicBezTo>
                    <a:cubicBezTo>
                      <a:pt x="346" y="84"/>
                      <a:pt x="337" y="86"/>
                      <a:pt x="337" y="86"/>
                    </a:cubicBezTo>
                    <a:cubicBezTo>
                      <a:pt x="332" y="84"/>
                      <a:pt x="332" y="78"/>
                      <a:pt x="327" y="75"/>
                    </a:cubicBezTo>
                    <a:cubicBezTo>
                      <a:pt x="323" y="73"/>
                      <a:pt x="315" y="72"/>
                      <a:pt x="310" y="71"/>
                    </a:cubicBezTo>
                    <a:cubicBezTo>
                      <a:pt x="302" y="70"/>
                      <a:pt x="285" y="68"/>
                      <a:pt x="285" y="68"/>
                    </a:cubicBezTo>
                    <a:cubicBezTo>
                      <a:pt x="274" y="64"/>
                      <a:pt x="271" y="62"/>
                      <a:pt x="258" y="61"/>
                    </a:cubicBezTo>
                    <a:cubicBezTo>
                      <a:pt x="249" y="58"/>
                      <a:pt x="240" y="57"/>
                      <a:pt x="231" y="56"/>
                    </a:cubicBezTo>
                    <a:cubicBezTo>
                      <a:pt x="227" y="55"/>
                      <a:pt x="224" y="54"/>
                      <a:pt x="220" y="53"/>
                    </a:cubicBezTo>
                    <a:cubicBezTo>
                      <a:pt x="210" y="43"/>
                      <a:pt x="202" y="37"/>
                      <a:pt x="187" y="35"/>
                    </a:cubicBezTo>
                    <a:cubicBezTo>
                      <a:pt x="168" y="29"/>
                      <a:pt x="160" y="27"/>
                      <a:pt x="137" y="26"/>
                    </a:cubicBezTo>
                    <a:cubicBezTo>
                      <a:pt x="128" y="24"/>
                      <a:pt x="125" y="15"/>
                      <a:pt x="115" y="13"/>
                    </a:cubicBezTo>
                    <a:cubicBezTo>
                      <a:pt x="103" y="5"/>
                      <a:pt x="107" y="3"/>
                      <a:pt x="90" y="2"/>
                    </a:cubicBezTo>
                    <a:cubicBezTo>
                      <a:pt x="84" y="0"/>
                      <a:pt x="84" y="4"/>
                      <a:pt x="79" y="7"/>
                    </a:cubicBezTo>
                    <a:cubicBezTo>
                      <a:pt x="77" y="12"/>
                      <a:pt x="71" y="17"/>
                      <a:pt x="66" y="18"/>
                    </a:cubicBezTo>
                    <a:cubicBezTo>
                      <a:pt x="62" y="21"/>
                      <a:pt x="59" y="24"/>
                      <a:pt x="54" y="26"/>
                    </a:cubicBezTo>
                    <a:cubicBezTo>
                      <a:pt x="49" y="25"/>
                      <a:pt x="45" y="25"/>
                      <a:pt x="40" y="23"/>
                    </a:cubicBezTo>
                    <a:cubicBezTo>
                      <a:pt x="38" y="18"/>
                      <a:pt x="33" y="18"/>
                      <a:pt x="28" y="17"/>
                    </a:cubicBezTo>
                    <a:cubicBezTo>
                      <a:pt x="24" y="18"/>
                      <a:pt x="15" y="20"/>
                      <a:pt x="15" y="20"/>
                    </a:cubicBezTo>
                    <a:cubicBezTo>
                      <a:pt x="6" y="33"/>
                      <a:pt x="14" y="53"/>
                      <a:pt x="16" y="68"/>
                    </a:cubicBezTo>
                    <a:cubicBezTo>
                      <a:pt x="15" y="91"/>
                      <a:pt x="15" y="87"/>
                      <a:pt x="12" y="102"/>
                    </a:cubicBezTo>
                    <a:cubicBezTo>
                      <a:pt x="12" y="109"/>
                      <a:pt x="7" y="121"/>
                      <a:pt x="16" y="119"/>
                    </a:cubicBezTo>
                    <a:cubicBezTo>
                      <a:pt x="23" y="120"/>
                      <a:pt x="24" y="116"/>
                      <a:pt x="29" y="115"/>
                    </a:cubicBezTo>
                    <a:cubicBezTo>
                      <a:pt x="42" y="116"/>
                      <a:pt x="45" y="111"/>
                      <a:pt x="49" y="122"/>
                    </a:cubicBezTo>
                    <a:cubicBezTo>
                      <a:pt x="48" y="127"/>
                      <a:pt x="47" y="130"/>
                      <a:pt x="43" y="133"/>
                    </a:cubicBezTo>
                    <a:cubicBezTo>
                      <a:pt x="55" y="141"/>
                      <a:pt x="67" y="139"/>
                      <a:pt x="81" y="141"/>
                    </a:cubicBezTo>
                    <a:cubicBezTo>
                      <a:pt x="97" y="140"/>
                      <a:pt x="117" y="135"/>
                      <a:pt x="129" y="147"/>
                    </a:cubicBezTo>
                    <a:cubicBezTo>
                      <a:pt x="133" y="158"/>
                      <a:pt x="130" y="164"/>
                      <a:pt x="141" y="170"/>
                    </a:cubicBezTo>
                    <a:cubicBezTo>
                      <a:pt x="142" y="175"/>
                      <a:pt x="142" y="178"/>
                      <a:pt x="138" y="182"/>
                    </a:cubicBezTo>
                    <a:cubicBezTo>
                      <a:pt x="133" y="196"/>
                      <a:pt x="121" y="196"/>
                      <a:pt x="109" y="199"/>
                    </a:cubicBezTo>
                    <a:cubicBezTo>
                      <a:pt x="105" y="204"/>
                      <a:pt x="102" y="207"/>
                      <a:pt x="99" y="212"/>
                    </a:cubicBezTo>
                    <a:cubicBezTo>
                      <a:pt x="98" y="217"/>
                      <a:pt x="95" y="227"/>
                      <a:pt x="95" y="227"/>
                    </a:cubicBezTo>
                    <a:cubicBezTo>
                      <a:pt x="94" y="237"/>
                      <a:pt x="95" y="239"/>
                      <a:pt x="91" y="247"/>
                    </a:cubicBezTo>
                    <a:cubicBezTo>
                      <a:pt x="90" y="255"/>
                      <a:pt x="91" y="263"/>
                      <a:pt x="82" y="266"/>
                    </a:cubicBezTo>
                    <a:cubicBezTo>
                      <a:pt x="78" y="270"/>
                      <a:pt x="80" y="270"/>
                      <a:pt x="82" y="275"/>
                    </a:cubicBezTo>
                    <a:cubicBezTo>
                      <a:pt x="81" y="282"/>
                      <a:pt x="78" y="291"/>
                      <a:pt x="73" y="296"/>
                    </a:cubicBezTo>
                    <a:cubicBezTo>
                      <a:pt x="72" y="300"/>
                      <a:pt x="63" y="303"/>
                      <a:pt x="63" y="303"/>
                    </a:cubicBezTo>
                    <a:cubicBezTo>
                      <a:pt x="59" y="302"/>
                      <a:pt x="55" y="301"/>
                      <a:pt x="51" y="300"/>
                    </a:cubicBezTo>
                    <a:cubicBezTo>
                      <a:pt x="40" y="301"/>
                      <a:pt x="41" y="301"/>
                      <a:pt x="45" y="309"/>
                    </a:cubicBezTo>
                    <a:cubicBezTo>
                      <a:pt x="45" y="316"/>
                      <a:pt x="54" y="336"/>
                      <a:pt x="54" y="345"/>
                    </a:cubicBezTo>
                    <a:cubicBezTo>
                      <a:pt x="65" y="351"/>
                      <a:pt x="54" y="358"/>
                      <a:pt x="48" y="362"/>
                    </a:cubicBezTo>
                    <a:cubicBezTo>
                      <a:pt x="44" y="369"/>
                      <a:pt x="40" y="375"/>
                      <a:pt x="37" y="383"/>
                    </a:cubicBezTo>
                    <a:cubicBezTo>
                      <a:pt x="36" y="386"/>
                      <a:pt x="35" y="389"/>
                      <a:pt x="34" y="392"/>
                    </a:cubicBezTo>
                    <a:cubicBezTo>
                      <a:pt x="34" y="393"/>
                      <a:pt x="33" y="395"/>
                      <a:pt x="33" y="395"/>
                    </a:cubicBezTo>
                    <a:cubicBezTo>
                      <a:pt x="35" y="401"/>
                      <a:pt x="35" y="405"/>
                      <a:pt x="40" y="409"/>
                    </a:cubicBezTo>
                    <a:cubicBezTo>
                      <a:pt x="43" y="415"/>
                      <a:pt x="48" y="416"/>
                      <a:pt x="39" y="422"/>
                    </a:cubicBezTo>
                    <a:cubicBezTo>
                      <a:pt x="35" y="427"/>
                      <a:pt x="29" y="427"/>
                      <a:pt x="23" y="428"/>
                    </a:cubicBezTo>
                    <a:cubicBezTo>
                      <a:pt x="21" y="435"/>
                      <a:pt x="24" y="427"/>
                      <a:pt x="13" y="434"/>
                    </a:cubicBezTo>
                    <a:cubicBezTo>
                      <a:pt x="12" y="435"/>
                      <a:pt x="1" y="458"/>
                      <a:pt x="0" y="461"/>
                    </a:cubicBezTo>
                    <a:cubicBezTo>
                      <a:pt x="1" y="470"/>
                      <a:pt x="2" y="466"/>
                      <a:pt x="4" y="483"/>
                    </a:cubicBezTo>
                    <a:cubicBezTo>
                      <a:pt x="21" y="477"/>
                      <a:pt x="25" y="483"/>
                      <a:pt x="34" y="492"/>
                    </a:cubicBezTo>
                    <a:cubicBezTo>
                      <a:pt x="37" y="500"/>
                      <a:pt x="39" y="510"/>
                      <a:pt x="46" y="515"/>
                    </a:cubicBezTo>
                    <a:cubicBezTo>
                      <a:pt x="51" y="522"/>
                      <a:pt x="52" y="530"/>
                      <a:pt x="57" y="537"/>
                    </a:cubicBezTo>
                    <a:cubicBezTo>
                      <a:pt x="59" y="550"/>
                      <a:pt x="58" y="545"/>
                      <a:pt x="60" y="552"/>
                    </a:cubicBezTo>
                    <a:cubicBezTo>
                      <a:pt x="62" y="565"/>
                      <a:pt x="68" y="579"/>
                      <a:pt x="75" y="590"/>
                    </a:cubicBezTo>
                    <a:cubicBezTo>
                      <a:pt x="87" y="587"/>
                      <a:pt x="97" y="579"/>
                      <a:pt x="111" y="577"/>
                    </a:cubicBezTo>
                    <a:cubicBezTo>
                      <a:pt x="116" y="575"/>
                      <a:pt x="120" y="573"/>
                      <a:pt x="124" y="572"/>
                    </a:cubicBezTo>
                    <a:cubicBezTo>
                      <a:pt x="133" y="563"/>
                      <a:pt x="142" y="565"/>
                      <a:pt x="155" y="564"/>
                    </a:cubicBezTo>
                    <a:cubicBezTo>
                      <a:pt x="166" y="561"/>
                      <a:pt x="175" y="555"/>
                      <a:pt x="186" y="554"/>
                    </a:cubicBezTo>
                    <a:cubicBezTo>
                      <a:pt x="198" y="555"/>
                      <a:pt x="204" y="560"/>
                      <a:pt x="216" y="561"/>
                    </a:cubicBezTo>
                    <a:cubicBezTo>
                      <a:pt x="236" y="569"/>
                      <a:pt x="260" y="566"/>
                      <a:pt x="281" y="567"/>
                    </a:cubicBezTo>
                    <a:cubicBezTo>
                      <a:pt x="302" y="566"/>
                      <a:pt x="289" y="572"/>
                      <a:pt x="309" y="569"/>
                    </a:cubicBezTo>
                    <a:cubicBezTo>
                      <a:pt x="312" y="567"/>
                      <a:pt x="336" y="537"/>
                      <a:pt x="336" y="537"/>
                    </a:cubicBezTo>
                    <a:cubicBezTo>
                      <a:pt x="340" y="526"/>
                      <a:pt x="358" y="529"/>
                      <a:pt x="370" y="527"/>
                    </a:cubicBezTo>
                    <a:cubicBezTo>
                      <a:pt x="394" y="528"/>
                      <a:pt x="396" y="531"/>
                      <a:pt x="402" y="518"/>
                    </a:cubicBezTo>
                    <a:cubicBezTo>
                      <a:pt x="400" y="507"/>
                      <a:pt x="404" y="486"/>
                      <a:pt x="414" y="483"/>
                    </a:cubicBezTo>
                    <a:cubicBezTo>
                      <a:pt x="421" y="474"/>
                      <a:pt x="431" y="462"/>
                      <a:pt x="438" y="455"/>
                    </a:cubicBezTo>
                    <a:cubicBezTo>
                      <a:pt x="440" y="449"/>
                      <a:pt x="455" y="453"/>
                      <a:pt x="459" y="447"/>
                    </a:cubicBezTo>
                    <a:cubicBezTo>
                      <a:pt x="458" y="439"/>
                      <a:pt x="459" y="428"/>
                      <a:pt x="450" y="425"/>
                    </a:cubicBezTo>
                    <a:cubicBezTo>
                      <a:pt x="448" y="421"/>
                      <a:pt x="443" y="418"/>
                      <a:pt x="439" y="415"/>
                    </a:cubicBezTo>
                    <a:cubicBezTo>
                      <a:pt x="437" y="412"/>
                      <a:pt x="435" y="405"/>
                      <a:pt x="435" y="405"/>
                    </a:cubicBezTo>
                    <a:cubicBezTo>
                      <a:pt x="438" y="394"/>
                      <a:pt x="439" y="390"/>
                      <a:pt x="445" y="381"/>
                    </a:cubicBezTo>
                    <a:cubicBezTo>
                      <a:pt x="448" y="377"/>
                      <a:pt x="456" y="371"/>
                      <a:pt x="456" y="371"/>
                    </a:cubicBezTo>
                    <a:cubicBezTo>
                      <a:pt x="458" y="365"/>
                      <a:pt x="466" y="355"/>
                      <a:pt x="471" y="350"/>
                    </a:cubicBezTo>
                    <a:cubicBezTo>
                      <a:pt x="474" y="347"/>
                      <a:pt x="480" y="341"/>
                      <a:pt x="480" y="341"/>
                    </a:cubicBezTo>
                    <a:cubicBezTo>
                      <a:pt x="481" y="337"/>
                      <a:pt x="486" y="333"/>
                      <a:pt x="489" y="330"/>
                    </a:cubicBezTo>
                    <a:cubicBezTo>
                      <a:pt x="491" y="325"/>
                      <a:pt x="492" y="317"/>
                      <a:pt x="497" y="315"/>
                    </a:cubicBezTo>
                    <a:cubicBezTo>
                      <a:pt x="499" y="310"/>
                      <a:pt x="505" y="306"/>
                      <a:pt x="509" y="303"/>
                    </a:cubicBezTo>
                    <a:cubicBezTo>
                      <a:pt x="511" y="300"/>
                      <a:pt x="519" y="300"/>
                      <a:pt x="522" y="297"/>
                    </a:cubicBezTo>
                    <a:cubicBezTo>
                      <a:pt x="524" y="295"/>
                      <a:pt x="528" y="293"/>
                      <a:pt x="528" y="293"/>
                    </a:cubicBezTo>
                    <a:cubicBezTo>
                      <a:pt x="530" y="286"/>
                      <a:pt x="542" y="282"/>
                      <a:pt x="549" y="281"/>
                    </a:cubicBezTo>
                    <a:cubicBezTo>
                      <a:pt x="560" y="276"/>
                      <a:pt x="574" y="277"/>
                      <a:pt x="586" y="275"/>
                    </a:cubicBezTo>
                    <a:cubicBezTo>
                      <a:pt x="592" y="271"/>
                      <a:pt x="600" y="270"/>
                      <a:pt x="607" y="267"/>
                    </a:cubicBezTo>
                    <a:cubicBezTo>
                      <a:pt x="610" y="266"/>
                      <a:pt x="616" y="264"/>
                      <a:pt x="616" y="264"/>
                    </a:cubicBezTo>
                    <a:cubicBezTo>
                      <a:pt x="621" y="259"/>
                      <a:pt x="633" y="254"/>
                      <a:pt x="640" y="251"/>
                    </a:cubicBezTo>
                    <a:cubicBezTo>
                      <a:pt x="643" y="247"/>
                      <a:pt x="650" y="243"/>
                      <a:pt x="654" y="240"/>
                    </a:cubicBezTo>
                    <a:cubicBezTo>
                      <a:pt x="665" y="218"/>
                      <a:pt x="665" y="199"/>
                      <a:pt x="659" y="191"/>
                    </a:cubicBezTo>
                    <a:lnTo>
                      <a:pt x="616" y="194"/>
                    </a:lnTo>
                    <a:lnTo>
                      <a:pt x="598" y="193"/>
                    </a:lnTo>
                    <a:lnTo>
                      <a:pt x="593" y="179"/>
                    </a:lnTo>
                    <a:lnTo>
                      <a:pt x="569" y="170"/>
                    </a:lnTo>
                    <a:lnTo>
                      <a:pt x="539" y="153"/>
                    </a:lnTo>
                    <a:lnTo>
                      <a:pt x="531" y="162"/>
                    </a:lnTo>
                    <a:lnTo>
                      <a:pt x="519" y="164"/>
                    </a:lnTo>
                    <a:lnTo>
                      <a:pt x="504" y="159"/>
                    </a:lnTo>
                    <a:lnTo>
                      <a:pt x="486" y="156"/>
                    </a:lnTo>
                    <a:lnTo>
                      <a:pt x="467" y="143"/>
                    </a:lnTo>
                    <a:lnTo>
                      <a:pt x="455" y="131"/>
                    </a:lnTo>
                    <a:lnTo>
                      <a:pt x="437" y="131"/>
                    </a:lnTo>
                    <a:lnTo>
                      <a:pt x="419" y="110"/>
                    </a:lnTo>
                    <a:lnTo>
                      <a:pt x="418" y="89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</p:grpSp>
        <p:grpSp>
          <p:nvGrpSpPr>
            <p:cNvPr id="18" name="Group 58"/>
            <p:cNvGrpSpPr>
              <a:grpSpLocks/>
            </p:cNvGrpSpPr>
            <p:nvPr/>
          </p:nvGrpSpPr>
          <p:grpSpPr bwMode="auto">
            <a:xfrm>
              <a:off x="2355" y="2602"/>
              <a:ext cx="422" cy="564"/>
              <a:chOff x="2491" y="2445"/>
              <a:chExt cx="418" cy="558"/>
            </a:xfrm>
            <a:grpFill/>
          </p:grpSpPr>
          <p:grpSp>
            <p:nvGrpSpPr>
              <p:cNvPr id="83" name="Group 59"/>
              <p:cNvGrpSpPr>
                <a:grpSpLocks noChangeAspect="1"/>
              </p:cNvGrpSpPr>
              <p:nvPr/>
            </p:nvGrpSpPr>
            <p:grpSpPr bwMode="auto">
              <a:xfrm>
                <a:off x="2491" y="2445"/>
                <a:ext cx="418" cy="558"/>
                <a:chOff x="2492" y="2445"/>
                <a:chExt cx="418" cy="558"/>
              </a:xfrm>
              <a:grpFill/>
            </p:grpSpPr>
            <p:sp>
              <p:nvSpPr>
                <p:cNvPr id="85" name="Freeform 60"/>
                <p:cNvSpPr>
                  <a:spLocks noChangeAspect="1"/>
                </p:cNvSpPr>
                <p:nvPr/>
              </p:nvSpPr>
              <p:spPr bwMode="auto">
                <a:xfrm>
                  <a:off x="2606" y="2445"/>
                  <a:ext cx="12" cy="31"/>
                </a:xfrm>
                <a:custGeom>
                  <a:avLst/>
                  <a:gdLst>
                    <a:gd name="T0" fmla="*/ 6 w 12"/>
                    <a:gd name="T1" fmla="*/ 0 h 31"/>
                    <a:gd name="T2" fmla="*/ 0 w 12"/>
                    <a:gd name="T3" fmla="*/ 12 h 31"/>
                    <a:gd name="T4" fmla="*/ 3 w 12"/>
                    <a:gd name="T5" fmla="*/ 31 h 31"/>
                    <a:gd name="T6" fmla="*/ 6 w 12"/>
                    <a:gd name="T7" fmla="*/ 0 h 31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2"/>
                    <a:gd name="T13" fmla="*/ 0 h 31"/>
                    <a:gd name="T14" fmla="*/ 12 w 12"/>
                    <a:gd name="T15" fmla="*/ 31 h 31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2" h="31">
                      <a:moveTo>
                        <a:pt x="6" y="0"/>
                      </a:moveTo>
                      <a:cubicBezTo>
                        <a:pt x="5" y="4"/>
                        <a:pt x="0" y="12"/>
                        <a:pt x="0" y="12"/>
                      </a:cubicBezTo>
                      <a:cubicBezTo>
                        <a:pt x="1" y="18"/>
                        <a:pt x="2" y="25"/>
                        <a:pt x="3" y="31"/>
                      </a:cubicBezTo>
                      <a:cubicBezTo>
                        <a:pt x="12" y="22"/>
                        <a:pt x="8" y="11"/>
                        <a:pt x="6" y="0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orpoS" pitchFamily="2" charset="0"/>
                    <a:ea typeface="+mn-ea"/>
                  </a:endParaRPr>
                </a:p>
              </p:txBody>
            </p:sp>
            <p:sp>
              <p:nvSpPr>
                <p:cNvPr id="86" name="Freeform 61"/>
                <p:cNvSpPr>
                  <a:spLocks noChangeAspect="1"/>
                </p:cNvSpPr>
                <p:nvPr/>
              </p:nvSpPr>
              <p:spPr bwMode="auto">
                <a:xfrm>
                  <a:off x="2492" y="2450"/>
                  <a:ext cx="418" cy="553"/>
                </a:xfrm>
                <a:custGeom>
                  <a:avLst/>
                  <a:gdLst>
                    <a:gd name="T0" fmla="*/ 351 w 418"/>
                    <a:gd name="T1" fmla="*/ 427 h 553"/>
                    <a:gd name="T2" fmla="*/ 335 w 418"/>
                    <a:gd name="T3" fmla="*/ 412 h 553"/>
                    <a:gd name="T4" fmla="*/ 320 w 418"/>
                    <a:gd name="T5" fmla="*/ 398 h 553"/>
                    <a:gd name="T6" fmla="*/ 303 w 418"/>
                    <a:gd name="T7" fmla="*/ 379 h 553"/>
                    <a:gd name="T8" fmla="*/ 287 w 418"/>
                    <a:gd name="T9" fmla="*/ 344 h 553"/>
                    <a:gd name="T10" fmla="*/ 313 w 418"/>
                    <a:gd name="T11" fmla="*/ 328 h 553"/>
                    <a:gd name="T12" fmla="*/ 354 w 418"/>
                    <a:gd name="T13" fmla="*/ 306 h 553"/>
                    <a:gd name="T14" fmla="*/ 371 w 418"/>
                    <a:gd name="T15" fmla="*/ 298 h 553"/>
                    <a:gd name="T16" fmla="*/ 398 w 418"/>
                    <a:gd name="T17" fmla="*/ 287 h 553"/>
                    <a:gd name="T18" fmla="*/ 411 w 418"/>
                    <a:gd name="T19" fmla="*/ 263 h 553"/>
                    <a:gd name="T20" fmla="*/ 411 w 418"/>
                    <a:gd name="T21" fmla="*/ 242 h 553"/>
                    <a:gd name="T22" fmla="*/ 393 w 418"/>
                    <a:gd name="T23" fmla="*/ 214 h 553"/>
                    <a:gd name="T24" fmla="*/ 392 w 418"/>
                    <a:gd name="T25" fmla="*/ 172 h 553"/>
                    <a:gd name="T26" fmla="*/ 381 w 418"/>
                    <a:gd name="T27" fmla="*/ 154 h 553"/>
                    <a:gd name="T28" fmla="*/ 371 w 418"/>
                    <a:gd name="T29" fmla="*/ 137 h 553"/>
                    <a:gd name="T30" fmla="*/ 371 w 418"/>
                    <a:gd name="T31" fmla="*/ 86 h 553"/>
                    <a:gd name="T32" fmla="*/ 345 w 418"/>
                    <a:gd name="T33" fmla="*/ 59 h 553"/>
                    <a:gd name="T34" fmla="*/ 326 w 418"/>
                    <a:gd name="T35" fmla="*/ 44 h 553"/>
                    <a:gd name="T36" fmla="*/ 303 w 418"/>
                    <a:gd name="T37" fmla="*/ 38 h 553"/>
                    <a:gd name="T38" fmla="*/ 254 w 418"/>
                    <a:gd name="T39" fmla="*/ 61 h 553"/>
                    <a:gd name="T40" fmla="*/ 233 w 418"/>
                    <a:gd name="T41" fmla="*/ 44 h 553"/>
                    <a:gd name="T42" fmla="*/ 195 w 418"/>
                    <a:gd name="T43" fmla="*/ 37 h 553"/>
                    <a:gd name="T44" fmla="*/ 162 w 418"/>
                    <a:gd name="T45" fmla="*/ 6 h 553"/>
                    <a:gd name="T46" fmla="*/ 129 w 418"/>
                    <a:gd name="T47" fmla="*/ 1 h 553"/>
                    <a:gd name="T48" fmla="*/ 138 w 418"/>
                    <a:gd name="T49" fmla="*/ 18 h 553"/>
                    <a:gd name="T50" fmla="*/ 141 w 418"/>
                    <a:gd name="T51" fmla="*/ 46 h 553"/>
                    <a:gd name="T52" fmla="*/ 131 w 418"/>
                    <a:gd name="T53" fmla="*/ 79 h 553"/>
                    <a:gd name="T54" fmla="*/ 117 w 418"/>
                    <a:gd name="T55" fmla="*/ 103 h 553"/>
                    <a:gd name="T56" fmla="*/ 92 w 418"/>
                    <a:gd name="T57" fmla="*/ 86 h 553"/>
                    <a:gd name="T58" fmla="*/ 63 w 418"/>
                    <a:gd name="T59" fmla="*/ 113 h 553"/>
                    <a:gd name="T60" fmla="*/ 63 w 418"/>
                    <a:gd name="T61" fmla="*/ 145 h 553"/>
                    <a:gd name="T62" fmla="*/ 51 w 418"/>
                    <a:gd name="T63" fmla="*/ 167 h 553"/>
                    <a:gd name="T64" fmla="*/ 39 w 418"/>
                    <a:gd name="T65" fmla="*/ 164 h 553"/>
                    <a:gd name="T66" fmla="*/ 57 w 418"/>
                    <a:gd name="T67" fmla="*/ 185 h 553"/>
                    <a:gd name="T68" fmla="*/ 44 w 418"/>
                    <a:gd name="T69" fmla="*/ 200 h 553"/>
                    <a:gd name="T70" fmla="*/ 9 w 418"/>
                    <a:gd name="T71" fmla="*/ 220 h 553"/>
                    <a:gd name="T72" fmla="*/ 13 w 418"/>
                    <a:gd name="T73" fmla="*/ 242 h 553"/>
                    <a:gd name="T74" fmla="*/ 0 w 418"/>
                    <a:gd name="T75" fmla="*/ 280 h 553"/>
                    <a:gd name="T76" fmla="*/ 3 w 418"/>
                    <a:gd name="T77" fmla="*/ 295 h 553"/>
                    <a:gd name="T78" fmla="*/ 18 w 418"/>
                    <a:gd name="T79" fmla="*/ 328 h 553"/>
                    <a:gd name="T80" fmla="*/ 7 w 418"/>
                    <a:gd name="T81" fmla="*/ 350 h 553"/>
                    <a:gd name="T82" fmla="*/ 18 w 418"/>
                    <a:gd name="T83" fmla="*/ 392 h 553"/>
                    <a:gd name="T84" fmla="*/ 65 w 418"/>
                    <a:gd name="T85" fmla="*/ 415 h 553"/>
                    <a:gd name="T86" fmla="*/ 102 w 418"/>
                    <a:gd name="T87" fmla="*/ 434 h 553"/>
                    <a:gd name="T88" fmla="*/ 81 w 418"/>
                    <a:gd name="T89" fmla="*/ 455 h 553"/>
                    <a:gd name="T90" fmla="*/ 66 w 418"/>
                    <a:gd name="T91" fmla="*/ 509 h 553"/>
                    <a:gd name="T92" fmla="*/ 111 w 418"/>
                    <a:gd name="T93" fmla="*/ 532 h 553"/>
                    <a:gd name="T94" fmla="*/ 111 w 418"/>
                    <a:gd name="T95" fmla="*/ 514 h 553"/>
                    <a:gd name="T96" fmla="*/ 134 w 418"/>
                    <a:gd name="T97" fmla="*/ 528 h 553"/>
                    <a:gd name="T98" fmla="*/ 157 w 418"/>
                    <a:gd name="T99" fmla="*/ 526 h 553"/>
                    <a:gd name="T100" fmla="*/ 188 w 418"/>
                    <a:gd name="T101" fmla="*/ 541 h 553"/>
                    <a:gd name="T102" fmla="*/ 204 w 418"/>
                    <a:gd name="T103" fmla="*/ 553 h 553"/>
                    <a:gd name="T104" fmla="*/ 231 w 418"/>
                    <a:gd name="T105" fmla="*/ 542 h 553"/>
                    <a:gd name="T106" fmla="*/ 258 w 418"/>
                    <a:gd name="T107" fmla="*/ 540 h 553"/>
                    <a:gd name="T108" fmla="*/ 299 w 418"/>
                    <a:gd name="T109" fmla="*/ 523 h 553"/>
                    <a:gd name="T110" fmla="*/ 324 w 418"/>
                    <a:gd name="T111" fmla="*/ 527 h 553"/>
                    <a:gd name="T112" fmla="*/ 333 w 418"/>
                    <a:gd name="T113" fmla="*/ 522 h 553"/>
                    <a:gd name="T114" fmla="*/ 320 w 418"/>
                    <a:gd name="T115" fmla="*/ 490 h 553"/>
                    <a:gd name="T116" fmla="*/ 348 w 418"/>
                    <a:gd name="T117" fmla="*/ 473 h 553"/>
                    <a:gd name="T118" fmla="*/ 369 w 418"/>
                    <a:gd name="T119" fmla="*/ 444 h 553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w 418"/>
                    <a:gd name="T181" fmla="*/ 0 h 553"/>
                    <a:gd name="T182" fmla="*/ 418 w 418"/>
                    <a:gd name="T183" fmla="*/ 553 h 553"/>
                  </a:gdLst>
                  <a:ahLst/>
                  <a:cxnLst>
                    <a:cxn ang="T120">
                      <a:pos x="T0" y="T1"/>
                    </a:cxn>
                    <a:cxn ang="T121">
                      <a:pos x="T2" y="T3"/>
                    </a:cxn>
                    <a:cxn ang="T122">
                      <a:pos x="T4" y="T5"/>
                    </a:cxn>
                    <a:cxn ang="T123">
                      <a:pos x="T6" y="T7"/>
                    </a:cxn>
                    <a:cxn ang="T124">
                      <a:pos x="T8" y="T9"/>
                    </a:cxn>
                    <a:cxn ang="T125">
                      <a:pos x="T10" y="T11"/>
                    </a:cxn>
                    <a:cxn ang="T126">
                      <a:pos x="T12" y="T13"/>
                    </a:cxn>
                    <a:cxn ang="T127">
                      <a:pos x="T14" y="T15"/>
                    </a:cxn>
                    <a:cxn ang="T128">
                      <a:pos x="T16" y="T17"/>
                    </a:cxn>
                    <a:cxn ang="T129">
                      <a:pos x="T18" y="T19"/>
                    </a:cxn>
                    <a:cxn ang="T130">
                      <a:pos x="T20" y="T21"/>
                    </a:cxn>
                    <a:cxn ang="T131">
                      <a:pos x="T22" y="T23"/>
                    </a:cxn>
                    <a:cxn ang="T132">
                      <a:pos x="T24" y="T25"/>
                    </a:cxn>
                    <a:cxn ang="T133">
                      <a:pos x="T26" y="T27"/>
                    </a:cxn>
                    <a:cxn ang="T134">
                      <a:pos x="T28" y="T29"/>
                    </a:cxn>
                    <a:cxn ang="T135">
                      <a:pos x="T30" y="T31"/>
                    </a:cxn>
                    <a:cxn ang="T136">
                      <a:pos x="T32" y="T33"/>
                    </a:cxn>
                    <a:cxn ang="T137">
                      <a:pos x="T34" y="T35"/>
                    </a:cxn>
                    <a:cxn ang="T138">
                      <a:pos x="T36" y="T37"/>
                    </a:cxn>
                    <a:cxn ang="T139">
                      <a:pos x="T38" y="T39"/>
                    </a:cxn>
                    <a:cxn ang="T140">
                      <a:pos x="T40" y="T41"/>
                    </a:cxn>
                    <a:cxn ang="T141">
                      <a:pos x="T42" y="T43"/>
                    </a:cxn>
                    <a:cxn ang="T142">
                      <a:pos x="T44" y="T45"/>
                    </a:cxn>
                    <a:cxn ang="T143">
                      <a:pos x="T46" y="T47"/>
                    </a:cxn>
                    <a:cxn ang="T144">
                      <a:pos x="T48" y="T49"/>
                    </a:cxn>
                    <a:cxn ang="T145">
                      <a:pos x="T50" y="T51"/>
                    </a:cxn>
                    <a:cxn ang="T146">
                      <a:pos x="T52" y="T53"/>
                    </a:cxn>
                    <a:cxn ang="T147">
                      <a:pos x="T54" y="T55"/>
                    </a:cxn>
                    <a:cxn ang="T148">
                      <a:pos x="T56" y="T57"/>
                    </a:cxn>
                    <a:cxn ang="T149">
                      <a:pos x="T58" y="T59"/>
                    </a:cxn>
                    <a:cxn ang="T150">
                      <a:pos x="T60" y="T61"/>
                    </a:cxn>
                    <a:cxn ang="T151">
                      <a:pos x="T62" y="T63"/>
                    </a:cxn>
                    <a:cxn ang="T152">
                      <a:pos x="T64" y="T65"/>
                    </a:cxn>
                    <a:cxn ang="T153">
                      <a:pos x="T66" y="T67"/>
                    </a:cxn>
                    <a:cxn ang="T154">
                      <a:pos x="T68" y="T69"/>
                    </a:cxn>
                    <a:cxn ang="T155">
                      <a:pos x="T70" y="T71"/>
                    </a:cxn>
                    <a:cxn ang="T156">
                      <a:pos x="T72" y="T73"/>
                    </a:cxn>
                    <a:cxn ang="T157">
                      <a:pos x="T74" y="T75"/>
                    </a:cxn>
                    <a:cxn ang="T158">
                      <a:pos x="T76" y="T77"/>
                    </a:cxn>
                    <a:cxn ang="T159">
                      <a:pos x="T78" y="T79"/>
                    </a:cxn>
                    <a:cxn ang="T160">
                      <a:pos x="T80" y="T81"/>
                    </a:cxn>
                    <a:cxn ang="T161">
                      <a:pos x="T82" y="T83"/>
                    </a:cxn>
                    <a:cxn ang="T162">
                      <a:pos x="T84" y="T85"/>
                    </a:cxn>
                    <a:cxn ang="T163">
                      <a:pos x="T86" y="T87"/>
                    </a:cxn>
                    <a:cxn ang="T164">
                      <a:pos x="T88" y="T89"/>
                    </a:cxn>
                    <a:cxn ang="T165">
                      <a:pos x="T90" y="T91"/>
                    </a:cxn>
                    <a:cxn ang="T166">
                      <a:pos x="T92" y="T93"/>
                    </a:cxn>
                    <a:cxn ang="T167">
                      <a:pos x="T94" y="T95"/>
                    </a:cxn>
                    <a:cxn ang="T168">
                      <a:pos x="T96" y="T97"/>
                    </a:cxn>
                    <a:cxn ang="T169">
                      <a:pos x="T98" y="T99"/>
                    </a:cxn>
                    <a:cxn ang="T170">
                      <a:pos x="T100" y="T101"/>
                    </a:cxn>
                    <a:cxn ang="T171">
                      <a:pos x="T102" y="T103"/>
                    </a:cxn>
                    <a:cxn ang="T172">
                      <a:pos x="T104" y="T105"/>
                    </a:cxn>
                    <a:cxn ang="T173">
                      <a:pos x="T106" y="T107"/>
                    </a:cxn>
                    <a:cxn ang="T174">
                      <a:pos x="T108" y="T109"/>
                    </a:cxn>
                    <a:cxn ang="T175">
                      <a:pos x="T110" y="T111"/>
                    </a:cxn>
                    <a:cxn ang="T176">
                      <a:pos x="T112" y="T113"/>
                    </a:cxn>
                    <a:cxn ang="T177">
                      <a:pos x="T114" y="T115"/>
                    </a:cxn>
                    <a:cxn ang="T178">
                      <a:pos x="T116" y="T117"/>
                    </a:cxn>
                    <a:cxn ang="T179">
                      <a:pos x="T118" y="T119"/>
                    </a:cxn>
                  </a:cxnLst>
                  <a:rect l="T180" t="T181" r="T182" b="T183"/>
                  <a:pathLst>
                    <a:path w="418" h="553">
                      <a:moveTo>
                        <a:pt x="369" y="444"/>
                      </a:moveTo>
                      <a:cubicBezTo>
                        <a:pt x="366" y="430"/>
                        <a:pt x="362" y="428"/>
                        <a:pt x="351" y="427"/>
                      </a:cubicBezTo>
                      <a:cubicBezTo>
                        <a:pt x="349" y="423"/>
                        <a:pt x="345" y="421"/>
                        <a:pt x="342" y="418"/>
                      </a:cubicBezTo>
                      <a:cubicBezTo>
                        <a:pt x="340" y="413"/>
                        <a:pt x="339" y="414"/>
                        <a:pt x="335" y="412"/>
                      </a:cubicBezTo>
                      <a:cubicBezTo>
                        <a:pt x="332" y="410"/>
                        <a:pt x="326" y="406"/>
                        <a:pt x="326" y="406"/>
                      </a:cubicBezTo>
                      <a:cubicBezTo>
                        <a:pt x="325" y="403"/>
                        <a:pt x="322" y="400"/>
                        <a:pt x="320" y="398"/>
                      </a:cubicBezTo>
                      <a:cubicBezTo>
                        <a:pt x="318" y="396"/>
                        <a:pt x="314" y="394"/>
                        <a:pt x="314" y="394"/>
                      </a:cubicBezTo>
                      <a:cubicBezTo>
                        <a:pt x="312" y="389"/>
                        <a:pt x="306" y="385"/>
                        <a:pt x="303" y="379"/>
                      </a:cubicBezTo>
                      <a:cubicBezTo>
                        <a:pt x="301" y="369"/>
                        <a:pt x="305" y="357"/>
                        <a:pt x="294" y="353"/>
                      </a:cubicBezTo>
                      <a:cubicBezTo>
                        <a:pt x="287" y="346"/>
                        <a:pt x="289" y="350"/>
                        <a:pt x="287" y="344"/>
                      </a:cubicBezTo>
                      <a:cubicBezTo>
                        <a:pt x="288" y="335"/>
                        <a:pt x="295" y="335"/>
                        <a:pt x="303" y="330"/>
                      </a:cubicBezTo>
                      <a:cubicBezTo>
                        <a:pt x="306" y="328"/>
                        <a:pt x="313" y="328"/>
                        <a:pt x="313" y="328"/>
                      </a:cubicBezTo>
                      <a:cubicBezTo>
                        <a:pt x="314" y="326"/>
                        <a:pt x="339" y="311"/>
                        <a:pt x="343" y="310"/>
                      </a:cubicBezTo>
                      <a:cubicBezTo>
                        <a:pt x="344" y="310"/>
                        <a:pt x="353" y="306"/>
                        <a:pt x="354" y="306"/>
                      </a:cubicBezTo>
                      <a:cubicBezTo>
                        <a:pt x="356" y="305"/>
                        <a:pt x="360" y="304"/>
                        <a:pt x="360" y="304"/>
                      </a:cubicBezTo>
                      <a:cubicBezTo>
                        <a:pt x="361" y="300"/>
                        <a:pt x="371" y="298"/>
                        <a:pt x="371" y="298"/>
                      </a:cubicBezTo>
                      <a:cubicBezTo>
                        <a:pt x="375" y="294"/>
                        <a:pt x="381" y="284"/>
                        <a:pt x="384" y="283"/>
                      </a:cubicBezTo>
                      <a:cubicBezTo>
                        <a:pt x="390" y="284"/>
                        <a:pt x="393" y="285"/>
                        <a:pt x="398" y="287"/>
                      </a:cubicBezTo>
                      <a:cubicBezTo>
                        <a:pt x="407" y="286"/>
                        <a:pt x="409" y="286"/>
                        <a:pt x="416" y="282"/>
                      </a:cubicBezTo>
                      <a:cubicBezTo>
                        <a:pt x="418" y="275"/>
                        <a:pt x="417" y="267"/>
                        <a:pt x="411" y="263"/>
                      </a:cubicBezTo>
                      <a:cubicBezTo>
                        <a:pt x="410" y="258"/>
                        <a:pt x="408" y="252"/>
                        <a:pt x="414" y="250"/>
                      </a:cubicBezTo>
                      <a:cubicBezTo>
                        <a:pt x="417" y="246"/>
                        <a:pt x="418" y="240"/>
                        <a:pt x="411" y="242"/>
                      </a:cubicBezTo>
                      <a:cubicBezTo>
                        <a:pt x="403" y="241"/>
                        <a:pt x="398" y="243"/>
                        <a:pt x="395" y="236"/>
                      </a:cubicBezTo>
                      <a:cubicBezTo>
                        <a:pt x="392" y="222"/>
                        <a:pt x="395" y="224"/>
                        <a:pt x="393" y="214"/>
                      </a:cubicBezTo>
                      <a:cubicBezTo>
                        <a:pt x="398" y="199"/>
                        <a:pt x="391" y="191"/>
                        <a:pt x="387" y="185"/>
                      </a:cubicBezTo>
                      <a:cubicBezTo>
                        <a:pt x="388" y="180"/>
                        <a:pt x="389" y="176"/>
                        <a:pt x="392" y="172"/>
                      </a:cubicBezTo>
                      <a:cubicBezTo>
                        <a:pt x="393" y="167"/>
                        <a:pt x="394" y="164"/>
                        <a:pt x="389" y="161"/>
                      </a:cubicBezTo>
                      <a:cubicBezTo>
                        <a:pt x="387" y="158"/>
                        <a:pt x="381" y="154"/>
                        <a:pt x="381" y="154"/>
                      </a:cubicBezTo>
                      <a:cubicBezTo>
                        <a:pt x="378" y="150"/>
                        <a:pt x="369" y="146"/>
                        <a:pt x="369" y="146"/>
                      </a:cubicBezTo>
                      <a:cubicBezTo>
                        <a:pt x="366" y="142"/>
                        <a:pt x="366" y="139"/>
                        <a:pt x="371" y="137"/>
                      </a:cubicBezTo>
                      <a:cubicBezTo>
                        <a:pt x="372" y="134"/>
                        <a:pt x="374" y="128"/>
                        <a:pt x="374" y="128"/>
                      </a:cubicBezTo>
                      <a:cubicBezTo>
                        <a:pt x="373" y="114"/>
                        <a:pt x="383" y="94"/>
                        <a:pt x="371" y="86"/>
                      </a:cubicBezTo>
                      <a:cubicBezTo>
                        <a:pt x="368" y="81"/>
                        <a:pt x="362" y="75"/>
                        <a:pt x="357" y="72"/>
                      </a:cubicBezTo>
                      <a:cubicBezTo>
                        <a:pt x="355" y="65"/>
                        <a:pt x="352" y="61"/>
                        <a:pt x="345" y="59"/>
                      </a:cubicBezTo>
                      <a:cubicBezTo>
                        <a:pt x="342" y="55"/>
                        <a:pt x="337" y="53"/>
                        <a:pt x="333" y="52"/>
                      </a:cubicBezTo>
                      <a:cubicBezTo>
                        <a:pt x="328" y="45"/>
                        <a:pt x="331" y="47"/>
                        <a:pt x="326" y="44"/>
                      </a:cubicBezTo>
                      <a:cubicBezTo>
                        <a:pt x="326" y="40"/>
                        <a:pt x="327" y="34"/>
                        <a:pt x="321" y="34"/>
                      </a:cubicBezTo>
                      <a:cubicBezTo>
                        <a:pt x="316" y="34"/>
                        <a:pt x="308" y="36"/>
                        <a:pt x="303" y="38"/>
                      </a:cubicBezTo>
                      <a:cubicBezTo>
                        <a:pt x="291" y="43"/>
                        <a:pt x="286" y="49"/>
                        <a:pt x="273" y="52"/>
                      </a:cubicBezTo>
                      <a:cubicBezTo>
                        <a:pt x="269" y="54"/>
                        <a:pt x="254" y="61"/>
                        <a:pt x="254" y="61"/>
                      </a:cubicBezTo>
                      <a:cubicBezTo>
                        <a:pt x="252" y="65"/>
                        <a:pt x="247" y="67"/>
                        <a:pt x="243" y="68"/>
                      </a:cubicBezTo>
                      <a:cubicBezTo>
                        <a:pt x="232" y="66"/>
                        <a:pt x="238" y="51"/>
                        <a:pt x="233" y="44"/>
                      </a:cubicBezTo>
                      <a:cubicBezTo>
                        <a:pt x="230" y="34"/>
                        <a:pt x="230" y="43"/>
                        <a:pt x="222" y="38"/>
                      </a:cubicBezTo>
                      <a:cubicBezTo>
                        <a:pt x="214" y="44"/>
                        <a:pt x="204" y="39"/>
                        <a:pt x="195" y="37"/>
                      </a:cubicBezTo>
                      <a:cubicBezTo>
                        <a:pt x="190" y="30"/>
                        <a:pt x="190" y="19"/>
                        <a:pt x="183" y="14"/>
                      </a:cubicBezTo>
                      <a:cubicBezTo>
                        <a:pt x="177" y="5"/>
                        <a:pt x="175" y="7"/>
                        <a:pt x="162" y="6"/>
                      </a:cubicBezTo>
                      <a:cubicBezTo>
                        <a:pt x="154" y="4"/>
                        <a:pt x="148" y="1"/>
                        <a:pt x="140" y="0"/>
                      </a:cubicBezTo>
                      <a:cubicBezTo>
                        <a:pt x="136" y="0"/>
                        <a:pt x="132" y="0"/>
                        <a:pt x="129" y="1"/>
                      </a:cubicBezTo>
                      <a:cubicBezTo>
                        <a:pt x="128" y="1"/>
                        <a:pt x="131" y="3"/>
                        <a:pt x="131" y="4"/>
                      </a:cubicBezTo>
                      <a:cubicBezTo>
                        <a:pt x="134" y="10"/>
                        <a:pt x="133" y="15"/>
                        <a:pt x="138" y="18"/>
                      </a:cubicBezTo>
                      <a:cubicBezTo>
                        <a:pt x="140" y="23"/>
                        <a:pt x="143" y="27"/>
                        <a:pt x="146" y="31"/>
                      </a:cubicBezTo>
                      <a:cubicBezTo>
                        <a:pt x="145" y="37"/>
                        <a:pt x="144" y="41"/>
                        <a:pt x="141" y="46"/>
                      </a:cubicBezTo>
                      <a:cubicBezTo>
                        <a:pt x="142" y="51"/>
                        <a:pt x="145" y="62"/>
                        <a:pt x="145" y="62"/>
                      </a:cubicBezTo>
                      <a:cubicBezTo>
                        <a:pt x="147" y="78"/>
                        <a:pt x="144" y="75"/>
                        <a:pt x="131" y="79"/>
                      </a:cubicBezTo>
                      <a:cubicBezTo>
                        <a:pt x="127" y="83"/>
                        <a:pt x="126" y="87"/>
                        <a:pt x="122" y="91"/>
                      </a:cubicBezTo>
                      <a:cubicBezTo>
                        <a:pt x="121" y="96"/>
                        <a:pt x="122" y="100"/>
                        <a:pt x="117" y="103"/>
                      </a:cubicBezTo>
                      <a:cubicBezTo>
                        <a:pt x="110" y="101"/>
                        <a:pt x="111" y="99"/>
                        <a:pt x="105" y="95"/>
                      </a:cubicBezTo>
                      <a:cubicBezTo>
                        <a:pt x="103" y="89"/>
                        <a:pt x="97" y="89"/>
                        <a:pt x="92" y="86"/>
                      </a:cubicBezTo>
                      <a:cubicBezTo>
                        <a:pt x="81" y="87"/>
                        <a:pt x="70" y="84"/>
                        <a:pt x="66" y="95"/>
                      </a:cubicBezTo>
                      <a:cubicBezTo>
                        <a:pt x="65" y="101"/>
                        <a:pt x="64" y="107"/>
                        <a:pt x="63" y="113"/>
                      </a:cubicBezTo>
                      <a:cubicBezTo>
                        <a:pt x="63" y="117"/>
                        <a:pt x="65" y="117"/>
                        <a:pt x="65" y="122"/>
                      </a:cubicBezTo>
                      <a:cubicBezTo>
                        <a:pt x="66" y="130"/>
                        <a:pt x="66" y="137"/>
                        <a:pt x="63" y="145"/>
                      </a:cubicBezTo>
                      <a:cubicBezTo>
                        <a:pt x="61" y="149"/>
                        <a:pt x="57" y="157"/>
                        <a:pt x="57" y="157"/>
                      </a:cubicBezTo>
                      <a:cubicBezTo>
                        <a:pt x="56" y="163"/>
                        <a:pt x="57" y="166"/>
                        <a:pt x="51" y="167"/>
                      </a:cubicBezTo>
                      <a:cubicBezTo>
                        <a:pt x="50" y="165"/>
                        <a:pt x="50" y="163"/>
                        <a:pt x="49" y="161"/>
                      </a:cubicBezTo>
                      <a:cubicBezTo>
                        <a:pt x="48" y="158"/>
                        <a:pt x="39" y="164"/>
                        <a:pt x="39" y="164"/>
                      </a:cubicBezTo>
                      <a:cubicBezTo>
                        <a:pt x="42" y="174"/>
                        <a:pt x="43" y="174"/>
                        <a:pt x="53" y="176"/>
                      </a:cubicBezTo>
                      <a:cubicBezTo>
                        <a:pt x="55" y="179"/>
                        <a:pt x="57" y="185"/>
                        <a:pt x="57" y="185"/>
                      </a:cubicBezTo>
                      <a:cubicBezTo>
                        <a:pt x="57" y="188"/>
                        <a:pt x="57" y="191"/>
                        <a:pt x="56" y="194"/>
                      </a:cubicBezTo>
                      <a:cubicBezTo>
                        <a:pt x="54" y="198"/>
                        <a:pt x="44" y="200"/>
                        <a:pt x="44" y="200"/>
                      </a:cubicBezTo>
                      <a:cubicBezTo>
                        <a:pt x="41" y="204"/>
                        <a:pt x="37" y="203"/>
                        <a:pt x="42" y="206"/>
                      </a:cubicBezTo>
                      <a:cubicBezTo>
                        <a:pt x="52" y="221"/>
                        <a:pt x="21" y="219"/>
                        <a:pt x="9" y="220"/>
                      </a:cubicBezTo>
                      <a:cubicBezTo>
                        <a:pt x="7" y="227"/>
                        <a:pt x="5" y="227"/>
                        <a:pt x="11" y="224"/>
                      </a:cubicBezTo>
                      <a:cubicBezTo>
                        <a:pt x="12" y="230"/>
                        <a:pt x="11" y="236"/>
                        <a:pt x="13" y="242"/>
                      </a:cubicBezTo>
                      <a:cubicBezTo>
                        <a:pt x="14" y="244"/>
                        <a:pt x="15" y="248"/>
                        <a:pt x="15" y="248"/>
                      </a:cubicBezTo>
                      <a:cubicBezTo>
                        <a:pt x="13" y="261"/>
                        <a:pt x="11" y="273"/>
                        <a:pt x="0" y="280"/>
                      </a:cubicBezTo>
                      <a:cubicBezTo>
                        <a:pt x="4" y="281"/>
                        <a:pt x="7" y="290"/>
                        <a:pt x="7" y="290"/>
                      </a:cubicBezTo>
                      <a:cubicBezTo>
                        <a:pt x="6" y="292"/>
                        <a:pt x="3" y="293"/>
                        <a:pt x="3" y="295"/>
                      </a:cubicBezTo>
                      <a:cubicBezTo>
                        <a:pt x="2" y="300"/>
                        <a:pt x="13" y="317"/>
                        <a:pt x="17" y="319"/>
                      </a:cubicBezTo>
                      <a:cubicBezTo>
                        <a:pt x="18" y="321"/>
                        <a:pt x="21" y="326"/>
                        <a:pt x="18" y="328"/>
                      </a:cubicBezTo>
                      <a:cubicBezTo>
                        <a:pt x="16" y="330"/>
                        <a:pt x="12" y="332"/>
                        <a:pt x="12" y="332"/>
                      </a:cubicBezTo>
                      <a:cubicBezTo>
                        <a:pt x="10" y="338"/>
                        <a:pt x="9" y="344"/>
                        <a:pt x="7" y="350"/>
                      </a:cubicBezTo>
                      <a:cubicBezTo>
                        <a:pt x="7" y="356"/>
                        <a:pt x="18" y="360"/>
                        <a:pt x="21" y="367"/>
                      </a:cubicBezTo>
                      <a:cubicBezTo>
                        <a:pt x="23" y="374"/>
                        <a:pt x="15" y="385"/>
                        <a:pt x="18" y="392"/>
                      </a:cubicBezTo>
                      <a:cubicBezTo>
                        <a:pt x="20" y="395"/>
                        <a:pt x="34" y="411"/>
                        <a:pt x="38" y="412"/>
                      </a:cubicBezTo>
                      <a:cubicBezTo>
                        <a:pt x="47" y="414"/>
                        <a:pt x="55" y="414"/>
                        <a:pt x="65" y="415"/>
                      </a:cubicBezTo>
                      <a:cubicBezTo>
                        <a:pt x="75" y="417"/>
                        <a:pt x="80" y="426"/>
                        <a:pt x="90" y="428"/>
                      </a:cubicBezTo>
                      <a:cubicBezTo>
                        <a:pt x="94" y="431"/>
                        <a:pt x="98" y="431"/>
                        <a:pt x="102" y="434"/>
                      </a:cubicBezTo>
                      <a:cubicBezTo>
                        <a:pt x="101" y="440"/>
                        <a:pt x="100" y="442"/>
                        <a:pt x="96" y="446"/>
                      </a:cubicBezTo>
                      <a:cubicBezTo>
                        <a:pt x="94" y="451"/>
                        <a:pt x="83" y="450"/>
                        <a:pt x="81" y="455"/>
                      </a:cubicBezTo>
                      <a:cubicBezTo>
                        <a:pt x="78" y="461"/>
                        <a:pt x="86" y="470"/>
                        <a:pt x="80" y="474"/>
                      </a:cubicBezTo>
                      <a:cubicBezTo>
                        <a:pt x="77" y="486"/>
                        <a:pt x="68" y="496"/>
                        <a:pt x="66" y="509"/>
                      </a:cubicBezTo>
                      <a:cubicBezTo>
                        <a:pt x="67" y="542"/>
                        <a:pt x="65" y="531"/>
                        <a:pt x="90" y="533"/>
                      </a:cubicBezTo>
                      <a:cubicBezTo>
                        <a:pt x="97" y="534"/>
                        <a:pt x="104" y="533"/>
                        <a:pt x="111" y="532"/>
                      </a:cubicBezTo>
                      <a:cubicBezTo>
                        <a:pt x="121" y="527"/>
                        <a:pt x="122" y="526"/>
                        <a:pt x="111" y="522"/>
                      </a:cubicBezTo>
                      <a:cubicBezTo>
                        <a:pt x="109" y="518"/>
                        <a:pt x="106" y="516"/>
                        <a:pt x="111" y="514"/>
                      </a:cubicBezTo>
                      <a:cubicBezTo>
                        <a:pt x="116" y="515"/>
                        <a:pt x="125" y="518"/>
                        <a:pt x="125" y="518"/>
                      </a:cubicBezTo>
                      <a:cubicBezTo>
                        <a:pt x="127" y="523"/>
                        <a:pt x="129" y="526"/>
                        <a:pt x="134" y="528"/>
                      </a:cubicBezTo>
                      <a:cubicBezTo>
                        <a:pt x="141" y="526"/>
                        <a:pt x="138" y="527"/>
                        <a:pt x="143" y="524"/>
                      </a:cubicBezTo>
                      <a:cubicBezTo>
                        <a:pt x="147" y="527"/>
                        <a:pt x="152" y="525"/>
                        <a:pt x="157" y="526"/>
                      </a:cubicBezTo>
                      <a:cubicBezTo>
                        <a:pt x="161" y="530"/>
                        <a:pt x="171" y="533"/>
                        <a:pt x="176" y="536"/>
                      </a:cubicBezTo>
                      <a:cubicBezTo>
                        <a:pt x="180" y="538"/>
                        <a:pt x="184" y="540"/>
                        <a:pt x="188" y="541"/>
                      </a:cubicBezTo>
                      <a:cubicBezTo>
                        <a:pt x="189" y="541"/>
                        <a:pt x="191" y="542"/>
                        <a:pt x="191" y="542"/>
                      </a:cubicBezTo>
                      <a:cubicBezTo>
                        <a:pt x="195" y="548"/>
                        <a:pt x="197" y="551"/>
                        <a:pt x="204" y="553"/>
                      </a:cubicBezTo>
                      <a:cubicBezTo>
                        <a:pt x="215" y="551"/>
                        <a:pt x="212" y="549"/>
                        <a:pt x="215" y="539"/>
                      </a:cubicBezTo>
                      <a:cubicBezTo>
                        <a:pt x="226" y="540"/>
                        <a:pt x="224" y="536"/>
                        <a:pt x="231" y="542"/>
                      </a:cubicBezTo>
                      <a:cubicBezTo>
                        <a:pt x="234" y="544"/>
                        <a:pt x="240" y="546"/>
                        <a:pt x="240" y="546"/>
                      </a:cubicBezTo>
                      <a:cubicBezTo>
                        <a:pt x="246" y="545"/>
                        <a:pt x="254" y="545"/>
                        <a:pt x="258" y="540"/>
                      </a:cubicBezTo>
                      <a:cubicBezTo>
                        <a:pt x="259" y="539"/>
                        <a:pt x="266" y="530"/>
                        <a:pt x="267" y="530"/>
                      </a:cubicBezTo>
                      <a:cubicBezTo>
                        <a:pt x="274" y="527"/>
                        <a:pt x="292" y="523"/>
                        <a:pt x="299" y="523"/>
                      </a:cubicBezTo>
                      <a:cubicBezTo>
                        <a:pt x="302" y="524"/>
                        <a:pt x="305" y="526"/>
                        <a:pt x="308" y="527"/>
                      </a:cubicBezTo>
                      <a:cubicBezTo>
                        <a:pt x="316" y="524"/>
                        <a:pt x="312" y="521"/>
                        <a:pt x="324" y="527"/>
                      </a:cubicBezTo>
                      <a:cubicBezTo>
                        <a:pt x="328" y="529"/>
                        <a:pt x="336" y="536"/>
                        <a:pt x="336" y="536"/>
                      </a:cubicBezTo>
                      <a:cubicBezTo>
                        <a:pt x="344" y="533"/>
                        <a:pt x="338" y="524"/>
                        <a:pt x="333" y="522"/>
                      </a:cubicBezTo>
                      <a:cubicBezTo>
                        <a:pt x="331" y="514"/>
                        <a:pt x="335" y="503"/>
                        <a:pt x="327" y="498"/>
                      </a:cubicBezTo>
                      <a:cubicBezTo>
                        <a:pt x="325" y="494"/>
                        <a:pt x="324" y="491"/>
                        <a:pt x="320" y="490"/>
                      </a:cubicBezTo>
                      <a:cubicBezTo>
                        <a:pt x="323" y="488"/>
                        <a:pt x="329" y="486"/>
                        <a:pt x="329" y="486"/>
                      </a:cubicBezTo>
                      <a:cubicBezTo>
                        <a:pt x="334" y="479"/>
                        <a:pt x="341" y="478"/>
                        <a:pt x="348" y="473"/>
                      </a:cubicBezTo>
                      <a:cubicBezTo>
                        <a:pt x="352" y="460"/>
                        <a:pt x="353" y="457"/>
                        <a:pt x="367" y="455"/>
                      </a:cubicBezTo>
                      <a:cubicBezTo>
                        <a:pt x="370" y="450"/>
                        <a:pt x="374" y="447"/>
                        <a:pt x="369" y="444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orpoS" pitchFamily="2" charset="0"/>
                    <a:ea typeface="+mn-ea"/>
                  </a:endParaRPr>
                </a:p>
              </p:txBody>
            </p:sp>
          </p:grpSp>
          <p:sp>
            <p:nvSpPr>
              <p:cNvPr id="84" name="Freeform 62"/>
              <p:cNvSpPr>
                <a:spLocks noChangeAspect="1"/>
              </p:cNvSpPr>
              <p:nvPr/>
            </p:nvSpPr>
            <p:spPr bwMode="auto">
              <a:xfrm>
                <a:off x="2812" y="2466"/>
                <a:ext cx="24" cy="19"/>
              </a:xfrm>
              <a:custGeom>
                <a:avLst/>
                <a:gdLst>
                  <a:gd name="T0" fmla="*/ 4 w 24"/>
                  <a:gd name="T1" fmla="*/ 0 h 19"/>
                  <a:gd name="T2" fmla="*/ 9 w 24"/>
                  <a:gd name="T3" fmla="*/ 12 h 19"/>
                  <a:gd name="T4" fmla="*/ 15 w 24"/>
                  <a:gd name="T5" fmla="*/ 19 h 19"/>
                  <a:gd name="T6" fmla="*/ 18 w 24"/>
                  <a:gd name="T7" fmla="*/ 9 h 19"/>
                  <a:gd name="T8" fmla="*/ 9 w 24"/>
                  <a:gd name="T9" fmla="*/ 4 h 19"/>
                  <a:gd name="T10" fmla="*/ 3 w 24"/>
                  <a:gd name="T11" fmla="*/ 2 h 19"/>
                  <a:gd name="T12" fmla="*/ 4 w 24"/>
                  <a:gd name="T13" fmla="*/ 0 h 1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4"/>
                  <a:gd name="T22" fmla="*/ 0 h 19"/>
                  <a:gd name="T23" fmla="*/ 24 w 24"/>
                  <a:gd name="T24" fmla="*/ 19 h 1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4" h="19">
                    <a:moveTo>
                      <a:pt x="4" y="0"/>
                    </a:moveTo>
                    <a:cubicBezTo>
                      <a:pt x="0" y="6"/>
                      <a:pt x="4" y="9"/>
                      <a:pt x="9" y="12"/>
                    </a:cubicBezTo>
                    <a:cubicBezTo>
                      <a:pt x="11" y="16"/>
                      <a:pt x="14" y="15"/>
                      <a:pt x="15" y="19"/>
                    </a:cubicBezTo>
                    <a:cubicBezTo>
                      <a:pt x="21" y="18"/>
                      <a:pt x="24" y="15"/>
                      <a:pt x="18" y="9"/>
                    </a:cubicBezTo>
                    <a:cubicBezTo>
                      <a:pt x="16" y="6"/>
                      <a:pt x="12" y="6"/>
                      <a:pt x="9" y="4"/>
                    </a:cubicBezTo>
                    <a:cubicBezTo>
                      <a:pt x="7" y="3"/>
                      <a:pt x="2" y="4"/>
                      <a:pt x="3" y="2"/>
                    </a:cubicBezTo>
                    <a:cubicBezTo>
                      <a:pt x="3" y="1"/>
                      <a:pt x="4" y="1"/>
                      <a:pt x="4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</p:grpSp>
        <p:grpSp>
          <p:nvGrpSpPr>
            <p:cNvPr id="19" name="Group 63"/>
            <p:cNvGrpSpPr>
              <a:grpSpLocks/>
            </p:cNvGrpSpPr>
            <p:nvPr/>
          </p:nvGrpSpPr>
          <p:grpSpPr bwMode="auto">
            <a:xfrm>
              <a:off x="2464" y="2401"/>
              <a:ext cx="301" cy="238"/>
              <a:chOff x="2599" y="2246"/>
              <a:chExt cx="298" cy="236"/>
            </a:xfrm>
            <a:grpFill/>
          </p:grpSpPr>
          <p:sp>
            <p:nvSpPr>
              <p:cNvPr id="78" name="Freeform 64"/>
              <p:cNvSpPr>
                <a:spLocks noChangeAspect="1"/>
              </p:cNvSpPr>
              <p:nvPr/>
            </p:nvSpPr>
            <p:spPr bwMode="auto">
              <a:xfrm>
                <a:off x="2868" y="2422"/>
                <a:ext cx="29" cy="24"/>
              </a:xfrm>
              <a:custGeom>
                <a:avLst/>
                <a:gdLst>
                  <a:gd name="T0" fmla="*/ 4 w 29"/>
                  <a:gd name="T1" fmla="*/ 0 h 24"/>
                  <a:gd name="T2" fmla="*/ 15 w 29"/>
                  <a:gd name="T3" fmla="*/ 4 h 24"/>
                  <a:gd name="T4" fmla="*/ 16 w 29"/>
                  <a:gd name="T5" fmla="*/ 24 h 24"/>
                  <a:gd name="T6" fmla="*/ 3 w 29"/>
                  <a:gd name="T7" fmla="*/ 18 h 24"/>
                  <a:gd name="T8" fmla="*/ 4 w 29"/>
                  <a:gd name="T9" fmla="*/ 0 h 2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9"/>
                  <a:gd name="T16" fmla="*/ 0 h 24"/>
                  <a:gd name="T17" fmla="*/ 29 w 29"/>
                  <a:gd name="T18" fmla="*/ 24 h 2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9" h="24">
                    <a:moveTo>
                      <a:pt x="4" y="0"/>
                    </a:moveTo>
                    <a:cubicBezTo>
                      <a:pt x="8" y="2"/>
                      <a:pt x="11" y="3"/>
                      <a:pt x="15" y="4"/>
                    </a:cubicBezTo>
                    <a:cubicBezTo>
                      <a:pt x="19" y="10"/>
                      <a:pt x="29" y="21"/>
                      <a:pt x="16" y="24"/>
                    </a:cubicBezTo>
                    <a:cubicBezTo>
                      <a:pt x="11" y="23"/>
                      <a:pt x="3" y="18"/>
                      <a:pt x="3" y="18"/>
                    </a:cubicBezTo>
                    <a:cubicBezTo>
                      <a:pt x="0" y="13"/>
                      <a:pt x="4" y="6"/>
                      <a:pt x="4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79" name="Freeform 65"/>
              <p:cNvSpPr>
                <a:spLocks noChangeAspect="1"/>
              </p:cNvSpPr>
              <p:nvPr/>
            </p:nvSpPr>
            <p:spPr bwMode="auto">
              <a:xfrm>
                <a:off x="2708" y="2364"/>
                <a:ext cx="79" cy="88"/>
              </a:xfrm>
              <a:custGeom>
                <a:avLst/>
                <a:gdLst>
                  <a:gd name="T0" fmla="*/ 60 w 79"/>
                  <a:gd name="T1" fmla="*/ 0 h 88"/>
                  <a:gd name="T2" fmla="*/ 49 w 79"/>
                  <a:gd name="T3" fmla="*/ 8 h 88"/>
                  <a:gd name="T4" fmla="*/ 53 w 79"/>
                  <a:gd name="T5" fmla="*/ 26 h 88"/>
                  <a:gd name="T6" fmla="*/ 52 w 79"/>
                  <a:gd name="T7" fmla="*/ 32 h 88"/>
                  <a:gd name="T8" fmla="*/ 42 w 79"/>
                  <a:gd name="T9" fmla="*/ 31 h 88"/>
                  <a:gd name="T10" fmla="*/ 40 w 79"/>
                  <a:gd name="T11" fmla="*/ 21 h 88"/>
                  <a:gd name="T12" fmla="*/ 23 w 79"/>
                  <a:gd name="T13" fmla="*/ 8 h 88"/>
                  <a:gd name="T14" fmla="*/ 17 w 79"/>
                  <a:gd name="T15" fmla="*/ 26 h 88"/>
                  <a:gd name="T16" fmla="*/ 12 w 79"/>
                  <a:gd name="T17" fmla="*/ 33 h 88"/>
                  <a:gd name="T18" fmla="*/ 19 w 79"/>
                  <a:gd name="T19" fmla="*/ 67 h 88"/>
                  <a:gd name="T20" fmla="*/ 32 w 79"/>
                  <a:gd name="T21" fmla="*/ 68 h 88"/>
                  <a:gd name="T22" fmla="*/ 40 w 79"/>
                  <a:gd name="T23" fmla="*/ 72 h 88"/>
                  <a:gd name="T24" fmla="*/ 52 w 79"/>
                  <a:gd name="T25" fmla="*/ 82 h 88"/>
                  <a:gd name="T26" fmla="*/ 61 w 79"/>
                  <a:gd name="T27" fmla="*/ 88 h 88"/>
                  <a:gd name="T28" fmla="*/ 58 w 79"/>
                  <a:gd name="T29" fmla="*/ 69 h 88"/>
                  <a:gd name="T30" fmla="*/ 70 w 79"/>
                  <a:gd name="T31" fmla="*/ 61 h 88"/>
                  <a:gd name="T32" fmla="*/ 61 w 79"/>
                  <a:gd name="T33" fmla="*/ 48 h 88"/>
                  <a:gd name="T34" fmla="*/ 76 w 79"/>
                  <a:gd name="T35" fmla="*/ 39 h 88"/>
                  <a:gd name="T36" fmla="*/ 73 w 79"/>
                  <a:gd name="T37" fmla="*/ 24 h 88"/>
                  <a:gd name="T38" fmla="*/ 76 w 79"/>
                  <a:gd name="T39" fmla="*/ 10 h 88"/>
                  <a:gd name="T40" fmla="*/ 76 w 79"/>
                  <a:gd name="T41" fmla="*/ 4 h 88"/>
                  <a:gd name="T42" fmla="*/ 60 w 79"/>
                  <a:gd name="T43" fmla="*/ 0 h 88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79"/>
                  <a:gd name="T67" fmla="*/ 0 h 88"/>
                  <a:gd name="T68" fmla="*/ 79 w 79"/>
                  <a:gd name="T69" fmla="*/ 88 h 88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79" h="88">
                    <a:moveTo>
                      <a:pt x="60" y="0"/>
                    </a:moveTo>
                    <a:cubicBezTo>
                      <a:pt x="53" y="2"/>
                      <a:pt x="54" y="5"/>
                      <a:pt x="49" y="8"/>
                    </a:cubicBezTo>
                    <a:cubicBezTo>
                      <a:pt x="50" y="18"/>
                      <a:pt x="51" y="18"/>
                      <a:pt x="53" y="26"/>
                    </a:cubicBezTo>
                    <a:cubicBezTo>
                      <a:pt x="53" y="28"/>
                      <a:pt x="54" y="31"/>
                      <a:pt x="52" y="32"/>
                    </a:cubicBezTo>
                    <a:cubicBezTo>
                      <a:pt x="49" y="33"/>
                      <a:pt x="44" y="33"/>
                      <a:pt x="42" y="31"/>
                    </a:cubicBezTo>
                    <a:cubicBezTo>
                      <a:pt x="39" y="29"/>
                      <a:pt x="42" y="24"/>
                      <a:pt x="40" y="21"/>
                    </a:cubicBezTo>
                    <a:cubicBezTo>
                      <a:pt x="35" y="13"/>
                      <a:pt x="32" y="11"/>
                      <a:pt x="23" y="8"/>
                    </a:cubicBezTo>
                    <a:cubicBezTo>
                      <a:pt x="25" y="17"/>
                      <a:pt x="29" y="28"/>
                      <a:pt x="17" y="26"/>
                    </a:cubicBezTo>
                    <a:cubicBezTo>
                      <a:pt x="6" y="27"/>
                      <a:pt x="0" y="30"/>
                      <a:pt x="12" y="33"/>
                    </a:cubicBezTo>
                    <a:cubicBezTo>
                      <a:pt x="21" y="42"/>
                      <a:pt x="18" y="55"/>
                      <a:pt x="19" y="67"/>
                    </a:cubicBezTo>
                    <a:cubicBezTo>
                      <a:pt x="24" y="66"/>
                      <a:pt x="28" y="66"/>
                      <a:pt x="32" y="68"/>
                    </a:cubicBezTo>
                    <a:cubicBezTo>
                      <a:pt x="35" y="69"/>
                      <a:pt x="40" y="72"/>
                      <a:pt x="40" y="72"/>
                    </a:cubicBezTo>
                    <a:cubicBezTo>
                      <a:pt x="44" y="78"/>
                      <a:pt x="45" y="81"/>
                      <a:pt x="52" y="82"/>
                    </a:cubicBezTo>
                    <a:cubicBezTo>
                      <a:pt x="54" y="86"/>
                      <a:pt x="57" y="87"/>
                      <a:pt x="61" y="88"/>
                    </a:cubicBezTo>
                    <a:cubicBezTo>
                      <a:pt x="74" y="85"/>
                      <a:pt x="67" y="72"/>
                      <a:pt x="58" y="69"/>
                    </a:cubicBezTo>
                    <a:cubicBezTo>
                      <a:pt x="60" y="64"/>
                      <a:pt x="70" y="61"/>
                      <a:pt x="70" y="61"/>
                    </a:cubicBezTo>
                    <a:cubicBezTo>
                      <a:pt x="73" y="53"/>
                      <a:pt x="68" y="50"/>
                      <a:pt x="61" y="48"/>
                    </a:cubicBezTo>
                    <a:cubicBezTo>
                      <a:pt x="62" y="33"/>
                      <a:pt x="63" y="36"/>
                      <a:pt x="76" y="39"/>
                    </a:cubicBezTo>
                    <a:cubicBezTo>
                      <a:pt x="79" y="34"/>
                      <a:pt x="76" y="29"/>
                      <a:pt x="73" y="24"/>
                    </a:cubicBezTo>
                    <a:cubicBezTo>
                      <a:pt x="71" y="18"/>
                      <a:pt x="73" y="15"/>
                      <a:pt x="76" y="10"/>
                    </a:cubicBezTo>
                    <a:cubicBezTo>
                      <a:pt x="77" y="4"/>
                      <a:pt x="79" y="4"/>
                      <a:pt x="76" y="4"/>
                    </a:cubicBezTo>
                    <a:lnTo>
                      <a:pt x="60" y="0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80" name="Freeform 66"/>
              <p:cNvSpPr>
                <a:spLocks noChangeAspect="1"/>
              </p:cNvSpPr>
              <p:nvPr/>
            </p:nvSpPr>
            <p:spPr bwMode="auto">
              <a:xfrm>
                <a:off x="2717" y="2445"/>
                <a:ext cx="47" cy="37"/>
              </a:xfrm>
              <a:custGeom>
                <a:avLst/>
                <a:gdLst>
                  <a:gd name="T0" fmla="*/ 9 w 47"/>
                  <a:gd name="T1" fmla="*/ 3 h 37"/>
                  <a:gd name="T2" fmla="*/ 19 w 47"/>
                  <a:gd name="T3" fmla="*/ 9 h 37"/>
                  <a:gd name="T4" fmla="*/ 25 w 47"/>
                  <a:gd name="T5" fmla="*/ 13 h 37"/>
                  <a:gd name="T6" fmla="*/ 33 w 47"/>
                  <a:gd name="T7" fmla="*/ 11 h 37"/>
                  <a:gd name="T8" fmla="*/ 35 w 47"/>
                  <a:gd name="T9" fmla="*/ 3 h 37"/>
                  <a:gd name="T10" fmla="*/ 44 w 47"/>
                  <a:gd name="T11" fmla="*/ 12 h 37"/>
                  <a:gd name="T12" fmla="*/ 43 w 47"/>
                  <a:gd name="T13" fmla="*/ 21 h 37"/>
                  <a:gd name="T14" fmla="*/ 34 w 47"/>
                  <a:gd name="T15" fmla="*/ 18 h 37"/>
                  <a:gd name="T16" fmla="*/ 31 w 47"/>
                  <a:gd name="T17" fmla="*/ 27 h 37"/>
                  <a:gd name="T18" fmla="*/ 22 w 47"/>
                  <a:gd name="T19" fmla="*/ 30 h 37"/>
                  <a:gd name="T20" fmla="*/ 5 w 47"/>
                  <a:gd name="T21" fmla="*/ 12 h 37"/>
                  <a:gd name="T22" fmla="*/ 13 w 47"/>
                  <a:gd name="T23" fmla="*/ 0 h 37"/>
                  <a:gd name="T24" fmla="*/ 28 w 47"/>
                  <a:gd name="T25" fmla="*/ 9 h 37"/>
                  <a:gd name="T26" fmla="*/ 9 w 47"/>
                  <a:gd name="T27" fmla="*/ 3 h 37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47"/>
                  <a:gd name="T43" fmla="*/ 0 h 37"/>
                  <a:gd name="T44" fmla="*/ 47 w 47"/>
                  <a:gd name="T45" fmla="*/ 37 h 37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47" h="37">
                    <a:moveTo>
                      <a:pt x="9" y="3"/>
                    </a:moveTo>
                    <a:cubicBezTo>
                      <a:pt x="14" y="4"/>
                      <a:pt x="15" y="6"/>
                      <a:pt x="19" y="9"/>
                    </a:cubicBezTo>
                    <a:cubicBezTo>
                      <a:pt x="21" y="10"/>
                      <a:pt x="25" y="13"/>
                      <a:pt x="25" y="13"/>
                    </a:cubicBezTo>
                    <a:cubicBezTo>
                      <a:pt x="28" y="12"/>
                      <a:pt x="31" y="13"/>
                      <a:pt x="33" y="11"/>
                    </a:cubicBezTo>
                    <a:cubicBezTo>
                      <a:pt x="35" y="9"/>
                      <a:pt x="35" y="3"/>
                      <a:pt x="35" y="3"/>
                    </a:cubicBezTo>
                    <a:cubicBezTo>
                      <a:pt x="40" y="5"/>
                      <a:pt x="40" y="9"/>
                      <a:pt x="44" y="12"/>
                    </a:cubicBezTo>
                    <a:cubicBezTo>
                      <a:pt x="47" y="16"/>
                      <a:pt x="46" y="17"/>
                      <a:pt x="43" y="21"/>
                    </a:cubicBezTo>
                    <a:cubicBezTo>
                      <a:pt x="39" y="37"/>
                      <a:pt x="37" y="26"/>
                      <a:pt x="34" y="18"/>
                    </a:cubicBezTo>
                    <a:cubicBezTo>
                      <a:pt x="34" y="20"/>
                      <a:pt x="33" y="26"/>
                      <a:pt x="31" y="27"/>
                    </a:cubicBezTo>
                    <a:cubicBezTo>
                      <a:pt x="28" y="29"/>
                      <a:pt x="22" y="30"/>
                      <a:pt x="22" y="30"/>
                    </a:cubicBezTo>
                    <a:cubicBezTo>
                      <a:pt x="18" y="27"/>
                      <a:pt x="6" y="17"/>
                      <a:pt x="5" y="12"/>
                    </a:cubicBezTo>
                    <a:cubicBezTo>
                      <a:pt x="0" y="5"/>
                      <a:pt x="5" y="2"/>
                      <a:pt x="13" y="0"/>
                    </a:cubicBezTo>
                    <a:cubicBezTo>
                      <a:pt x="19" y="2"/>
                      <a:pt x="22" y="9"/>
                      <a:pt x="28" y="9"/>
                    </a:cubicBezTo>
                    <a:lnTo>
                      <a:pt x="9" y="3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81" name="Freeform 67"/>
              <p:cNvSpPr>
                <a:spLocks noChangeAspect="1"/>
              </p:cNvSpPr>
              <p:nvPr/>
            </p:nvSpPr>
            <p:spPr bwMode="auto">
              <a:xfrm>
                <a:off x="2608" y="2246"/>
                <a:ext cx="95" cy="76"/>
              </a:xfrm>
              <a:custGeom>
                <a:avLst/>
                <a:gdLst>
                  <a:gd name="T0" fmla="*/ 0 w 95"/>
                  <a:gd name="T1" fmla="*/ 72 h 76"/>
                  <a:gd name="T2" fmla="*/ 8 w 95"/>
                  <a:gd name="T3" fmla="*/ 54 h 76"/>
                  <a:gd name="T4" fmla="*/ 14 w 95"/>
                  <a:gd name="T5" fmla="*/ 46 h 76"/>
                  <a:gd name="T6" fmla="*/ 50 w 95"/>
                  <a:gd name="T7" fmla="*/ 40 h 76"/>
                  <a:gd name="T8" fmla="*/ 57 w 95"/>
                  <a:gd name="T9" fmla="*/ 29 h 76"/>
                  <a:gd name="T10" fmla="*/ 63 w 95"/>
                  <a:gd name="T11" fmla="*/ 22 h 76"/>
                  <a:gd name="T12" fmla="*/ 81 w 95"/>
                  <a:gd name="T13" fmla="*/ 10 h 76"/>
                  <a:gd name="T14" fmla="*/ 90 w 95"/>
                  <a:gd name="T15" fmla="*/ 4 h 76"/>
                  <a:gd name="T16" fmla="*/ 93 w 95"/>
                  <a:gd name="T17" fmla="*/ 1 h 76"/>
                  <a:gd name="T18" fmla="*/ 86 w 95"/>
                  <a:gd name="T19" fmla="*/ 11 h 76"/>
                  <a:gd name="T20" fmla="*/ 93 w 95"/>
                  <a:gd name="T21" fmla="*/ 22 h 76"/>
                  <a:gd name="T22" fmla="*/ 86 w 95"/>
                  <a:gd name="T23" fmla="*/ 43 h 76"/>
                  <a:gd name="T24" fmla="*/ 84 w 95"/>
                  <a:gd name="T25" fmla="*/ 46 h 76"/>
                  <a:gd name="T26" fmla="*/ 83 w 95"/>
                  <a:gd name="T27" fmla="*/ 53 h 76"/>
                  <a:gd name="T28" fmla="*/ 80 w 95"/>
                  <a:gd name="T29" fmla="*/ 47 h 76"/>
                  <a:gd name="T30" fmla="*/ 72 w 95"/>
                  <a:gd name="T31" fmla="*/ 44 h 76"/>
                  <a:gd name="T32" fmla="*/ 48 w 95"/>
                  <a:gd name="T33" fmla="*/ 49 h 76"/>
                  <a:gd name="T34" fmla="*/ 39 w 95"/>
                  <a:gd name="T35" fmla="*/ 54 h 76"/>
                  <a:gd name="T36" fmla="*/ 29 w 95"/>
                  <a:gd name="T37" fmla="*/ 52 h 76"/>
                  <a:gd name="T38" fmla="*/ 24 w 95"/>
                  <a:gd name="T39" fmla="*/ 58 h 76"/>
                  <a:gd name="T40" fmla="*/ 18 w 95"/>
                  <a:gd name="T41" fmla="*/ 60 h 76"/>
                  <a:gd name="T42" fmla="*/ 0 w 95"/>
                  <a:gd name="T43" fmla="*/ 72 h 7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95"/>
                  <a:gd name="T67" fmla="*/ 0 h 76"/>
                  <a:gd name="T68" fmla="*/ 95 w 95"/>
                  <a:gd name="T69" fmla="*/ 76 h 7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95" h="76">
                    <a:moveTo>
                      <a:pt x="0" y="72"/>
                    </a:moveTo>
                    <a:cubicBezTo>
                      <a:pt x="2" y="64"/>
                      <a:pt x="1" y="58"/>
                      <a:pt x="8" y="54"/>
                    </a:cubicBezTo>
                    <a:cubicBezTo>
                      <a:pt x="9" y="49"/>
                      <a:pt x="9" y="47"/>
                      <a:pt x="14" y="46"/>
                    </a:cubicBezTo>
                    <a:cubicBezTo>
                      <a:pt x="26" y="48"/>
                      <a:pt x="38" y="42"/>
                      <a:pt x="50" y="40"/>
                    </a:cubicBezTo>
                    <a:cubicBezTo>
                      <a:pt x="53" y="36"/>
                      <a:pt x="53" y="32"/>
                      <a:pt x="57" y="29"/>
                    </a:cubicBezTo>
                    <a:cubicBezTo>
                      <a:pt x="58" y="25"/>
                      <a:pt x="59" y="23"/>
                      <a:pt x="63" y="22"/>
                    </a:cubicBezTo>
                    <a:cubicBezTo>
                      <a:pt x="68" y="17"/>
                      <a:pt x="73" y="12"/>
                      <a:pt x="81" y="10"/>
                    </a:cubicBezTo>
                    <a:cubicBezTo>
                      <a:pt x="84" y="7"/>
                      <a:pt x="86" y="5"/>
                      <a:pt x="90" y="4"/>
                    </a:cubicBezTo>
                    <a:cubicBezTo>
                      <a:pt x="91" y="3"/>
                      <a:pt x="93" y="0"/>
                      <a:pt x="93" y="1"/>
                    </a:cubicBezTo>
                    <a:cubicBezTo>
                      <a:pt x="93" y="5"/>
                      <a:pt x="86" y="11"/>
                      <a:pt x="86" y="11"/>
                    </a:cubicBezTo>
                    <a:cubicBezTo>
                      <a:pt x="87" y="17"/>
                      <a:pt x="89" y="17"/>
                      <a:pt x="93" y="22"/>
                    </a:cubicBezTo>
                    <a:cubicBezTo>
                      <a:pt x="95" y="28"/>
                      <a:pt x="91" y="40"/>
                      <a:pt x="86" y="43"/>
                    </a:cubicBezTo>
                    <a:cubicBezTo>
                      <a:pt x="85" y="44"/>
                      <a:pt x="84" y="45"/>
                      <a:pt x="84" y="46"/>
                    </a:cubicBezTo>
                    <a:cubicBezTo>
                      <a:pt x="83" y="48"/>
                      <a:pt x="84" y="51"/>
                      <a:pt x="83" y="53"/>
                    </a:cubicBezTo>
                    <a:cubicBezTo>
                      <a:pt x="82" y="55"/>
                      <a:pt x="82" y="48"/>
                      <a:pt x="80" y="47"/>
                    </a:cubicBezTo>
                    <a:cubicBezTo>
                      <a:pt x="78" y="45"/>
                      <a:pt x="75" y="45"/>
                      <a:pt x="72" y="44"/>
                    </a:cubicBezTo>
                    <a:cubicBezTo>
                      <a:pt x="64" y="45"/>
                      <a:pt x="56" y="47"/>
                      <a:pt x="48" y="49"/>
                    </a:cubicBezTo>
                    <a:cubicBezTo>
                      <a:pt x="46" y="51"/>
                      <a:pt x="39" y="54"/>
                      <a:pt x="39" y="54"/>
                    </a:cubicBezTo>
                    <a:cubicBezTo>
                      <a:pt x="36" y="54"/>
                      <a:pt x="32" y="51"/>
                      <a:pt x="29" y="52"/>
                    </a:cubicBezTo>
                    <a:cubicBezTo>
                      <a:pt x="27" y="53"/>
                      <a:pt x="26" y="57"/>
                      <a:pt x="24" y="58"/>
                    </a:cubicBezTo>
                    <a:cubicBezTo>
                      <a:pt x="22" y="59"/>
                      <a:pt x="18" y="60"/>
                      <a:pt x="18" y="60"/>
                    </a:cubicBezTo>
                    <a:cubicBezTo>
                      <a:pt x="12" y="68"/>
                      <a:pt x="11" y="76"/>
                      <a:pt x="0" y="72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82" name="Freeform 68"/>
              <p:cNvSpPr>
                <a:spLocks noChangeAspect="1"/>
              </p:cNvSpPr>
              <p:nvPr/>
            </p:nvSpPr>
            <p:spPr bwMode="auto">
              <a:xfrm>
                <a:off x="2599" y="2294"/>
                <a:ext cx="117" cy="175"/>
              </a:xfrm>
              <a:custGeom>
                <a:avLst/>
                <a:gdLst>
                  <a:gd name="T0" fmla="*/ 21 w 117"/>
                  <a:gd name="T1" fmla="*/ 156 h 175"/>
                  <a:gd name="T2" fmla="*/ 20 w 117"/>
                  <a:gd name="T3" fmla="*/ 130 h 175"/>
                  <a:gd name="T4" fmla="*/ 12 w 117"/>
                  <a:gd name="T5" fmla="*/ 122 h 175"/>
                  <a:gd name="T6" fmla="*/ 7 w 117"/>
                  <a:gd name="T7" fmla="*/ 108 h 175"/>
                  <a:gd name="T8" fmla="*/ 5 w 117"/>
                  <a:gd name="T9" fmla="*/ 89 h 175"/>
                  <a:gd name="T10" fmla="*/ 2 w 117"/>
                  <a:gd name="T11" fmla="*/ 74 h 175"/>
                  <a:gd name="T12" fmla="*/ 17 w 117"/>
                  <a:gd name="T13" fmla="*/ 34 h 175"/>
                  <a:gd name="T14" fmla="*/ 24 w 117"/>
                  <a:gd name="T15" fmla="*/ 29 h 175"/>
                  <a:gd name="T16" fmla="*/ 33 w 117"/>
                  <a:gd name="T17" fmla="*/ 23 h 175"/>
                  <a:gd name="T18" fmla="*/ 53 w 117"/>
                  <a:gd name="T19" fmla="*/ 10 h 175"/>
                  <a:gd name="T20" fmla="*/ 68 w 117"/>
                  <a:gd name="T21" fmla="*/ 2 h 175"/>
                  <a:gd name="T22" fmla="*/ 86 w 117"/>
                  <a:gd name="T23" fmla="*/ 5 h 175"/>
                  <a:gd name="T24" fmla="*/ 92 w 117"/>
                  <a:gd name="T25" fmla="*/ 25 h 175"/>
                  <a:gd name="T26" fmla="*/ 99 w 117"/>
                  <a:gd name="T27" fmla="*/ 37 h 175"/>
                  <a:gd name="T28" fmla="*/ 114 w 117"/>
                  <a:gd name="T29" fmla="*/ 41 h 175"/>
                  <a:gd name="T30" fmla="*/ 110 w 117"/>
                  <a:gd name="T31" fmla="*/ 59 h 175"/>
                  <a:gd name="T32" fmla="*/ 105 w 117"/>
                  <a:gd name="T33" fmla="*/ 67 h 175"/>
                  <a:gd name="T34" fmla="*/ 92 w 117"/>
                  <a:gd name="T35" fmla="*/ 78 h 175"/>
                  <a:gd name="T36" fmla="*/ 81 w 117"/>
                  <a:gd name="T37" fmla="*/ 97 h 175"/>
                  <a:gd name="T38" fmla="*/ 72 w 117"/>
                  <a:gd name="T39" fmla="*/ 109 h 175"/>
                  <a:gd name="T40" fmla="*/ 96 w 117"/>
                  <a:gd name="T41" fmla="*/ 108 h 175"/>
                  <a:gd name="T42" fmla="*/ 107 w 117"/>
                  <a:gd name="T43" fmla="*/ 124 h 175"/>
                  <a:gd name="T44" fmla="*/ 110 w 117"/>
                  <a:gd name="T45" fmla="*/ 133 h 175"/>
                  <a:gd name="T46" fmla="*/ 98 w 117"/>
                  <a:gd name="T47" fmla="*/ 156 h 175"/>
                  <a:gd name="T48" fmla="*/ 90 w 117"/>
                  <a:gd name="T49" fmla="*/ 138 h 175"/>
                  <a:gd name="T50" fmla="*/ 72 w 117"/>
                  <a:gd name="T51" fmla="*/ 131 h 175"/>
                  <a:gd name="T52" fmla="*/ 62 w 117"/>
                  <a:gd name="T53" fmla="*/ 132 h 175"/>
                  <a:gd name="T54" fmla="*/ 71 w 117"/>
                  <a:gd name="T55" fmla="*/ 162 h 175"/>
                  <a:gd name="T56" fmla="*/ 79 w 117"/>
                  <a:gd name="T57" fmla="*/ 175 h 175"/>
                  <a:gd name="T58" fmla="*/ 75 w 117"/>
                  <a:gd name="T59" fmla="*/ 172 h 175"/>
                  <a:gd name="T60" fmla="*/ 41 w 117"/>
                  <a:gd name="T61" fmla="*/ 162 h 175"/>
                  <a:gd name="T62" fmla="*/ 21 w 117"/>
                  <a:gd name="T63" fmla="*/ 156 h 175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117"/>
                  <a:gd name="T97" fmla="*/ 0 h 175"/>
                  <a:gd name="T98" fmla="*/ 117 w 117"/>
                  <a:gd name="T99" fmla="*/ 175 h 175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117" h="175">
                    <a:moveTo>
                      <a:pt x="21" y="156"/>
                    </a:moveTo>
                    <a:cubicBezTo>
                      <a:pt x="24" y="151"/>
                      <a:pt x="20" y="134"/>
                      <a:pt x="20" y="130"/>
                    </a:cubicBezTo>
                    <a:cubicBezTo>
                      <a:pt x="17" y="124"/>
                      <a:pt x="16" y="126"/>
                      <a:pt x="12" y="122"/>
                    </a:cubicBezTo>
                    <a:cubicBezTo>
                      <a:pt x="10" y="117"/>
                      <a:pt x="8" y="113"/>
                      <a:pt x="7" y="108"/>
                    </a:cubicBezTo>
                    <a:cubicBezTo>
                      <a:pt x="6" y="101"/>
                      <a:pt x="6" y="96"/>
                      <a:pt x="5" y="89"/>
                    </a:cubicBezTo>
                    <a:cubicBezTo>
                      <a:pt x="4" y="84"/>
                      <a:pt x="2" y="74"/>
                      <a:pt x="2" y="74"/>
                    </a:cubicBezTo>
                    <a:cubicBezTo>
                      <a:pt x="11" y="65"/>
                      <a:pt x="0" y="38"/>
                      <a:pt x="17" y="34"/>
                    </a:cubicBezTo>
                    <a:cubicBezTo>
                      <a:pt x="18" y="31"/>
                      <a:pt x="24" y="29"/>
                      <a:pt x="24" y="29"/>
                    </a:cubicBezTo>
                    <a:cubicBezTo>
                      <a:pt x="27" y="26"/>
                      <a:pt x="30" y="25"/>
                      <a:pt x="33" y="23"/>
                    </a:cubicBezTo>
                    <a:cubicBezTo>
                      <a:pt x="37" y="16"/>
                      <a:pt x="46" y="12"/>
                      <a:pt x="53" y="10"/>
                    </a:cubicBezTo>
                    <a:cubicBezTo>
                      <a:pt x="57" y="6"/>
                      <a:pt x="62" y="4"/>
                      <a:pt x="68" y="2"/>
                    </a:cubicBezTo>
                    <a:cubicBezTo>
                      <a:pt x="74" y="3"/>
                      <a:pt x="83" y="0"/>
                      <a:pt x="86" y="5"/>
                    </a:cubicBezTo>
                    <a:cubicBezTo>
                      <a:pt x="89" y="10"/>
                      <a:pt x="88" y="21"/>
                      <a:pt x="92" y="25"/>
                    </a:cubicBezTo>
                    <a:cubicBezTo>
                      <a:pt x="95" y="28"/>
                      <a:pt x="99" y="37"/>
                      <a:pt x="99" y="37"/>
                    </a:cubicBezTo>
                    <a:cubicBezTo>
                      <a:pt x="101" y="39"/>
                      <a:pt x="114" y="41"/>
                      <a:pt x="114" y="41"/>
                    </a:cubicBezTo>
                    <a:cubicBezTo>
                      <a:pt x="117" y="49"/>
                      <a:pt x="116" y="53"/>
                      <a:pt x="110" y="59"/>
                    </a:cubicBezTo>
                    <a:cubicBezTo>
                      <a:pt x="108" y="66"/>
                      <a:pt x="110" y="64"/>
                      <a:pt x="105" y="67"/>
                    </a:cubicBezTo>
                    <a:cubicBezTo>
                      <a:pt x="102" y="72"/>
                      <a:pt x="97" y="75"/>
                      <a:pt x="92" y="78"/>
                    </a:cubicBezTo>
                    <a:cubicBezTo>
                      <a:pt x="89" y="84"/>
                      <a:pt x="86" y="92"/>
                      <a:pt x="81" y="97"/>
                    </a:cubicBezTo>
                    <a:cubicBezTo>
                      <a:pt x="79" y="102"/>
                      <a:pt x="72" y="109"/>
                      <a:pt x="72" y="109"/>
                    </a:cubicBezTo>
                    <a:cubicBezTo>
                      <a:pt x="69" y="119"/>
                      <a:pt x="90" y="106"/>
                      <a:pt x="96" y="108"/>
                    </a:cubicBezTo>
                    <a:cubicBezTo>
                      <a:pt x="102" y="111"/>
                      <a:pt x="102" y="117"/>
                      <a:pt x="107" y="124"/>
                    </a:cubicBezTo>
                    <a:cubicBezTo>
                      <a:pt x="109" y="127"/>
                      <a:pt x="110" y="133"/>
                      <a:pt x="110" y="133"/>
                    </a:cubicBezTo>
                    <a:cubicBezTo>
                      <a:pt x="109" y="167"/>
                      <a:pt x="117" y="162"/>
                      <a:pt x="98" y="156"/>
                    </a:cubicBezTo>
                    <a:cubicBezTo>
                      <a:pt x="96" y="153"/>
                      <a:pt x="93" y="141"/>
                      <a:pt x="90" y="138"/>
                    </a:cubicBezTo>
                    <a:cubicBezTo>
                      <a:pt x="88" y="131"/>
                      <a:pt x="78" y="133"/>
                      <a:pt x="72" y="131"/>
                    </a:cubicBezTo>
                    <a:cubicBezTo>
                      <a:pt x="69" y="131"/>
                      <a:pt x="65" y="131"/>
                      <a:pt x="62" y="132"/>
                    </a:cubicBezTo>
                    <a:cubicBezTo>
                      <a:pt x="54" y="136"/>
                      <a:pt x="66" y="159"/>
                      <a:pt x="71" y="162"/>
                    </a:cubicBezTo>
                    <a:cubicBezTo>
                      <a:pt x="74" y="169"/>
                      <a:pt x="78" y="174"/>
                      <a:pt x="79" y="175"/>
                    </a:cubicBezTo>
                    <a:cubicBezTo>
                      <a:pt x="78" y="174"/>
                      <a:pt x="76" y="173"/>
                      <a:pt x="75" y="172"/>
                    </a:cubicBezTo>
                    <a:cubicBezTo>
                      <a:pt x="70" y="158"/>
                      <a:pt x="52" y="162"/>
                      <a:pt x="41" y="162"/>
                    </a:cubicBezTo>
                    <a:cubicBezTo>
                      <a:pt x="34" y="161"/>
                      <a:pt x="28" y="158"/>
                      <a:pt x="21" y="156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</p:grpSp>
        <p:sp>
          <p:nvSpPr>
            <p:cNvPr id="20" name="Freeform 69"/>
            <p:cNvSpPr>
              <a:spLocks noChangeAspect="1"/>
            </p:cNvSpPr>
            <p:nvPr/>
          </p:nvSpPr>
          <p:spPr bwMode="auto">
            <a:xfrm>
              <a:off x="1631" y="2486"/>
              <a:ext cx="222" cy="257"/>
            </a:xfrm>
            <a:custGeom>
              <a:avLst/>
              <a:gdLst>
                <a:gd name="T0" fmla="*/ 474 w 219"/>
                <a:gd name="T1" fmla="*/ 203 h 254"/>
                <a:gd name="T2" fmla="*/ 446 w 219"/>
                <a:gd name="T3" fmla="*/ 165 h 254"/>
                <a:gd name="T4" fmla="*/ 392 w 219"/>
                <a:gd name="T5" fmla="*/ 177 h 254"/>
                <a:gd name="T6" fmla="*/ 335 w 219"/>
                <a:gd name="T7" fmla="*/ 137 h 254"/>
                <a:gd name="T8" fmla="*/ 360 w 219"/>
                <a:gd name="T9" fmla="*/ 117 h 254"/>
                <a:gd name="T10" fmla="*/ 420 w 219"/>
                <a:gd name="T11" fmla="*/ 38 h 254"/>
                <a:gd name="T12" fmla="*/ 458 w 219"/>
                <a:gd name="T13" fmla="*/ 19 h 254"/>
                <a:gd name="T14" fmla="*/ 434 w 219"/>
                <a:gd name="T15" fmla="*/ 7 h 254"/>
                <a:gd name="T16" fmla="*/ 417 w 219"/>
                <a:gd name="T17" fmla="*/ 25 h 254"/>
                <a:gd name="T18" fmla="*/ 335 w 219"/>
                <a:gd name="T19" fmla="*/ 18 h 254"/>
                <a:gd name="T20" fmla="*/ 298 w 219"/>
                <a:gd name="T21" fmla="*/ 35 h 254"/>
                <a:gd name="T22" fmla="*/ 306 w 219"/>
                <a:gd name="T23" fmla="*/ 105 h 254"/>
                <a:gd name="T24" fmla="*/ 316 w 219"/>
                <a:gd name="T25" fmla="*/ 120 h 254"/>
                <a:gd name="T26" fmla="*/ 284 w 219"/>
                <a:gd name="T27" fmla="*/ 137 h 254"/>
                <a:gd name="T28" fmla="*/ 211 w 219"/>
                <a:gd name="T29" fmla="*/ 120 h 254"/>
                <a:gd name="T30" fmla="*/ 138 w 219"/>
                <a:gd name="T31" fmla="*/ 119 h 254"/>
                <a:gd name="T32" fmla="*/ 134 w 219"/>
                <a:gd name="T33" fmla="*/ 159 h 254"/>
                <a:gd name="T34" fmla="*/ 130 w 219"/>
                <a:gd name="T35" fmla="*/ 175 h 254"/>
                <a:gd name="T36" fmla="*/ 106 w 219"/>
                <a:gd name="T37" fmla="*/ 207 h 254"/>
                <a:gd name="T38" fmla="*/ 208 w 219"/>
                <a:gd name="T39" fmla="*/ 278 h 254"/>
                <a:gd name="T40" fmla="*/ 140 w 219"/>
                <a:gd name="T41" fmla="*/ 303 h 254"/>
                <a:gd name="T42" fmla="*/ 105 w 219"/>
                <a:gd name="T43" fmla="*/ 349 h 254"/>
                <a:gd name="T44" fmla="*/ 118 w 219"/>
                <a:gd name="T45" fmla="*/ 363 h 254"/>
                <a:gd name="T46" fmla="*/ 29 w 219"/>
                <a:gd name="T47" fmla="*/ 398 h 254"/>
                <a:gd name="T48" fmla="*/ 13 w 219"/>
                <a:gd name="T49" fmla="*/ 377 h 254"/>
                <a:gd name="T50" fmla="*/ 4 w 219"/>
                <a:gd name="T51" fmla="*/ 413 h 254"/>
                <a:gd name="T52" fmla="*/ 23 w 219"/>
                <a:gd name="T53" fmla="*/ 408 h 254"/>
                <a:gd name="T54" fmla="*/ 4 w 219"/>
                <a:gd name="T55" fmla="*/ 447 h 254"/>
                <a:gd name="T56" fmla="*/ 29 w 219"/>
                <a:gd name="T57" fmla="*/ 456 h 254"/>
                <a:gd name="T58" fmla="*/ 5 w 219"/>
                <a:gd name="T59" fmla="*/ 480 h 254"/>
                <a:gd name="T60" fmla="*/ 26 w 219"/>
                <a:gd name="T61" fmla="*/ 509 h 254"/>
                <a:gd name="T62" fmla="*/ 170 w 219"/>
                <a:gd name="T63" fmla="*/ 504 h 254"/>
                <a:gd name="T64" fmla="*/ 274 w 219"/>
                <a:gd name="T65" fmla="*/ 497 h 254"/>
                <a:gd name="T66" fmla="*/ 332 w 219"/>
                <a:gd name="T67" fmla="*/ 468 h 254"/>
                <a:gd name="T68" fmla="*/ 428 w 219"/>
                <a:gd name="T69" fmla="*/ 452 h 254"/>
                <a:gd name="T70" fmla="*/ 464 w 219"/>
                <a:gd name="T71" fmla="*/ 398 h 254"/>
                <a:gd name="T72" fmla="*/ 474 w 219"/>
                <a:gd name="T73" fmla="*/ 377 h 254"/>
                <a:gd name="T74" fmla="*/ 471 w 219"/>
                <a:gd name="T75" fmla="*/ 278 h 254"/>
                <a:gd name="T76" fmla="*/ 494 w 219"/>
                <a:gd name="T77" fmla="*/ 216 h 254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219"/>
                <a:gd name="T118" fmla="*/ 0 h 254"/>
                <a:gd name="T119" fmla="*/ 219 w 219"/>
                <a:gd name="T120" fmla="*/ 254 h 254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219" h="254">
                  <a:moveTo>
                    <a:pt x="217" y="110"/>
                  </a:moveTo>
                  <a:cubicBezTo>
                    <a:pt x="219" y="105"/>
                    <a:pt x="213" y="105"/>
                    <a:pt x="208" y="104"/>
                  </a:cubicBezTo>
                  <a:cubicBezTo>
                    <a:pt x="202" y="100"/>
                    <a:pt x="201" y="97"/>
                    <a:pt x="196" y="92"/>
                  </a:cubicBezTo>
                  <a:cubicBezTo>
                    <a:pt x="194" y="90"/>
                    <a:pt x="194" y="85"/>
                    <a:pt x="194" y="85"/>
                  </a:cubicBezTo>
                  <a:cubicBezTo>
                    <a:pt x="191" y="77"/>
                    <a:pt x="190" y="79"/>
                    <a:pt x="182" y="82"/>
                  </a:cubicBezTo>
                  <a:cubicBezTo>
                    <a:pt x="179" y="90"/>
                    <a:pt x="182" y="92"/>
                    <a:pt x="172" y="91"/>
                  </a:cubicBezTo>
                  <a:cubicBezTo>
                    <a:pt x="165" y="89"/>
                    <a:pt x="164" y="79"/>
                    <a:pt x="154" y="76"/>
                  </a:cubicBezTo>
                  <a:cubicBezTo>
                    <a:pt x="152" y="69"/>
                    <a:pt x="155" y="77"/>
                    <a:pt x="149" y="71"/>
                  </a:cubicBezTo>
                  <a:cubicBezTo>
                    <a:pt x="147" y="69"/>
                    <a:pt x="147" y="64"/>
                    <a:pt x="146" y="61"/>
                  </a:cubicBezTo>
                  <a:cubicBezTo>
                    <a:pt x="150" y="58"/>
                    <a:pt x="154" y="57"/>
                    <a:pt x="159" y="56"/>
                  </a:cubicBezTo>
                  <a:cubicBezTo>
                    <a:pt x="165" y="47"/>
                    <a:pt x="162" y="47"/>
                    <a:pt x="173" y="46"/>
                  </a:cubicBezTo>
                  <a:cubicBezTo>
                    <a:pt x="180" y="41"/>
                    <a:pt x="178" y="44"/>
                    <a:pt x="182" y="38"/>
                  </a:cubicBezTo>
                  <a:cubicBezTo>
                    <a:pt x="184" y="32"/>
                    <a:pt x="184" y="31"/>
                    <a:pt x="190" y="29"/>
                  </a:cubicBezTo>
                  <a:cubicBezTo>
                    <a:pt x="193" y="26"/>
                    <a:pt x="196" y="20"/>
                    <a:pt x="200" y="19"/>
                  </a:cubicBezTo>
                  <a:cubicBezTo>
                    <a:pt x="202" y="14"/>
                    <a:pt x="206" y="9"/>
                    <a:pt x="202" y="6"/>
                  </a:cubicBezTo>
                  <a:cubicBezTo>
                    <a:pt x="200" y="0"/>
                    <a:pt x="194" y="3"/>
                    <a:pt x="188" y="7"/>
                  </a:cubicBezTo>
                  <a:cubicBezTo>
                    <a:pt x="187" y="11"/>
                    <a:pt x="184" y="15"/>
                    <a:pt x="183" y="19"/>
                  </a:cubicBezTo>
                  <a:cubicBezTo>
                    <a:pt x="182" y="21"/>
                    <a:pt x="181" y="25"/>
                    <a:pt x="181" y="25"/>
                  </a:cubicBezTo>
                  <a:cubicBezTo>
                    <a:pt x="170" y="22"/>
                    <a:pt x="182" y="10"/>
                    <a:pt x="165" y="8"/>
                  </a:cubicBezTo>
                  <a:cubicBezTo>
                    <a:pt x="149" y="9"/>
                    <a:pt x="158" y="15"/>
                    <a:pt x="149" y="18"/>
                  </a:cubicBezTo>
                  <a:cubicBezTo>
                    <a:pt x="148" y="23"/>
                    <a:pt x="147" y="23"/>
                    <a:pt x="142" y="25"/>
                  </a:cubicBezTo>
                  <a:cubicBezTo>
                    <a:pt x="139" y="29"/>
                    <a:pt x="135" y="34"/>
                    <a:pt x="131" y="35"/>
                  </a:cubicBezTo>
                  <a:cubicBezTo>
                    <a:pt x="131" y="36"/>
                    <a:pt x="127" y="40"/>
                    <a:pt x="128" y="41"/>
                  </a:cubicBezTo>
                  <a:cubicBezTo>
                    <a:pt x="129" y="43"/>
                    <a:pt x="134" y="43"/>
                    <a:pt x="135" y="44"/>
                  </a:cubicBezTo>
                  <a:cubicBezTo>
                    <a:pt x="138" y="45"/>
                    <a:pt x="145" y="48"/>
                    <a:pt x="145" y="48"/>
                  </a:cubicBezTo>
                  <a:cubicBezTo>
                    <a:pt x="144" y="49"/>
                    <a:pt x="142" y="58"/>
                    <a:pt x="140" y="59"/>
                  </a:cubicBezTo>
                  <a:cubicBezTo>
                    <a:pt x="137" y="61"/>
                    <a:pt x="131" y="62"/>
                    <a:pt x="131" y="62"/>
                  </a:cubicBezTo>
                  <a:cubicBezTo>
                    <a:pt x="127" y="67"/>
                    <a:pt x="125" y="64"/>
                    <a:pt x="124" y="71"/>
                  </a:cubicBezTo>
                  <a:cubicBezTo>
                    <a:pt x="116" y="70"/>
                    <a:pt x="120" y="68"/>
                    <a:pt x="113" y="65"/>
                  </a:cubicBezTo>
                  <a:cubicBezTo>
                    <a:pt x="111" y="58"/>
                    <a:pt x="101" y="60"/>
                    <a:pt x="95" y="59"/>
                  </a:cubicBezTo>
                  <a:cubicBezTo>
                    <a:pt x="92" y="55"/>
                    <a:pt x="87" y="53"/>
                    <a:pt x="83" y="52"/>
                  </a:cubicBezTo>
                  <a:cubicBezTo>
                    <a:pt x="75" y="53"/>
                    <a:pt x="67" y="51"/>
                    <a:pt x="63" y="58"/>
                  </a:cubicBezTo>
                  <a:cubicBezTo>
                    <a:pt x="62" y="64"/>
                    <a:pt x="62" y="66"/>
                    <a:pt x="58" y="70"/>
                  </a:cubicBezTo>
                  <a:cubicBezTo>
                    <a:pt x="57" y="74"/>
                    <a:pt x="57" y="79"/>
                    <a:pt x="61" y="82"/>
                  </a:cubicBezTo>
                  <a:cubicBezTo>
                    <a:pt x="64" y="85"/>
                    <a:pt x="74" y="86"/>
                    <a:pt x="74" y="86"/>
                  </a:cubicBezTo>
                  <a:cubicBezTo>
                    <a:pt x="69" y="88"/>
                    <a:pt x="64" y="88"/>
                    <a:pt x="59" y="90"/>
                  </a:cubicBezTo>
                  <a:cubicBezTo>
                    <a:pt x="61" y="95"/>
                    <a:pt x="62" y="96"/>
                    <a:pt x="61" y="101"/>
                  </a:cubicBezTo>
                  <a:cubicBezTo>
                    <a:pt x="48" y="100"/>
                    <a:pt x="47" y="93"/>
                    <a:pt x="45" y="106"/>
                  </a:cubicBezTo>
                  <a:cubicBezTo>
                    <a:pt x="46" y="114"/>
                    <a:pt x="50" y="119"/>
                    <a:pt x="59" y="121"/>
                  </a:cubicBezTo>
                  <a:cubicBezTo>
                    <a:pt x="70" y="128"/>
                    <a:pt x="81" y="133"/>
                    <a:pt x="94" y="134"/>
                  </a:cubicBezTo>
                  <a:cubicBezTo>
                    <a:pt x="89" y="141"/>
                    <a:pt x="84" y="138"/>
                    <a:pt x="74" y="137"/>
                  </a:cubicBezTo>
                  <a:cubicBezTo>
                    <a:pt x="67" y="139"/>
                    <a:pt x="70" y="146"/>
                    <a:pt x="64" y="150"/>
                  </a:cubicBezTo>
                  <a:cubicBezTo>
                    <a:pt x="62" y="155"/>
                    <a:pt x="58" y="160"/>
                    <a:pt x="53" y="162"/>
                  </a:cubicBezTo>
                  <a:cubicBezTo>
                    <a:pt x="50" y="166"/>
                    <a:pt x="39" y="175"/>
                    <a:pt x="44" y="173"/>
                  </a:cubicBezTo>
                  <a:cubicBezTo>
                    <a:pt x="58" y="174"/>
                    <a:pt x="71" y="171"/>
                    <a:pt x="85" y="173"/>
                  </a:cubicBezTo>
                  <a:cubicBezTo>
                    <a:pt x="74" y="175"/>
                    <a:pt x="64" y="179"/>
                    <a:pt x="53" y="180"/>
                  </a:cubicBezTo>
                  <a:cubicBezTo>
                    <a:pt x="47" y="182"/>
                    <a:pt x="43" y="178"/>
                    <a:pt x="37" y="180"/>
                  </a:cubicBezTo>
                  <a:cubicBezTo>
                    <a:pt x="35" y="183"/>
                    <a:pt x="31" y="192"/>
                    <a:pt x="29" y="196"/>
                  </a:cubicBezTo>
                  <a:cubicBezTo>
                    <a:pt x="28" y="198"/>
                    <a:pt x="27" y="202"/>
                    <a:pt x="27" y="202"/>
                  </a:cubicBezTo>
                  <a:cubicBezTo>
                    <a:pt x="25" y="195"/>
                    <a:pt x="20" y="189"/>
                    <a:pt x="13" y="187"/>
                  </a:cubicBezTo>
                  <a:cubicBezTo>
                    <a:pt x="6" y="188"/>
                    <a:pt x="9" y="190"/>
                    <a:pt x="4" y="193"/>
                  </a:cubicBezTo>
                  <a:cubicBezTo>
                    <a:pt x="3" y="196"/>
                    <a:pt x="0" y="200"/>
                    <a:pt x="4" y="202"/>
                  </a:cubicBezTo>
                  <a:cubicBezTo>
                    <a:pt x="6" y="203"/>
                    <a:pt x="10" y="204"/>
                    <a:pt x="10" y="204"/>
                  </a:cubicBezTo>
                  <a:cubicBezTo>
                    <a:pt x="16" y="203"/>
                    <a:pt x="18" y="203"/>
                    <a:pt x="23" y="200"/>
                  </a:cubicBezTo>
                  <a:cubicBezTo>
                    <a:pt x="24" y="201"/>
                    <a:pt x="27" y="201"/>
                    <a:pt x="27" y="202"/>
                  </a:cubicBezTo>
                  <a:cubicBezTo>
                    <a:pt x="27" y="205"/>
                    <a:pt x="7" y="216"/>
                    <a:pt x="4" y="217"/>
                  </a:cubicBezTo>
                  <a:cubicBezTo>
                    <a:pt x="5" y="222"/>
                    <a:pt x="6" y="222"/>
                    <a:pt x="11" y="224"/>
                  </a:cubicBezTo>
                  <a:cubicBezTo>
                    <a:pt x="17" y="223"/>
                    <a:pt x="24" y="218"/>
                    <a:pt x="29" y="222"/>
                  </a:cubicBezTo>
                  <a:cubicBezTo>
                    <a:pt x="31" y="223"/>
                    <a:pt x="29" y="226"/>
                    <a:pt x="28" y="228"/>
                  </a:cubicBezTo>
                  <a:cubicBezTo>
                    <a:pt x="23" y="235"/>
                    <a:pt x="12" y="234"/>
                    <a:pt x="5" y="236"/>
                  </a:cubicBezTo>
                  <a:cubicBezTo>
                    <a:pt x="14" y="240"/>
                    <a:pt x="23" y="238"/>
                    <a:pt x="32" y="241"/>
                  </a:cubicBezTo>
                  <a:cubicBezTo>
                    <a:pt x="31" y="245"/>
                    <a:pt x="30" y="249"/>
                    <a:pt x="26" y="250"/>
                  </a:cubicBezTo>
                  <a:cubicBezTo>
                    <a:pt x="32" y="254"/>
                    <a:pt x="38" y="253"/>
                    <a:pt x="45" y="254"/>
                  </a:cubicBezTo>
                  <a:cubicBezTo>
                    <a:pt x="56" y="252"/>
                    <a:pt x="68" y="250"/>
                    <a:pt x="79" y="248"/>
                  </a:cubicBezTo>
                  <a:cubicBezTo>
                    <a:pt x="83" y="247"/>
                    <a:pt x="92" y="244"/>
                    <a:pt x="92" y="244"/>
                  </a:cubicBezTo>
                  <a:cubicBezTo>
                    <a:pt x="98" y="238"/>
                    <a:pt x="112" y="243"/>
                    <a:pt x="119" y="244"/>
                  </a:cubicBezTo>
                  <a:cubicBezTo>
                    <a:pt x="122" y="242"/>
                    <a:pt x="128" y="238"/>
                    <a:pt x="128" y="238"/>
                  </a:cubicBezTo>
                  <a:cubicBezTo>
                    <a:pt x="130" y="232"/>
                    <a:pt x="143" y="231"/>
                    <a:pt x="148" y="230"/>
                  </a:cubicBezTo>
                  <a:cubicBezTo>
                    <a:pt x="162" y="232"/>
                    <a:pt x="166" y="235"/>
                    <a:pt x="178" y="239"/>
                  </a:cubicBezTo>
                  <a:cubicBezTo>
                    <a:pt x="188" y="236"/>
                    <a:pt x="182" y="231"/>
                    <a:pt x="185" y="220"/>
                  </a:cubicBezTo>
                  <a:cubicBezTo>
                    <a:pt x="186" y="216"/>
                    <a:pt x="197" y="215"/>
                    <a:pt x="197" y="215"/>
                  </a:cubicBezTo>
                  <a:cubicBezTo>
                    <a:pt x="203" y="209"/>
                    <a:pt x="200" y="203"/>
                    <a:pt x="203" y="196"/>
                  </a:cubicBezTo>
                  <a:cubicBezTo>
                    <a:pt x="204" y="194"/>
                    <a:pt x="206" y="192"/>
                    <a:pt x="207" y="190"/>
                  </a:cubicBezTo>
                  <a:cubicBezTo>
                    <a:pt x="207" y="189"/>
                    <a:pt x="208" y="188"/>
                    <a:pt x="208" y="187"/>
                  </a:cubicBezTo>
                  <a:cubicBezTo>
                    <a:pt x="211" y="169"/>
                    <a:pt x="211" y="159"/>
                    <a:pt x="209" y="140"/>
                  </a:cubicBezTo>
                  <a:cubicBezTo>
                    <a:pt x="209" y="138"/>
                    <a:pt x="207" y="134"/>
                    <a:pt x="207" y="134"/>
                  </a:cubicBezTo>
                  <a:cubicBezTo>
                    <a:pt x="208" y="128"/>
                    <a:pt x="209" y="124"/>
                    <a:pt x="211" y="119"/>
                  </a:cubicBezTo>
                  <a:cubicBezTo>
                    <a:pt x="212" y="111"/>
                    <a:pt x="210" y="114"/>
                    <a:pt x="217" y="110"/>
                  </a:cubicBez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  <p:grpSp>
          <p:nvGrpSpPr>
            <p:cNvPr id="21" name="Group 70"/>
            <p:cNvGrpSpPr>
              <a:grpSpLocks noChangeAspect="1"/>
            </p:cNvGrpSpPr>
            <p:nvPr/>
          </p:nvGrpSpPr>
          <p:grpSpPr bwMode="auto">
            <a:xfrm>
              <a:off x="2582" y="1531"/>
              <a:ext cx="400" cy="1042"/>
              <a:chOff x="2717" y="1385"/>
              <a:chExt cx="395" cy="1031"/>
            </a:xfrm>
            <a:grpFill/>
          </p:grpSpPr>
          <p:sp>
            <p:nvSpPr>
              <p:cNvPr id="75" name="Freeform 71"/>
              <p:cNvSpPr>
                <a:spLocks noChangeAspect="1"/>
              </p:cNvSpPr>
              <p:nvPr/>
            </p:nvSpPr>
            <p:spPr bwMode="auto">
              <a:xfrm>
                <a:off x="2998" y="2203"/>
                <a:ext cx="50" cy="89"/>
              </a:xfrm>
              <a:custGeom>
                <a:avLst/>
                <a:gdLst>
                  <a:gd name="T0" fmla="*/ 42 w 50"/>
                  <a:gd name="T1" fmla="*/ 3 h 89"/>
                  <a:gd name="T2" fmla="*/ 24 w 50"/>
                  <a:gd name="T3" fmla="*/ 14 h 89"/>
                  <a:gd name="T4" fmla="*/ 15 w 50"/>
                  <a:gd name="T5" fmla="*/ 19 h 89"/>
                  <a:gd name="T6" fmla="*/ 0 w 50"/>
                  <a:gd name="T7" fmla="*/ 38 h 89"/>
                  <a:gd name="T8" fmla="*/ 4 w 50"/>
                  <a:gd name="T9" fmla="*/ 51 h 89"/>
                  <a:gd name="T10" fmla="*/ 0 w 50"/>
                  <a:gd name="T11" fmla="*/ 62 h 89"/>
                  <a:gd name="T12" fmla="*/ 7 w 50"/>
                  <a:gd name="T13" fmla="*/ 72 h 89"/>
                  <a:gd name="T14" fmla="*/ 6 w 50"/>
                  <a:gd name="T15" fmla="*/ 81 h 89"/>
                  <a:gd name="T16" fmla="*/ 13 w 50"/>
                  <a:gd name="T17" fmla="*/ 83 h 89"/>
                  <a:gd name="T18" fmla="*/ 23 w 50"/>
                  <a:gd name="T19" fmla="*/ 65 h 89"/>
                  <a:gd name="T20" fmla="*/ 33 w 50"/>
                  <a:gd name="T21" fmla="*/ 48 h 89"/>
                  <a:gd name="T22" fmla="*/ 23 w 50"/>
                  <a:gd name="T23" fmla="*/ 29 h 89"/>
                  <a:gd name="T24" fmla="*/ 34 w 50"/>
                  <a:gd name="T25" fmla="*/ 18 h 89"/>
                  <a:gd name="T26" fmla="*/ 48 w 50"/>
                  <a:gd name="T27" fmla="*/ 6 h 89"/>
                  <a:gd name="T28" fmla="*/ 42 w 50"/>
                  <a:gd name="T29" fmla="*/ 3 h 89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50"/>
                  <a:gd name="T46" fmla="*/ 0 h 89"/>
                  <a:gd name="T47" fmla="*/ 50 w 50"/>
                  <a:gd name="T48" fmla="*/ 89 h 89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50" h="89">
                    <a:moveTo>
                      <a:pt x="42" y="3"/>
                    </a:moveTo>
                    <a:cubicBezTo>
                      <a:pt x="27" y="4"/>
                      <a:pt x="15" y="0"/>
                      <a:pt x="24" y="14"/>
                    </a:cubicBezTo>
                    <a:cubicBezTo>
                      <a:pt x="21" y="18"/>
                      <a:pt x="20" y="18"/>
                      <a:pt x="15" y="19"/>
                    </a:cubicBezTo>
                    <a:cubicBezTo>
                      <a:pt x="7" y="24"/>
                      <a:pt x="7" y="31"/>
                      <a:pt x="0" y="38"/>
                    </a:cubicBezTo>
                    <a:cubicBezTo>
                      <a:pt x="1" y="44"/>
                      <a:pt x="2" y="46"/>
                      <a:pt x="4" y="51"/>
                    </a:cubicBezTo>
                    <a:cubicBezTo>
                      <a:pt x="3" y="55"/>
                      <a:pt x="1" y="58"/>
                      <a:pt x="0" y="62"/>
                    </a:cubicBezTo>
                    <a:cubicBezTo>
                      <a:pt x="1" y="68"/>
                      <a:pt x="1" y="70"/>
                      <a:pt x="7" y="72"/>
                    </a:cubicBezTo>
                    <a:cubicBezTo>
                      <a:pt x="10" y="76"/>
                      <a:pt x="8" y="76"/>
                      <a:pt x="6" y="81"/>
                    </a:cubicBezTo>
                    <a:cubicBezTo>
                      <a:pt x="7" y="88"/>
                      <a:pt x="9" y="89"/>
                      <a:pt x="13" y="83"/>
                    </a:cubicBezTo>
                    <a:cubicBezTo>
                      <a:pt x="15" y="71"/>
                      <a:pt x="12" y="67"/>
                      <a:pt x="23" y="65"/>
                    </a:cubicBezTo>
                    <a:cubicBezTo>
                      <a:pt x="31" y="61"/>
                      <a:pt x="27" y="54"/>
                      <a:pt x="33" y="48"/>
                    </a:cubicBezTo>
                    <a:cubicBezTo>
                      <a:pt x="30" y="40"/>
                      <a:pt x="27" y="36"/>
                      <a:pt x="23" y="29"/>
                    </a:cubicBezTo>
                    <a:cubicBezTo>
                      <a:pt x="24" y="24"/>
                      <a:pt x="29" y="21"/>
                      <a:pt x="34" y="18"/>
                    </a:cubicBezTo>
                    <a:cubicBezTo>
                      <a:pt x="37" y="8"/>
                      <a:pt x="36" y="7"/>
                      <a:pt x="48" y="6"/>
                    </a:cubicBezTo>
                    <a:cubicBezTo>
                      <a:pt x="50" y="1"/>
                      <a:pt x="50" y="3"/>
                      <a:pt x="42" y="3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76" name="Freeform 72"/>
              <p:cNvSpPr>
                <a:spLocks noChangeAspect="1"/>
              </p:cNvSpPr>
              <p:nvPr/>
            </p:nvSpPr>
            <p:spPr bwMode="auto">
              <a:xfrm>
                <a:off x="2932" y="2263"/>
                <a:ext cx="29" cy="87"/>
              </a:xfrm>
              <a:custGeom>
                <a:avLst/>
                <a:gdLst>
                  <a:gd name="T0" fmla="*/ 27 w 29"/>
                  <a:gd name="T1" fmla="*/ 0 h 87"/>
                  <a:gd name="T2" fmla="*/ 19 w 29"/>
                  <a:gd name="T3" fmla="*/ 15 h 87"/>
                  <a:gd name="T4" fmla="*/ 13 w 29"/>
                  <a:gd name="T5" fmla="*/ 30 h 87"/>
                  <a:gd name="T6" fmla="*/ 7 w 29"/>
                  <a:gd name="T7" fmla="*/ 38 h 87"/>
                  <a:gd name="T8" fmla="*/ 1 w 29"/>
                  <a:gd name="T9" fmla="*/ 57 h 87"/>
                  <a:gd name="T10" fmla="*/ 9 w 29"/>
                  <a:gd name="T11" fmla="*/ 78 h 87"/>
                  <a:gd name="T12" fmla="*/ 12 w 29"/>
                  <a:gd name="T13" fmla="*/ 85 h 87"/>
                  <a:gd name="T14" fmla="*/ 24 w 29"/>
                  <a:gd name="T15" fmla="*/ 32 h 87"/>
                  <a:gd name="T16" fmla="*/ 25 w 29"/>
                  <a:gd name="T17" fmla="*/ 17 h 87"/>
                  <a:gd name="T18" fmla="*/ 29 w 29"/>
                  <a:gd name="T19" fmla="*/ 8 h 87"/>
                  <a:gd name="T20" fmla="*/ 27 w 29"/>
                  <a:gd name="T21" fmla="*/ 0 h 87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29"/>
                  <a:gd name="T34" fmla="*/ 0 h 87"/>
                  <a:gd name="T35" fmla="*/ 29 w 29"/>
                  <a:gd name="T36" fmla="*/ 87 h 87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29" h="87">
                    <a:moveTo>
                      <a:pt x="27" y="0"/>
                    </a:moveTo>
                    <a:cubicBezTo>
                      <a:pt x="24" y="5"/>
                      <a:pt x="23" y="11"/>
                      <a:pt x="19" y="15"/>
                    </a:cubicBezTo>
                    <a:cubicBezTo>
                      <a:pt x="18" y="21"/>
                      <a:pt x="17" y="26"/>
                      <a:pt x="13" y="30"/>
                    </a:cubicBezTo>
                    <a:cubicBezTo>
                      <a:pt x="11" y="37"/>
                      <a:pt x="13" y="35"/>
                      <a:pt x="7" y="38"/>
                    </a:cubicBezTo>
                    <a:cubicBezTo>
                      <a:pt x="5" y="44"/>
                      <a:pt x="5" y="51"/>
                      <a:pt x="1" y="57"/>
                    </a:cubicBezTo>
                    <a:cubicBezTo>
                      <a:pt x="0" y="64"/>
                      <a:pt x="2" y="76"/>
                      <a:pt x="9" y="78"/>
                    </a:cubicBezTo>
                    <a:cubicBezTo>
                      <a:pt x="10" y="80"/>
                      <a:pt x="11" y="87"/>
                      <a:pt x="12" y="85"/>
                    </a:cubicBezTo>
                    <a:cubicBezTo>
                      <a:pt x="18" y="68"/>
                      <a:pt x="18" y="49"/>
                      <a:pt x="24" y="32"/>
                    </a:cubicBezTo>
                    <a:cubicBezTo>
                      <a:pt x="24" y="27"/>
                      <a:pt x="24" y="22"/>
                      <a:pt x="25" y="17"/>
                    </a:cubicBezTo>
                    <a:cubicBezTo>
                      <a:pt x="26" y="14"/>
                      <a:pt x="29" y="8"/>
                      <a:pt x="29" y="8"/>
                    </a:cubicBezTo>
                    <a:cubicBezTo>
                      <a:pt x="28" y="2"/>
                      <a:pt x="29" y="5"/>
                      <a:pt x="27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77" name="Freeform 73"/>
              <p:cNvSpPr>
                <a:spLocks noChangeAspect="1"/>
              </p:cNvSpPr>
              <p:nvPr/>
            </p:nvSpPr>
            <p:spPr bwMode="auto">
              <a:xfrm>
                <a:off x="2717" y="1385"/>
                <a:ext cx="395" cy="1031"/>
              </a:xfrm>
              <a:custGeom>
                <a:avLst/>
                <a:gdLst>
                  <a:gd name="T0" fmla="*/ 240 w 395"/>
                  <a:gd name="T1" fmla="*/ 3 h 1031"/>
                  <a:gd name="T2" fmla="*/ 240 w 395"/>
                  <a:gd name="T3" fmla="*/ 33 h 1031"/>
                  <a:gd name="T4" fmla="*/ 188 w 395"/>
                  <a:gd name="T5" fmla="*/ 73 h 1031"/>
                  <a:gd name="T6" fmla="*/ 144 w 395"/>
                  <a:gd name="T7" fmla="*/ 130 h 1031"/>
                  <a:gd name="T8" fmla="*/ 135 w 395"/>
                  <a:gd name="T9" fmla="*/ 193 h 1031"/>
                  <a:gd name="T10" fmla="*/ 103 w 395"/>
                  <a:gd name="T11" fmla="*/ 302 h 1031"/>
                  <a:gd name="T12" fmla="*/ 92 w 395"/>
                  <a:gd name="T13" fmla="*/ 331 h 1031"/>
                  <a:gd name="T14" fmla="*/ 87 w 395"/>
                  <a:gd name="T15" fmla="*/ 358 h 1031"/>
                  <a:gd name="T16" fmla="*/ 74 w 395"/>
                  <a:gd name="T17" fmla="*/ 393 h 1031"/>
                  <a:gd name="T18" fmla="*/ 29 w 395"/>
                  <a:gd name="T19" fmla="*/ 457 h 1031"/>
                  <a:gd name="T20" fmla="*/ 38 w 395"/>
                  <a:gd name="T21" fmla="*/ 563 h 1031"/>
                  <a:gd name="T22" fmla="*/ 45 w 395"/>
                  <a:gd name="T23" fmla="*/ 633 h 1031"/>
                  <a:gd name="T24" fmla="*/ 40 w 395"/>
                  <a:gd name="T25" fmla="*/ 702 h 1031"/>
                  <a:gd name="T26" fmla="*/ 21 w 395"/>
                  <a:gd name="T27" fmla="*/ 773 h 1031"/>
                  <a:gd name="T28" fmla="*/ 3 w 395"/>
                  <a:gd name="T29" fmla="*/ 771 h 1031"/>
                  <a:gd name="T30" fmla="*/ 35 w 395"/>
                  <a:gd name="T31" fmla="*/ 865 h 1031"/>
                  <a:gd name="T32" fmla="*/ 69 w 395"/>
                  <a:gd name="T33" fmla="*/ 926 h 1031"/>
                  <a:gd name="T34" fmla="*/ 94 w 395"/>
                  <a:gd name="T35" fmla="*/ 1031 h 1031"/>
                  <a:gd name="T36" fmla="*/ 136 w 395"/>
                  <a:gd name="T37" fmla="*/ 993 h 1031"/>
                  <a:gd name="T38" fmla="*/ 196 w 395"/>
                  <a:gd name="T39" fmla="*/ 963 h 1031"/>
                  <a:gd name="T40" fmla="*/ 207 w 395"/>
                  <a:gd name="T41" fmla="*/ 939 h 1031"/>
                  <a:gd name="T42" fmla="*/ 220 w 395"/>
                  <a:gd name="T43" fmla="*/ 897 h 1031"/>
                  <a:gd name="T44" fmla="*/ 201 w 395"/>
                  <a:gd name="T45" fmla="*/ 790 h 1031"/>
                  <a:gd name="T46" fmla="*/ 252 w 395"/>
                  <a:gd name="T47" fmla="*/ 750 h 1031"/>
                  <a:gd name="T48" fmla="*/ 284 w 395"/>
                  <a:gd name="T49" fmla="*/ 745 h 1031"/>
                  <a:gd name="T50" fmla="*/ 298 w 395"/>
                  <a:gd name="T51" fmla="*/ 693 h 1031"/>
                  <a:gd name="T52" fmla="*/ 255 w 395"/>
                  <a:gd name="T53" fmla="*/ 645 h 1031"/>
                  <a:gd name="T54" fmla="*/ 226 w 395"/>
                  <a:gd name="T55" fmla="*/ 637 h 1031"/>
                  <a:gd name="T56" fmla="*/ 226 w 395"/>
                  <a:gd name="T57" fmla="*/ 507 h 1031"/>
                  <a:gd name="T58" fmla="*/ 305 w 395"/>
                  <a:gd name="T59" fmla="*/ 399 h 1031"/>
                  <a:gd name="T60" fmla="*/ 332 w 395"/>
                  <a:gd name="T61" fmla="*/ 365 h 1031"/>
                  <a:gd name="T62" fmla="*/ 312 w 395"/>
                  <a:gd name="T63" fmla="*/ 309 h 1031"/>
                  <a:gd name="T64" fmla="*/ 372 w 395"/>
                  <a:gd name="T65" fmla="*/ 229 h 1031"/>
                  <a:gd name="T66" fmla="*/ 384 w 395"/>
                  <a:gd name="T67" fmla="*/ 213 h 1031"/>
                  <a:gd name="T68" fmla="*/ 365 w 395"/>
                  <a:gd name="T69" fmla="*/ 133 h 1031"/>
                  <a:gd name="T70" fmla="*/ 340 w 395"/>
                  <a:gd name="T71" fmla="*/ 62 h 1031"/>
                  <a:gd name="T72" fmla="*/ 253 w 395"/>
                  <a:gd name="T73" fmla="*/ 0 h 1031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395"/>
                  <a:gd name="T112" fmla="*/ 0 h 1031"/>
                  <a:gd name="T113" fmla="*/ 395 w 395"/>
                  <a:gd name="T114" fmla="*/ 1031 h 1031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395" h="1031">
                    <a:moveTo>
                      <a:pt x="253" y="0"/>
                    </a:moveTo>
                    <a:cubicBezTo>
                      <a:pt x="251" y="0"/>
                      <a:pt x="240" y="2"/>
                      <a:pt x="240" y="3"/>
                    </a:cubicBezTo>
                    <a:cubicBezTo>
                      <a:pt x="239" y="7"/>
                      <a:pt x="244" y="20"/>
                      <a:pt x="244" y="25"/>
                    </a:cubicBezTo>
                    <a:cubicBezTo>
                      <a:pt x="243" y="28"/>
                      <a:pt x="240" y="33"/>
                      <a:pt x="240" y="33"/>
                    </a:cubicBezTo>
                    <a:cubicBezTo>
                      <a:pt x="239" y="38"/>
                      <a:pt x="245" y="47"/>
                      <a:pt x="236" y="54"/>
                    </a:cubicBezTo>
                    <a:cubicBezTo>
                      <a:pt x="159" y="33"/>
                      <a:pt x="202" y="64"/>
                      <a:pt x="188" y="73"/>
                    </a:cubicBezTo>
                    <a:cubicBezTo>
                      <a:pt x="172" y="83"/>
                      <a:pt x="202" y="87"/>
                      <a:pt x="179" y="88"/>
                    </a:cubicBezTo>
                    <a:cubicBezTo>
                      <a:pt x="135" y="86"/>
                      <a:pt x="146" y="119"/>
                      <a:pt x="144" y="130"/>
                    </a:cubicBezTo>
                    <a:cubicBezTo>
                      <a:pt x="148" y="137"/>
                      <a:pt x="146" y="147"/>
                      <a:pt x="148" y="155"/>
                    </a:cubicBezTo>
                    <a:cubicBezTo>
                      <a:pt x="145" y="174"/>
                      <a:pt x="145" y="177"/>
                      <a:pt x="135" y="193"/>
                    </a:cubicBezTo>
                    <a:cubicBezTo>
                      <a:pt x="128" y="208"/>
                      <a:pt x="111" y="225"/>
                      <a:pt x="106" y="243"/>
                    </a:cubicBezTo>
                    <a:cubicBezTo>
                      <a:pt x="102" y="265"/>
                      <a:pt x="102" y="276"/>
                      <a:pt x="103" y="302"/>
                    </a:cubicBezTo>
                    <a:cubicBezTo>
                      <a:pt x="101" y="308"/>
                      <a:pt x="101" y="311"/>
                      <a:pt x="96" y="315"/>
                    </a:cubicBezTo>
                    <a:cubicBezTo>
                      <a:pt x="95" y="320"/>
                      <a:pt x="94" y="326"/>
                      <a:pt x="92" y="331"/>
                    </a:cubicBezTo>
                    <a:cubicBezTo>
                      <a:pt x="91" y="334"/>
                      <a:pt x="88" y="341"/>
                      <a:pt x="88" y="341"/>
                    </a:cubicBezTo>
                    <a:cubicBezTo>
                      <a:pt x="87" y="349"/>
                      <a:pt x="83" y="350"/>
                      <a:pt x="87" y="358"/>
                    </a:cubicBezTo>
                    <a:cubicBezTo>
                      <a:pt x="90" y="371"/>
                      <a:pt x="99" y="375"/>
                      <a:pt x="93" y="397"/>
                    </a:cubicBezTo>
                    <a:cubicBezTo>
                      <a:pt x="86" y="396"/>
                      <a:pt x="81" y="395"/>
                      <a:pt x="74" y="393"/>
                    </a:cubicBezTo>
                    <a:cubicBezTo>
                      <a:pt x="54" y="388"/>
                      <a:pt x="50" y="411"/>
                      <a:pt x="40" y="421"/>
                    </a:cubicBezTo>
                    <a:cubicBezTo>
                      <a:pt x="38" y="432"/>
                      <a:pt x="34" y="447"/>
                      <a:pt x="29" y="457"/>
                    </a:cubicBezTo>
                    <a:cubicBezTo>
                      <a:pt x="38" y="472"/>
                      <a:pt x="29" y="481"/>
                      <a:pt x="34" y="493"/>
                    </a:cubicBezTo>
                    <a:cubicBezTo>
                      <a:pt x="36" y="512"/>
                      <a:pt x="42" y="526"/>
                      <a:pt x="38" y="563"/>
                    </a:cubicBezTo>
                    <a:cubicBezTo>
                      <a:pt x="35" y="590"/>
                      <a:pt x="51" y="584"/>
                      <a:pt x="64" y="596"/>
                    </a:cubicBezTo>
                    <a:cubicBezTo>
                      <a:pt x="65" y="607"/>
                      <a:pt x="46" y="623"/>
                      <a:pt x="45" y="633"/>
                    </a:cubicBezTo>
                    <a:cubicBezTo>
                      <a:pt x="44" y="645"/>
                      <a:pt x="59" y="657"/>
                      <a:pt x="58" y="669"/>
                    </a:cubicBezTo>
                    <a:cubicBezTo>
                      <a:pt x="53" y="679"/>
                      <a:pt x="48" y="693"/>
                      <a:pt x="40" y="702"/>
                    </a:cubicBezTo>
                    <a:cubicBezTo>
                      <a:pt x="32" y="709"/>
                      <a:pt x="29" y="725"/>
                      <a:pt x="28" y="737"/>
                    </a:cubicBezTo>
                    <a:cubicBezTo>
                      <a:pt x="29" y="753"/>
                      <a:pt x="27" y="758"/>
                      <a:pt x="21" y="773"/>
                    </a:cubicBezTo>
                    <a:cubicBezTo>
                      <a:pt x="18" y="778"/>
                      <a:pt x="8" y="757"/>
                      <a:pt x="5" y="757"/>
                    </a:cubicBezTo>
                    <a:cubicBezTo>
                      <a:pt x="1" y="763"/>
                      <a:pt x="0" y="764"/>
                      <a:pt x="3" y="771"/>
                    </a:cubicBezTo>
                    <a:cubicBezTo>
                      <a:pt x="5" y="784"/>
                      <a:pt x="15" y="823"/>
                      <a:pt x="20" y="838"/>
                    </a:cubicBezTo>
                    <a:cubicBezTo>
                      <a:pt x="22" y="849"/>
                      <a:pt x="32" y="855"/>
                      <a:pt x="35" y="865"/>
                    </a:cubicBezTo>
                    <a:cubicBezTo>
                      <a:pt x="39" y="877"/>
                      <a:pt x="43" y="897"/>
                      <a:pt x="50" y="907"/>
                    </a:cubicBezTo>
                    <a:cubicBezTo>
                      <a:pt x="59" y="911"/>
                      <a:pt x="63" y="918"/>
                      <a:pt x="69" y="926"/>
                    </a:cubicBezTo>
                    <a:cubicBezTo>
                      <a:pt x="72" y="940"/>
                      <a:pt x="75" y="958"/>
                      <a:pt x="64" y="969"/>
                    </a:cubicBezTo>
                    <a:cubicBezTo>
                      <a:pt x="68" y="986"/>
                      <a:pt x="81" y="1021"/>
                      <a:pt x="94" y="1031"/>
                    </a:cubicBezTo>
                    <a:cubicBezTo>
                      <a:pt x="110" y="1029"/>
                      <a:pt x="124" y="1029"/>
                      <a:pt x="140" y="1027"/>
                    </a:cubicBezTo>
                    <a:cubicBezTo>
                      <a:pt x="148" y="1016"/>
                      <a:pt x="140" y="1004"/>
                      <a:pt x="136" y="993"/>
                    </a:cubicBezTo>
                    <a:cubicBezTo>
                      <a:pt x="141" y="973"/>
                      <a:pt x="160" y="970"/>
                      <a:pt x="177" y="969"/>
                    </a:cubicBezTo>
                    <a:cubicBezTo>
                      <a:pt x="184" y="966"/>
                      <a:pt x="189" y="966"/>
                      <a:pt x="196" y="963"/>
                    </a:cubicBezTo>
                    <a:cubicBezTo>
                      <a:pt x="197" y="956"/>
                      <a:pt x="201" y="951"/>
                      <a:pt x="204" y="945"/>
                    </a:cubicBezTo>
                    <a:cubicBezTo>
                      <a:pt x="205" y="943"/>
                      <a:pt x="207" y="939"/>
                      <a:pt x="207" y="939"/>
                    </a:cubicBezTo>
                    <a:cubicBezTo>
                      <a:pt x="209" y="929"/>
                      <a:pt x="212" y="918"/>
                      <a:pt x="215" y="909"/>
                    </a:cubicBezTo>
                    <a:cubicBezTo>
                      <a:pt x="216" y="905"/>
                      <a:pt x="220" y="897"/>
                      <a:pt x="220" y="897"/>
                    </a:cubicBezTo>
                    <a:cubicBezTo>
                      <a:pt x="223" y="877"/>
                      <a:pt x="220" y="851"/>
                      <a:pt x="226" y="832"/>
                    </a:cubicBezTo>
                    <a:cubicBezTo>
                      <a:pt x="224" y="801"/>
                      <a:pt x="227" y="803"/>
                      <a:pt x="201" y="790"/>
                    </a:cubicBezTo>
                    <a:cubicBezTo>
                      <a:pt x="206" y="783"/>
                      <a:pt x="227" y="780"/>
                      <a:pt x="236" y="779"/>
                    </a:cubicBezTo>
                    <a:cubicBezTo>
                      <a:pt x="248" y="772"/>
                      <a:pt x="241" y="756"/>
                      <a:pt x="252" y="750"/>
                    </a:cubicBezTo>
                    <a:cubicBezTo>
                      <a:pt x="256" y="753"/>
                      <a:pt x="257" y="760"/>
                      <a:pt x="260" y="764"/>
                    </a:cubicBezTo>
                    <a:cubicBezTo>
                      <a:pt x="271" y="760"/>
                      <a:pt x="276" y="753"/>
                      <a:pt x="284" y="745"/>
                    </a:cubicBezTo>
                    <a:cubicBezTo>
                      <a:pt x="280" y="729"/>
                      <a:pt x="264" y="732"/>
                      <a:pt x="245" y="731"/>
                    </a:cubicBezTo>
                    <a:cubicBezTo>
                      <a:pt x="247" y="722"/>
                      <a:pt x="295" y="707"/>
                      <a:pt x="298" y="693"/>
                    </a:cubicBezTo>
                    <a:cubicBezTo>
                      <a:pt x="300" y="679"/>
                      <a:pt x="283" y="659"/>
                      <a:pt x="272" y="651"/>
                    </a:cubicBezTo>
                    <a:cubicBezTo>
                      <a:pt x="271" y="644"/>
                      <a:pt x="262" y="646"/>
                      <a:pt x="255" y="645"/>
                    </a:cubicBezTo>
                    <a:cubicBezTo>
                      <a:pt x="247" y="638"/>
                      <a:pt x="253" y="642"/>
                      <a:pt x="240" y="640"/>
                    </a:cubicBezTo>
                    <a:cubicBezTo>
                      <a:pt x="235" y="639"/>
                      <a:pt x="226" y="637"/>
                      <a:pt x="226" y="637"/>
                    </a:cubicBezTo>
                    <a:cubicBezTo>
                      <a:pt x="218" y="626"/>
                      <a:pt x="221" y="632"/>
                      <a:pt x="221" y="605"/>
                    </a:cubicBezTo>
                    <a:cubicBezTo>
                      <a:pt x="221" y="585"/>
                      <a:pt x="219" y="536"/>
                      <a:pt x="226" y="507"/>
                    </a:cubicBezTo>
                    <a:cubicBezTo>
                      <a:pt x="230" y="491"/>
                      <a:pt x="240" y="477"/>
                      <a:pt x="249" y="464"/>
                    </a:cubicBezTo>
                    <a:cubicBezTo>
                      <a:pt x="266" y="441"/>
                      <a:pt x="282" y="417"/>
                      <a:pt x="305" y="399"/>
                    </a:cubicBezTo>
                    <a:cubicBezTo>
                      <a:pt x="312" y="393"/>
                      <a:pt x="317" y="387"/>
                      <a:pt x="324" y="381"/>
                    </a:cubicBezTo>
                    <a:cubicBezTo>
                      <a:pt x="331" y="369"/>
                      <a:pt x="329" y="375"/>
                      <a:pt x="332" y="365"/>
                    </a:cubicBezTo>
                    <a:cubicBezTo>
                      <a:pt x="330" y="342"/>
                      <a:pt x="344" y="349"/>
                      <a:pt x="336" y="334"/>
                    </a:cubicBezTo>
                    <a:cubicBezTo>
                      <a:pt x="335" y="327"/>
                      <a:pt x="318" y="313"/>
                      <a:pt x="312" y="309"/>
                    </a:cubicBezTo>
                    <a:cubicBezTo>
                      <a:pt x="314" y="296"/>
                      <a:pt x="334" y="264"/>
                      <a:pt x="344" y="251"/>
                    </a:cubicBezTo>
                    <a:cubicBezTo>
                      <a:pt x="350" y="241"/>
                      <a:pt x="360" y="231"/>
                      <a:pt x="372" y="229"/>
                    </a:cubicBezTo>
                    <a:cubicBezTo>
                      <a:pt x="380" y="225"/>
                      <a:pt x="386" y="229"/>
                      <a:pt x="395" y="227"/>
                    </a:cubicBezTo>
                    <a:cubicBezTo>
                      <a:pt x="388" y="225"/>
                      <a:pt x="387" y="220"/>
                      <a:pt x="384" y="213"/>
                    </a:cubicBezTo>
                    <a:cubicBezTo>
                      <a:pt x="383" y="206"/>
                      <a:pt x="377" y="199"/>
                      <a:pt x="373" y="193"/>
                    </a:cubicBezTo>
                    <a:cubicBezTo>
                      <a:pt x="370" y="173"/>
                      <a:pt x="378" y="150"/>
                      <a:pt x="365" y="133"/>
                    </a:cubicBezTo>
                    <a:cubicBezTo>
                      <a:pt x="362" y="120"/>
                      <a:pt x="351" y="107"/>
                      <a:pt x="346" y="94"/>
                    </a:cubicBezTo>
                    <a:cubicBezTo>
                      <a:pt x="345" y="80"/>
                      <a:pt x="352" y="69"/>
                      <a:pt x="340" y="62"/>
                    </a:cubicBezTo>
                    <a:cubicBezTo>
                      <a:pt x="327" y="46"/>
                      <a:pt x="304" y="36"/>
                      <a:pt x="287" y="24"/>
                    </a:cubicBezTo>
                    <a:cubicBezTo>
                      <a:pt x="276" y="16"/>
                      <a:pt x="267" y="5"/>
                      <a:pt x="253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</p:grpSp>
        <p:grpSp>
          <p:nvGrpSpPr>
            <p:cNvPr id="22" name="Group 74"/>
            <p:cNvGrpSpPr>
              <a:grpSpLocks/>
            </p:cNvGrpSpPr>
            <p:nvPr/>
          </p:nvGrpSpPr>
          <p:grpSpPr bwMode="auto">
            <a:xfrm>
              <a:off x="2358" y="1338"/>
              <a:ext cx="737" cy="1042"/>
              <a:chOff x="1955" y="-432"/>
              <a:chExt cx="2919" cy="4123"/>
            </a:xfrm>
            <a:grpFill/>
          </p:grpSpPr>
          <p:sp>
            <p:nvSpPr>
              <p:cNvPr id="73" name="Freeform 75"/>
              <p:cNvSpPr>
                <a:spLocks noChangeAspect="1"/>
              </p:cNvSpPr>
              <p:nvPr/>
            </p:nvSpPr>
            <p:spPr bwMode="auto">
              <a:xfrm>
                <a:off x="3019" y="312"/>
                <a:ext cx="392" cy="468"/>
              </a:xfrm>
              <a:custGeom>
                <a:avLst/>
                <a:gdLst>
                  <a:gd name="T0" fmla="*/ 2147483647 w 98"/>
                  <a:gd name="T1" fmla="*/ 2147483647 h 117"/>
                  <a:gd name="T2" fmla="*/ 2147483647 w 98"/>
                  <a:gd name="T3" fmla="*/ 2147483647 h 117"/>
                  <a:gd name="T4" fmla="*/ 2147483647 w 98"/>
                  <a:gd name="T5" fmla="*/ 2147483647 h 117"/>
                  <a:gd name="T6" fmla="*/ 2147483647 w 98"/>
                  <a:gd name="T7" fmla="*/ 2147483647 h 117"/>
                  <a:gd name="T8" fmla="*/ 2147483647 w 98"/>
                  <a:gd name="T9" fmla="*/ 2147483647 h 117"/>
                  <a:gd name="T10" fmla="*/ 2147483647 w 98"/>
                  <a:gd name="T11" fmla="*/ 2147483647 h 117"/>
                  <a:gd name="T12" fmla="*/ 2147483647 w 98"/>
                  <a:gd name="T13" fmla="*/ 2147483647 h 117"/>
                  <a:gd name="T14" fmla="*/ 2147483647 w 98"/>
                  <a:gd name="T15" fmla="*/ 2147483647 h 117"/>
                  <a:gd name="T16" fmla="*/ 2147483647 w 98"/>
                  <a:gd name="T17" fmla="*/ 0 h 117"/>
                  <a:gd name="T18" fmla="*/ 2147483647 w 98"/>
                  <a:gd name="T19" fmla="*/ 2147483647 h 117"/>
                  <a:gd name="T20" fmla="*/ 2147483647 w 98"/>
                  <a:gd name="T21" fmla="*/ 2147483647 h 117"/>
                  <a:gd name="T22" fmla="*/ 2147483647 w 98"/>
                  <a:gd name="T23" fmla="*/ 2147483647 h 117"/>
                  <a:gd name="T24" fmla="*/ 2147483647 w 98"/>
                  <a:gd name="T25" fmla="*/ 2147483647 h 117"/>
                  <a:gd name="T26" fmla="*/ 2147483647 w 98"/>
                  <a:gd name="T27" fmla="*/ 2147483647 h 117"/>
                  <a:gd name="T28" fmla="*/ 2147483647 w 98"/>
                  <a:gd name="T29" fmla="*/ 2147483647 h 117"/>
                  <a:gd name="T30" fmla="*/ 2147483647 w 98"/>
                  <a:gd name="T31" fmla="*/ 2147483647 h 117"/>
                  <a:gd name="T32" fmla="*/ 2147483647 w 98"/>
                  <a:gd name="T33" fmla="*/ 2147483647 h 117"/>
                  <a:gd name="T34" fmla="*/ 2147483647 w 98"/>
                  <a:gd name="T35" fmla="*/ 2147483647 h 117"/>
                  <a:gd name="T36" fmla="*/ 2147483647 w 98"/>
                  <a:gd name="T37" fmla="*/ 2147483647 h 117"/>
                  <a:gd name="T38" fmla="*/ 2147483647 w 98"/>
                  <a:gd name="T39" fmla="*/ 2147483647 h 117"/>
                  <a:gd name="T40" fmla="*/ 2147483647 w 98"/>
                  <a:gd name="T41" fmla="*/ 2147483647 h 117"/>
                  <a:gd name="T42" fmla="*/ 0 w 98"/>
                  <a:gd name="T43" fmla="*/ 2147483647 h 117"/>
                  <a:gd name="T44" fmla="*/ 2147483647 w 98"/>
                  <a:gd name="T45" fmla="*/ 2147483647 h 117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98"/>
                  <a:gd name="T70" fmla="*/ 0 h 117"/>
                  <a:gd name="T71" fmla="*/ 98 w 98"/>
                  <a:gd name="T72" fmla="*/ 117 h 117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98" h="117">
                    <a:moveTo>
                      <a:pt x="14" y="94"/>
                    </a:moveTo>
                    <a:cubicBezTo>
                      <a:pt x="22" y="88"/>
                      <a:pt x="22" y="81"/>
                      <a:pt x="30" y="74"/>
                    </a:cubicBezTo>
                    <a:cubicBezTo>
                      <a:pt x="32" y="68"/>
                      <a:pt x="33" y="76"/>
                      <a:pt x="39" y="74"/>
                    </a:cubicBezTo>
                    <a:cubicBezTo>
                      <a:pt x="45" y="75"/>
                      <a:pt x="46" y="68"/>
                      <a:pt x="52" y="70"/>
                    </a:cubicBezTo>
                    <a:cubicBezTo>
                      <a:pt x="59" y="69"/>
                      <a:pt x="64" y="66"/>
                      <a:pt x="56" y="60"/>
                    </a:cubicBezTo>
                    <a:cubicBezTo>
                      <a:pt x="51" y="57"/>
                      <a:pt x="40" y="54"/>
                      <a:pt x="40" y="54"/>
                    </a:cubicBezTo>
                    <a:cubicBezTo>
                      <a:pt x="37" y="44"/>
                      <a:pt x="54" y="34"/>
                      <a:pt x="60" y="33"/>
                    </a:cubicBezTo>
                    <a:cubicBezTo>
                      <a:pt x="63" y="29"/>
                      <a:pt x="72" y="38"/>
                      <a:pt x="74" y="33"/>
                    </a:cubicBezTo>
                    <a:cubicBezTo>
                      <a:pt x="73" y="24"/>
                      <a:pt x="67" y="3"/>
                      <a:pt x="79" y="0"/>
                    </a:cubicBezTo>
                    <a:cubicBezTo>
                      <a:pt x="84" y="2"/>
                      <a:pt x="85" y="2"/>
                      <a:pt x="86" y="7"/>
                    </a:cubicBezTo>
                    <a:cubicBezTo>
                      <a:pt x="85" y="15"/>
                      <a:pt x="83" y="15"/>
                      <a:pt x="79" y="21"/>
                    </a:cubicBezTo>
                    <a:cubicBezTo>
                      <a:pt x="78" y="25"/>
                      <a:pt x="77" y="26"/>
                      <a:pt x="80" y="31"/>
                    </a:cubicBezTo>
                    <a:cubicBezTo>
                      <a:pt x="81" y="33"/>
                      <a:pt x="84" y="37"/>
                      <a:pt x="84" y="37"/>
                    </a:cubicBezTo>
                    <a:cubicBezTo>
                      <a:pt x="88" y="35"/>
                      <a:pt x="92" y="32"/>
                      <a:pt x="97" y="30"/>
                    </a:cubicBezTo>
                    <a:cubicBezTo>
                      <a:pt x="98" y="32"/>
                      <a:pt x="88" y="46"/>
                      <a:pt x="85" y="51"/>
                    </a:cubicBezTo>
                    <a:cubicBezTo>
                      <a:pt x="82" y="56"/>
                      <a:pt x="84" y="58"/>
                      <a:pt x="79" y="63"/>
                    </a:cubicBezTo>
                    <a:cubicBezTo>
                      <a:pt x="72" y="79"/>
                      <a:pt x="78" y="81"/>
                      <a:pt x="56" y="82"/>
                    </a:cubicBezTo>
                    <a:cubicBezTo>
                      <a:pt x="50" y="84"/>
                      <a:pt x="43" y="83"/>
                      <a:pt x="37" y="85"/>
                    </a:cubicBezTo>
                    <a:cubicBezTo>
                      <a:pt x="36" y="85"/>
                      <a:pt x="32" y="93"/>
                      <a:pt x="31" y="94"/>
                    </a:cubicBezTo>
                    <a:cubicBezTo>
                      <a:pt x="26" y="100"/>
                      <a:pt x="22" y="101"/>
                      <a:pt x="16" y="105"/>
                    </a:cubicBezTo>
                    <a:cubicBezTo>
                      <a:pt x="12" y="111"/>
                      <a:pt x="15" y="107"/>
                      <a:pt x="6" y="114"/>
                    </a:cubicBezTo>
                    <a:cubicBezTo>
                      <a:pt x="4" y="115"/>
                      <a:pt x="0" y="117"/>
                      <a:pt x="0" y="117"/>
                    </a:cubicBezTo>
                    <a:lnTo>
                      <a:pt x="14" y="94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74" name="Freeform 76"/>
              <p:cNvSpPr>
                <a:spLocks noChangeAspect="1"/>
              </p:cNvSpPr>
              <p:nvPr/>
            </p:nvSpPr>
            <p:spPr bwMode="auto">
              <a:xfrm>
                <a:off x="1955" y="-432"/>
                <a:ext cx="2919" cy="4123"/>
              </a:xfrm>
              <a:custGeom>
                <a:avLst/>
                <a:gdLst>
                  <a:gd name="T0" fmla="*/ 1000 w 2919"/>
                  <a:gd name="T1" fmla="*/ 3731 h 4123"/>
                  <a:gd name="T2" fmla="*/ 1064 w 2919"/>
                  <a:gd name="T3" fmla="*/ 3291 h 4123"/>
                  <a:gd name="T4" fmla="*/ 1044 w 2919"/>
                  <a:gd name="T5" fmla="*/ 2867 h 4123"/>
                  <a:gd name="T6" fmla="*/ 1050 w 2919"/>
                  <a:gd name="T7" fmla="*/ 2452 h 4123"/>
                  <a:gd name="T8" fmla="*/ 1258 w 2919"/>
                  <a:gd name="T9" fmla="*/ 2352 h 4123"/>
                  <a:gd name="T10" fmla="*/ 1261 w 2919"/>
                  <a:gd name="T11" fmla="*/ 2075 h 4123"/>
                  <a:gd name="T12" fmla="*/ 1309 w 2919"/>
                  <a:gd name="T13" fmla="*/ 1734 h 4123"/>
                  <a:gd name="T14" fmla="*/ 1463 w 2919"/>
                  <a:gd name="T15" fmla="*/ 1288 h 4123"/>
                  <a:gd name="T16" fmla="*/ 1834 w 2919"/>
                  <a:gd name="T17" fmla="*/ 980 h 4123"/>
                  <a:gd name="T18" fmla="*/ 1967 w 2919"/>
                  <a:gd name="T19" fmla="*/ 684 h 4123"/>
                  <a:gd name="T20" fmla="*/ 2443 w 2919"/>
                  <a:gd name="T21" fmla="*/ 676 h 4123"/>
                  <a:gd name="T22" fmla="*/ 2514 w 2919"/>
                  <a:gd name="T23" fmla="*/ 381 h 4123"/>
                  <a:gd name="T24" fmla="*/ 2761 w 2919"/>
                  <a:gd name="T25" fmla="*/ 406 h 4123"/>
                  <a:gd name="T26" fmla="*/ 2857 w 2919"/>
                  <a:gd name="T27" fmla="*/ 444 h 4123"/>
                  <a:gd name="T28" fmla="*/ 2695 w 2919"/>
                  <a:gd name="T29" fmla="*/ 268 h 4123"/>
                  <a:gd name="T30" fmla="*/ 2647 w 2919"/>
                  <a:gd name="T31" fmla="*/ 40 h 4123"/>
                  <a:gd name="T32" fmla="*/ 2435 w 2919"/>
                  <a:gd name="T33" fmla="*/ 244 h 4123"/>
                  <a:gd name="T34" fmla="*/ 2319 w 2919"/>
                  <a:gd name="T35" fmla="*/ 340 h 4123"/>
                  <a:gd name="T36" fmla="*/ 2183 w 2919"/>
                  <a:gd name="T37" fmla="*/ 168 h 4123"/>
                  <a:gd name="T38" fmla="*/ 2007 w 2919"/>
                  <a:gd name="T39" fmla="*/ 360 h 4123"/>
                  <a:gd name="T40" fmla="*/ 1823 w 2919"/>
                  <a:gd name="T41" fmla="*/ 632 h 4123"/>
                  <a:gd name="T42" fmla="*/ 1695 w 2919"/>
                  <a:gd name="T43" fmla="*/ 520 h 4123"/>
                  <a:gd name="T44" fmla="*/ 1675 w 2919"/>
                  <a:gd name="T45" fmla="*/ 648 h 4123"/>
                  <a:gd name="T46" fmla="*/ 1523 w 2919"/>
                  <a:gd name="T47" fmla="*/ 820 h 4123"/>
                  <a:gd name="T48" fmla="*/ 1559 w 2919"/>
                  <a:gd name="T49" fmla="*/ 996 h 4123"/>
                  <a:gd name="T50" fmla="*/ 1324 w 2919"/>
                  <a:gd name="T51" fmla="*/ 1244 h 4123"/>
                  <a:gd name="T52" fmla="*/ 1368 w 2919"/>
                  <a:gd name="T53" fmla="*/ 1380 h 4123"/>
                  <a:gd name="T54" fmla="*/ 1220 w 2919"/>
                  <a:gd name="T55" fmla="*/ 1444 h 4123"/>
                  <a:gd name="T56" fmla="*/ 1116 w 2919"/>
                  <a:gd name="T57" fmla="*/ 1656 h 4123"/>
                  <a:gd name="T58" fmla="*/ 1092 w 2919"/>
                  <a:gd name="T59" fmla="*/ 1784 h 4123"/>
                  <a:gd name="T60" fmla="*/ 1044 w 2919"/>
                  <a:gd name="T61" fmla="*/ 1968 h 4123"/>
                  <a:gd name="T62" fmla="*/ 976 w 2919"/>
                  <a:gd name="T63" fmla="*/ 2087 h 4123"/>
                  <a:gd name="T64" fmla="*/ 720 w 2919"/>
                  <a:gd name="T65" fmla="*/ 2375 h 4123"/>
                  <a:gd name="T66" fmla="*/ 828 w 2919"/>
                  <a:gd name="T67" fmla="*/ 2539 h 4123"/>
                  <a:gd name="T68" fmla="*/ 608 w 2919"/>
                  <a:gd name="T69" fmla="*/ 2539 h 4123"/>
                  <a:gd name="T70" fmla="*/ 496 w 2919"/>
                  <a:gd name="T71" fmla="*/ 2671 h 4123"/>
                  <a:gd name="T72" fmla="*/ 332 w 2919"/>
                  <a:gd name="T73" fmla="*/ 2791 h 4123"/>
                  <a:gd name="T74" fmla="*/ 188 w 2919"/>
                  <a:gd name="T75" fmla="*/ 2855 h 4123"/>
                  <a:gd name="T76" fmla="*/ 296 w 2919"/>
                  <a:gd name="T77" fmla="*/ 3011 h 4123"/>
                  <a:gd name="T78" fmla="*/ 216 w 2919"/>
                  <a:gd name="T79" fmla="*/ 3163 h 4123"/>
                  <a:gd name="T80" fmla="*/ 8 w 2919"/>
                  <a:gd name="T81" fmla="*/ 3295 h 4123"/>
                  <a:gd name="T82" fmla="*/ 268 w 2919"/>
                  <a:gd name="T83" fmla="*/ 3411 h 4123"/>
                  <a:gd name="T84" fmla="*/ 160 w 2919"/>
                  <a:gd name="T85" fmla="*/ 3471 h 4123"/>
                  <a:gd name="T86" fmla="*/ 112 w 2919"/>
                  <a:gd name="T87" fmla="*/ 3607 h 4123"/>
                  <a:gd name="T88" fmla="*/ 116 w 2919"/>
                  <a:gd name="T89" fmla="*/ 3679 h 4123"/>
                  <a:gd name="T90" fmla="*/ 140 w 2919"/>
                  <a:gd name="T91" fmla="*/ 3795 h 4123"/>
                  <a:gd name="T92" fmla="*/ 312 w 2919"/>
                  <a:gd name="T93" fmla="*/ 4103 h 4123"/>
                  <a:gd name="T94" fmla="*/ 660 w 2919"/>
                  <a:gd name="T95" fmla="*/ 3863 h 4123"/>
                  <a:gd name="T96" fmla="*/ 896 w 2919"/>
                  <a:gd name="T97" fmla="*/ 3739 h 4123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2919"/>
                  <a:gd name="T148" fmla="*/ 0 h 4123"/>
                  <a:gd name="T149" fmla="*/ 2919 w 2919"/>
                  <a:gd name="T150" fmla="*/ 4123 h 4123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2919" h="4123">
                    <a:moveTo>
                      <a:pt x="908" y="3795"/>
                    </a:moveTo>
                    <a:cubicBezTo>
                      <a:pt x="936" y="3799"/>
                      <a:pt x="940" y="3846"/>
                      <a:pt x="969" y="3860"/>
                    </a:cubicBezTo>
                    <a:cubicBezTo>
                      <a:pt x="984" y="3828"/>
                      <a:pt x="1000" y="3779"/>
                      <a:pt x="1000" y="3731"/>
                    </a:cubicBezTo>
                    <a:cubicBezTo>
                      <a:pt x="1004" y="3695"/>
                      <a:pt x="1012" y="3591"/>
                      <a:pt x="1044" y="3575"/>
                    </a:cubicBezTo>
                    <a:cubicBezTo>
                      <a:pt x="1080" y="3527"/>
                      <a:pt x="1088" y="3503"/>
                      <a:pt x="1116" y="3447"/>
                    </a:cubicBezTo>
                    <a:cubicBezTo>
                      <a:pt x="1131" y="3395"/>
                      <a:pt x="1060" y="3339"/>
                      <a:pt x="1064" y="3291"/>
                    </a:cubicBezTo>
                    <a:cubicBezTo>
                      <a:pt x="1072" y="3259"/>
                      <a:pt x="1148" y="3192"/>
                      <a:pt x="1144" y="3152"/>
                    </a:cubicBezTo>
                    <a:cubicBezTo>
                      <a:pt x="1136" y="3128"/>
                      <a:pt x="1057" y="3114"/>
                      <a:pt x="1041" y="3066"/>
                    </a:cubicBezTo>
                    <a:cubicBezTo>
                      <a:pt x="1037" y="3010"/>
                      <a:pt x="1050" y="2922"/>
                      <a:pt x="1044" y="2867"/>
                    </a:cubicBezTo>
                    <a:cubicBezTo>
                      <a:pt x="1038" y="2795"/>
                      <a:pt x="1009" y="2712"/>
                      <a:pt x="1021" y="2658"/>
                    </a:cubicBezTo>
                    <a:cubicBezTo>
                      <a:pt x="1021" y="2606"/>
                      <a:pt x="1001" y="2620"/>
                      <a:pt x="1006" y="2586"/>
                    </a:cubicBezTo>
                    <a:cubicBezTo>
                      <a:pt x="1023" y="2550"/>
                      <a:pt x="1040" y="2479"/>
                      <a:pt x="1050" y="2452"/>
                    </a:cubicBezTo>
                    <a:cubicBezTo>
                      <a:pt x="1060" y="2425"/>
                      <a:pt x="1053" y="2442"/>
                      <a:pt x="1068" y="2423"/>
                    </a:cubicBezTo>
                    <a:cubicBezTo>
                      <a:pt x="1097" y="2381"/>
                      <a:pt x="1098" y="2363"/>
                      <a:pt x="1140" y="2336"/>
                    </a:cubicBezTo>
                    <a:cubicBezTo>
                      <a:pt x="1172" y="2324"/>
                      <a:pt x="1219" y="2351"/>
                      <a:pt x="1258" y="2352"/>
                    </a:cubicBezTo>
                    <a:cubicBezTo>
                      <a:pt x="1282" y="2291"/>
                      <a:pt x="1251" y="2230"/>
                      <a:pt x="1227" y="2178"/>
                    </a:cubicBezTo>
                    <a:cubicBezTo>
                      <a:pt x="1237" y="2136"/>
                      <a:pt x="1229" y="2151"/>
                      <a:pt x="1242" y="2118"/>
                    </a:cubicBezTo>
                    <a:cubicBezTo>
                      <a:pt x="1248" y="2101"/>
                      <a:pt x="1256" y="2090"/>
                      <a:pt x="1261" y="2075"/>
                    </a:cubicBezTo>
                    <a:cubicBezTo>
                      <a:pt x="1266" y="2060"/>
                      <a:pt x="1264" y="2041"/>
                      <a:pt x="1270" y="2025"/>
                    </a:cubicBezTo>
                    <a:cubicBezTo>
                      <a:pt x="1276" y="2009"/>
                      <a:pt x="1291" y="2027"/>
                      <a:pt x="1297" y="1979"/>
                    </a:cubicBezTo>
                    <a:cubicBezTo>
                      <a:pt x="1301" y="1899"/>
                      <a:pt x="1291" y="1804"/>
                      <a:pt x="1309" y="1734"/>
                    </a:cubicBezTo>
                    <a:cubicBezTo>
                      <a:pt x="1339" y="1683"/>
                      <a:pt x="1347" y="1664"/>
                      <a:pt x="1432" y="1528"/>
                    </a:cubicBezTo>
                    <a:cubicBezTo>
                      <a:pt x="1449" y="1493"/>
                      <a:pt x="1462" y="1497"/>
                      <a:pt x="1479" y="1391"/>
                    </a:cubicBezTo>
                    <a:cubicBezTo>
                      <a:pt x="1479" y="1340"/>
                      <a:pt x="1474" y="1332"/>
                      <a:pt x="1463" y="1288"/>
                    </a:cubicBezTo>
                    <a:cubicBezTo>
                      <a:pt x="1471" y="1170"/>
                      <a:pt x="1432" y="1122"/>
                      <a:pt x="1644" y="1113"/>
                    </a:cubicBezTo>
                    <a:cubicBezTo>
                      <a:pt x="1599" y="1074"/>
                      <a:pt x="1638" y="1067"/>
                      <a:pt x="1650" y="1047"/>
                    </a:cubicBezTo>
                    <a:cubicBezTo>
                      <a:pt x="1662" y="992"/>
                      <a:pt x="1560" y="908"/>
                      <a:pt x="1834" y="980"/>
                    </a:cubicBezTo>
                    <a:cubicBezTo>
                      <a:pt x="1866" y="972"/>
                      <a:pt x="1834" y="899"/>
                      <a:pt x="1863" y="868"/>
                    </a:cubicBezTo>
                    <a:cubicBezTo>
                      <a:pt x="1871" y="836"/>
                      <a:pt x="1845" y="806"/>
                      <a:pt x="1849" y="773"/>
                    </a:cubicBezTo>
                    <a:cubicBezTo>
                      <a:pt x="1920" y="785"/>
                      <a:pt x="1896" y="693"/>
                      <a:pt x="1967" y="684"/>
                    </a:cubicBezTo>
                    <a:cubicBezTo>
                      <a:pt x="2039" y="708"/>
                      <a:pt x="2055" y="728"/>
                      <a:pt x="2085" y="804"/>
                    </a:cubicBezTo>
                    <a:cubicBezTo>
                      <a:pt x="2166" y="816"/>
                      <a:pt x="2326" y="813"/>
                      <a:pt x="2416" y="740"/>
                    </a:cubicBezTo>
                    <a:cubicBezTo>
                      <a:pt x="2431" y="709"/>
                      <a:pt x="2423" y="720"/>
                      <a:pt x="2443" y="676"/>
                    </a:cubicBezTo>
                    <a:cubicBezTo>
                      <a:pt x="2440" y="551"/>
                      <a:pt x="2419" y="548"/>
                      <a:pt x="2419" y="504"/>
                    </a:cubicBezTo>
                    <a:cubicBezTo>
                      <a:pt x="2419" y="460"/>
                      <a:pt x="2426" y="432"/>
                      <a:pt x="2442" y="412"/>
                    </a:cubicBezTo>
                    <a:cubicBezTo>
                      <a:pt x="2458" y="392"/>
                      <a:pt x="2460" y="387"/>
                      <a:pt x="2514" y="381"/>
                    </a:cubicBezTo>
                    <a:cubicBezTo>
                      <a:pt x="2542" y="324"/>
                      <a:pt x="2521" y="323"/>
                      <a:pt x="2578" y="310"/>
                    </a:cubicBezTo>
                    <a:cubicBezTo>
                      <a:pt x="2622" y="334"/>
                      <a:pt x="2673" y="357"/>
                      <a:pt x="2700" y="385"/>
                    </a:cubicBezTo>
                    <a:cubicBezTo>
                      <a:pt x="2724" y="388"/>
                      <a:pt x="2745" y="394"/>
                      <a:pt x="2761" y="406"/>
                    </a:cubicBezTo>
                    <a:cubicBezTo>
                      <a:pt x="2772" y="422"/>
                      <a:pt x="2775" y="456"/>
                      <a:pt x="2778" y="482"/>
                    </a:cubicBezTo>
                    <a:cubicBezTo>
                      <a:pt x="2772" y="510"/>
                      <a:pt x="2760" y="525"/>
                      <a:pt x="2766" y="575"/>
                    </a:cubicBezTo>
                    <a:cubicBezTo>
                      <a:pt x="2791" y="551"/>
                      <a:pt x="2833" y="468"/>
                      <a:pt x="2857" y="444"/>
                    </a:cubicBezTo>
                    <a:cubicBezTo>
                      <a:pt x="2865" y="408"/>
                      <a:pt x="2907" y="376"/>
                      <a:pt x="2915" y="340"/>
                    </a:cubicBezTo>
                    <a:cubicBezTo>
                      <a:pt x="2907" y="280"/>
                      <a:pt x="2859" y="296"/>
                      <a:pt x="2799" y="292"/>
                    </a:cubicBezTo>
                    <a:cubicBezTo>
                      <a:pt x="2763" y="280"/>
                      <a:pt x="2683" y="292"/>
                      <a:pt x="2695" y="268"/>
                    </a:cubicBezTo>
                    <a:cubicBezTo>
                      <a:pt x="2755" y="224"/>
                      <a:pt x="2823" y="240"/>
                      <a:pt x="2879" y="184"/>
                    </a:cubicBezTo>
                    <a:cubicBezTo>
                      <a:pt x="2919" y="144"/>
                      <a:pt x="2823" y="80"/>
                      <a:pt x="2803" y="80"/>
                    </a:cubicBezTo>
                    <a:cubicBezTo>
                      <a:pt x="2663" y="48"/>
                      <a:pt x="2751" y="40"/>
                      <a:pt x="2647" y="40"/>
                    </a:cubicBezTo>
                    <a:cubicBezTo>
                      <a:pt x="2643" y="52"/>
                      <a:pt x="2563" y="160"/>
                      <a:pt x="2563" y="160"/>
                    </a:cubicBezTo>
                    <a:cubicBezTo>
                      <a:pt x="2555" y="168"/>
                      <a:pt x="2527" y="0"/>
                      <a:pt x="2511" y="4"/>
                    </a:cubicBezTo>
                    <a:cubicBezTo>
                      <a:pt x="2491" y="20"/>
                      <a:pt x="2447" y="224"/>
                      <a:pt x="2435" y="244"/>
                    </a:cubicBezTo>
                    <a:cubicBezTo>
                      <a:pt x="2423" y="308"/>
                      <a:pt x="2427" y="136"/>
                      <a:pt x="2407" y="112"/>
                    </a:cubicBezTo>
                    <a:cubicBezTo>
                      <a:pt x="2399" y="148"/>
                      <a:pt x="2375" y="256"/>
                      <a:pt x="2359" y="292"/>
                    </a:cubicBezTo>
                    <a:cubicBezTo>
                      <a:pt x="2343" y="320"/>
                      <a:pt x="2335" y="320"/>
                      <a:pt x="2319" y="340"/>
                    </a:cubicBezTo>
                    <a:cubicBezTo>
                      <a:pt x="2307" y="352"/>
                      <a:pt x="2287" y="380"/>
                      <a:pt x="2287" y="380"/>
                    </a:cubicBezTo>
                    <a:cubicBezTo>
                      <a:pt x="2287" y="296"/>
                      <a:pt x="2323" y="132"/>
                      <a:pt x="2319" y="48"/>
                    </a:cubicBezTo>
                    <a:cubicBezTo>
                      <a:pt x="2319" y="40"/>
                      <a:pt x="2199" y="164"/>
                      <a:pt x="2183" y="168"/>
                    </a:cubicBezTo>
                    <a:cubicBezTo>
                      <a:pt x="2159" y="192"/>
                      <a:pt x="2131" y="200"/>
                      <a:pt x="2099" y="212"/>
                    </a:cubicBezTo>
                    <a:cubicBezTo>
                      <a:pt x="2071" y="248"/>
                      <a:pt x="2059" y="276"/>
                      <a:pt x="2039" y="312"/>
                    </a:cubicBezTo>
                    <a:cubicBezTo>
                      <a:pt x="2031" y="328"/>
                      <a:pt x="2007" y="360"/>
                      <a:pt x="2007" y="360"/>
                    </a:cubicBezTo>
                    <a:cubicBezTo>
                      <a:pt x="1999" y="408"/>
                      <a:pt x="2011" y="484"/>
                      <a:pt x="1951" y="492"/>
                    </a:cubicBezTo>
                    <a:cubicBezTo>
                      <a:pt x="1923" y="480"/>
                      <a:pt x="1907" y="484"/>
                      <a:pt x="1883" y="500"/>
                    </a:cubicBezTo>
                    <a:cubicBezTo>
                      <a:pt x="1859" y="544"/>
                      <a:pt x="1875" y="604"/>
                      <a:pt x="1823" y="632"/>
                    </a:cubicBezTo>
                    <a:cubicBezTo>
                      <a:pt x="1807" y="604"/>
                      <a:pt x="1835" y="564"/>
                      <a:pt x="1815" y="540"/>
                    </a:cubicBezTo>
                    <a:cubicBezTo>
                      <a:pt x="1811" y="512"/>
                      <a:pt x="1787" y="452"/>
                      <a:pt x="1763" y="440"/>
                    </a:cubicBezTo>
                    <a:cubicBezTo>
                      <a:pt x="1723" y="448"/>
                      <a:pt x="1703" y="480"/>
                      <a:pt x="1695" y="520"/>
                    </a:cubicBezTo>
                    <a:cubicBezTo>
                      <a:pt x="1695" y="568"/>
                      <a:pt x="1691" y="648"/>
                      <a:pt x="1723" y="692"/>
                    </a:cubicBezTo>
                    <a:cubicBezTo>
                      <a:pt x="1715" y="708"/>
                      <a:pt x="1715" y="716"/>
                      <a:pt x="1699" y="700"/>
                    </a:cubicBezTo>
                    <a:cubicBezTo>
                      <a:pt x="1687" y="688"/>
                      <a:pt x="1683" y="664"/>
                      <a:pt x="1675" y="648"/>
                    </a:cubicBezTo>
                    <a:cubicBezTo>
                      <a:pt x="1663" y="628"/>
                      <a:pt x="1647" y="572"/>
                      <a:pt x="1627" y="560"/>
                    </a:cubicBezTo>
                    <a:cubicBezTo>
                      <a:pt x="1607" y="588"/>
                      <a:pt x="1595" y="648"/>
                      <a:pt x="1579" y="676"/>
                    </a:cubicBezTo>
                    <a:cubicBezTo>
                      <a:pt x="1571" y="724"/>
                      <a:pt x="1559" y="784"/>
                      <a:pt x="1523" y="820"/>
                    </a:cubicBezTo>
                    <a:cubicBezTo>
                      <a:pt x="1515" y="844"/>
                      <a:pt x="1475" y="900"/>
                      <a:pt x="1475" y="900"/>
                    </a:cubicBezTo>
                    <a:cubicBezTo>
                      <a:pt x="1467" y="972"/>
                      <a:pt x="1444" y="972"/>
                      <a:pt x="1535" y="976"/>
                    </a:cubicBezTo>
                    <a:cubicBezTo>
                      <a:pt x="1555" y="980"/>
                      <a:pt x="1579" y="960"/>
                      <a:pt x="1559" y="996"/>
                    </a:cubicBezTo>
                    <a:cubicBezTo>
                      <a:pt x="1543" y="1024"/>
                      <a:pt x="1471" y="1024"/>
                      <a:pt x="1471" y="1024"/>
                    </a:cubicBezTo>
                    <a:cubicBezTo>
                      <a:pt x="1444" y="1040"/>
                      <a:pt x="1444" y="1092"/>
                      <a:pt x="1420" y="1112"/>
                    </a:cubicBezTo>
                    <a:cubicBezTo>
                      <a:pt x="1396" y="1160"/>
                      <a:pt x="1348" y="1196"/>
                      <a:pt x="1324" y="1244"/>
                    </a:cubicBezTo>
                    <a:cubicBezTo>
                      <a:pt x="1336" y="1276"/>
                      <a:pt x="1352" y="1288"/>
                      <a:pt x="1372" y="1312"/>
                    </a:cubicBezTo>
                    <a:cubicBezTo>
                      <a:pt x="1328" y="1332"/>
                      <a:pt x="1296" y="1336"/>
                      <a:pt x="1248" y="1344"/>
                    </a:cubicBezTo>
                    <a:cubicBezTo>
                      <a:pt x="1220" y="1396"/>
                      <a:pt x="1332" y="1376"/>
                      <a:pt x="1368" y="1380"/>
                    </a:cubicBezTo>
                    <a:cubicBezTo>
                      <a:pt x="1376" y="1380"/>
                      <a:pt x="1392" y="1416"/>
                      <a:pt x="1384" y="1416"/>
                    </a:cubicBezTo>
                    <a:cubicBezTo>
                      <a:pt x="1372" y="1416"/>
                      <a:pt x="1344" y="1416"/>
                      <a:pt x="1332" y="1416"/>
                    </a:cubicBezTo>
                    <a:cubicBezTo>
                      <a:pt x="1288" y="1424"/>
                      <a:pt x="1264" y="1436"/>
                      <a:pt x="1220" y="1444"/>
                    </a:cubicBezTo>
                    <a:cubicBezTo>
                      <a:pt x="1196" y="1468"/>
                      <a:pt x="1172" y="1484"/>
                      <a:pt x="1152" y="1508"/>
                    </a:cubicBezTo>
                    <a:cubicBezTo>
                      <a:pt x="1140" y="1520"/>
                      <a:pt x="1124" y="1556"/>
                      <a:pt x="1124" y="1556"/>
                    </a:cubicBezTo>
                    <a:cubicBezTo>
                      <a:pt x="1136" y="1584"/>
                      <a:pt x="1124" y="1624"/>
                      <a:pt x="1116" y="1656"/>
                    </a:cubicBezTo>
                    <a:cubicBezTo>
                      <a:pt x="1156" y="1664"/>
                      <a:pt x="1180" y="1684"/>
                      <a:pt x="1224" y="1688"/>
                    </a:cubicBezTo>
                    <a:cubicBezTo>
                      <a:pt x="1204" y="1712"/>
                      <a:pt x="1184" y="1728"/>
                      <a:pt x="1152" y="1732"/>
                    </a:cubicBezTo>
                    <a:cubicBezTo>
                      <a:pt x="1124" y="1748"/>
                      <a:pt x="1108" y="1752"/>
                      <a:pt x="1092" y="1784"/>
                    </a:cubicBezTo>
                    <a:cubicBezTo>
                      <a:pt x="1112" y="1872"/>
                      <a:pt x="1100" y="1772"/>
                      <a:pt x="1076" y="1828"/>
                    </a:cubicBezTo>
                    <a:cubicBezTo>
                      <a:pt x="1068" y="1848"/>
                      <a:pt x="1088" y="1896"/>
                      <a:pt x="1092" y="1916"/>
                    </a:cubicBezTo>
                    <a:cubicBezTo>
                      <a:pt x="1064" y="1920"/>
                      <a:pt x="1000" y="1912"/>
                      <a:pt x="1044" y="1968"/>
                    </a:cubicBezTo>
                    <a:cubicBezTo>
                      <a:pt x="1036" y="1988"/>
                      <a:pt x="1032" y="2004"/>
                      <a:pt x="1028" y="2016"/>
                    </a:cubicBezTo>
                    <a:cubicBezTo>
                      <a:pt x="1016" y="2020"/>
                      <a:pt x="1020" y="2032"/>
                      <a:pt x="1012" y="2040"/>
                    </a:cubicBezTo>
                    <a:cubicBezTo>
                      <a:pt x="956" y="2103"/>
                      <a:pt x="1020" y="2067"/>
                      <a:pt x="976" y="2087"/>
                    </a:cubicBezTo>
                    <a:cubicBezTo>
                      <a:pt x="952" y="2147"/>
                      <a:pt x="904" y="2195"/>
                      <a:pt x="840" y="2203"/>
                    </a:cubicBezTo>
                    <a:cubicBezTo>
                      <a:pt x="804" y="2223"/>
                      <a:pt x="812" y="2207"/>
                      <a:pt x="800" y="2235"/>
                    </a:cubicBezTo>
                    <a:cubicBezTo>
                      <a:pt x="788" y="2291"/>
                      <a:pt x="752" y="2331"/>
                      <a:pt x="720" y="2375"/>
                    </a:cubicBezTo>
                    <a:cubicBezTo>
                      <a:pt x="752" y="2463"/>
                      <a:pt x="768" y="2443"/>
                      <a:pt x="792" y="2479"/>
                    </a:cubicBezTo>
                    <a:cubicBezTo>
                      <a:pt x="832" y="2471"/>
                      <a:pt x="876" y="2427"/>
                      <a:pt x="912" y="2407"/>
                    </a:cubicBezTo>
                    <a:cubicBezTo>
                      <a:pt x="908" y="2463"/>
                      <a:pt x="888" y="2527"/>
                      <a:pt x="828" y="2539"/>
                    </a:cubicBezTo>
                    <a:cubicBezTo>
                      <a:pt x="800" y="2559"/>
                      <a:pt x="800" y="2559"/>
                      <a:pt x="764" y="2555"/>
                    </a:cubicBezTo>
                    <a:cubicBezTo>
                      <a:pt x="716" y="2543"/>
                      <a:pt x="684" y="2539"/>
                      <a:pt x="652" y="2495"/>
                    </a:cubicBezTo>
                    <a:cubicBezTo>
                      <a:pt x="636" y="2507"/>
                      <a:pt x="608" y="2539"/>
                      <a:pt x="608" y="2539"/>
                    </a:cubicBezTo>
                    <a:cubicBezTo>
                      <a:pt x="600" y="2571"/>
                      <a:pt x="588" y="2591"/>
                      <a:pt x="564" y="2611"/>
                    </a:cubicBezTo>
                    <a:cubicBezTo>
                      <a:pt x="556" y="2643"/>
                      <a:pt x="544" y="2655"/>
                      <a:pt x="532" y="2683"/>
                    </a:cubicBezTo>
                    <a:cubicBezTo>
                      <a:pt x="604" y="2695"/>
                      <a:pt x="516" y="2675"/>
                      <a:pt x="496" y="2671"/>
                    </a:cubicBezTo>
                    <a:cubicBezTo>
                      <a:pt x="456" y="2651"/>
                      <a:pt x="432" y="2659"/>
                      <a:pt x="380" y="2663"/>
                    </a:cubicBezTo>
                    <a:cubicBezTo>
                      <a:pt x="356" y="2675"/>
                      <a:pt x="336" y="2691"/>
                      <a:pt x="312" y="2703"/>
                    </a:cubicBezTo>
                    <a:cubicBezTo>
                      <a:pt x="324" y="2771"/>
                      <a:pt x="320" y="2743"/>
                      <a:pt x="332" y="2791"/>
                    </a:cubicBezTo>
                    <a:cubicBezTo>
                      <a:pt x="328" y="2823"/>
                      <a:pt x="316" y="2843"/>
                      <a:pt x="308" y="2875"/>
                    </a:cubicBezTo>
                    <a:cubicBezTo>
                      <a:pt x="308" y="2851"/>
                      <a:pt x="312" y="2827"/>
                      <a:pt x="304" y="2803"/>
                    </a:cubicBezTo>
                    <a:cubicBezTo>
                      <a:pt x="300" y="2795"/>
                      <a:pt x="208" y="2847"/>
                      <a:pt x="188" y="2855"/>
                    </a:cubicBezTo>
                    <a:cubicBezTo>
                      <a:pt x="168" y="2887"/>
                      <a:pt x="156" y="2911"/>
                      <a:pt x="120" y="2927"/>
                    </a:cubicBezTo>
                    <a:cubicBezTo>
                      <a:pt x="136" y="2983"/>
                      <a:pt x="156" y="2979"/>
                      <a:pt x="216" y="2983"/>
                    </a:cubicBezTo>
                    <a:cubicBezTo>
                      <a:pt x="240" y="2999"/>
                      <a:pt x="268" y="2999"/>
                      <a:pt x="296" y="3011"/>
                    </a:cubicBezTo>
                    <a:cubicBezTo>
                      <a:pt x="252" y="3035"/>
                      <a:pt x="184" y="2995"/>
                      <a:pt x="140" y="2979"/>
                    </a:cubicBezTo>
                    <a:cubicBezTo>
                      <a:pt x="76" y="2983"/>
                      <a:pt x="64" y="2983"/>
                      <a:pt x="28" y="3031"/>
                    </a:cubicBezTo>
                    <a:cubicBezTo>
                      <a:pt x="4" y="3167"/>
                      <a:pt x="108" y="3159"/>
                      <a:pt x="216" y="3163"/>
                    </a:cubicBezTo>
                    <a:cubicBezTo>
                      <a:pt x="240" y="3167"/>
                      <a:pt x="452" y="3143"/>
                      <a:pt x="424" y="3183"/>
                    </a:cubicBezTo>
                    <a:cubicBezTo>
                      <a:pt x="352" y="3179"/>
                      <a:pt x="276" y="3183"/>
                      <a:pt x="216" y="3175"/>
                    </a:cubicBezTo>
                    <a:cubicBezTo>
                      <a:pt x="0" y="3179"/>
                      <a:pt x="16" y="3127"/>
                      <a:pt x="8" y="3295"/>
                    </a:cubicBezTo>
                    <a:cubicBezTo>
                      <a:pt x="12" y="3375"/>
                      <a:pt x="8" y="3419"/>
                      <a:pt x="88" y="3451"/>
                    </a:cubicBezTo>
                    <a:cubicBezTo>
                      <a:pt x="144" y="3443"/>
                      <a:pt x="180" y="3431"/>
                      <a:pt x="232" y="3423"/>
                    </a:cubicBezTo>
                    <a:cubicBezTo>
                      <a:pt x="244" y="3419"/>
                      <a:pt x="256" y="3415"/>
                      <a:pt x="268" y="3411"/>
                    </a:cubicBezTo>
                    <a:cubicBezTo>
                      <a:pt x="276" y="3407"/>
                      <a:pt x="284" y="3411"/>
                      <a:pt x="292" y="3407"/>
                    </a:cubicBezTo>
                    <a:cubicBezTo>
                      <a:pt x="296" y="3407"/>
                      <a:pt x="312" y="3395"/>
                      <a:pt x="308" y="3399"/>
                    </a:cubicBezTo>
                    <a:cubicBezTo>
                      <a:pt x="268" y="3439"/>
                      <a:pt x="216" y="3459"/>
                      <a:pt x="160" y="3471"/>
                    </a:cubicBezTo>
                    <a:cubicBezTo>
                      <a:pt x="128" y="3483"/>
                      <a:pt x="104" y="3495"/>
                      <a:pt x="76" y="3511"/>
                    </a:cubicBezTo>
                    <a:cubicBezTo>
                      <a:pt x="64" y="3531"/>
                      <a:pt x="56" y="3539"/>
                      <a:pt x="32" y="3547"/>
                    </a:cubicBezTo>
                    <a:cubicBezTo>
                      <a:pt x="92" y="3575"/>
                      <a:pt x="88" y="3543"/>
                      <a:pt x="112" y="3607"/>
                    </a:cubicBezTo>
                    <a:cubicBezTo>
                      <a:pt x="96" y="3655"/>
                      <a:pt x="84" y="3683"/>
                      <a:pt x="44" y="3723"/>
                    </a:cubicBezTo>
                    <a:cubicBezTo>
                      <a:pt x="36" y="3731"/>
                      <a:pt x="60" y="3715"/>
                      <a:pt x="68" y="3711"/>
                    </a:cubicBezTo>
                    <a:cubicBezTo>
                      <a:pt x="84" y="3699"/>
                      <a:pt x="116" y="3679"/>
                      <a:pt x="116" y="3679"/>
                    </a:cubicBezTo>
                    <a:cubicBezTo>
                      <a:pt x="140" y="3691"/>
                      <a:pt x="132" y="3703"/>
                      <a:pt x="120" y="3723"/>
                    </a:cubicBezTo>
                    <a:cubicBezTo>
                      <a:pt x="132" y="3763"/>
                      <a:pt x="148" y="3787"/>
                      <a:pt x="192" y="3795"/>
                    </a:cubicBezTo>
                    <a:cubicBezTo>
                      <a:pt x="168" y="3811"/>
                      <a:pt x="168" y="3799"/>
                      <a:pt x="140" y="3795"/>
                    </a:cubicBezTo>
                    <a:cubicBezTo>
                      <a:pt x="112" y="3799"/>
                      <a:pt x="104" y="3803"/>
                      <a:pt x="88" y="3823"/>
                    </a:cubicBezTo>
                    <a:cubicBezTo>
                      <a:pt x="96" y="3915"/>
                      <a:pt x="120" y="3959"/>
                      <a:pt x="188" y="4031"/>
                    </a:cubicBezTo>
                    <a:cubicBezTo>
                      <a:pt x="228" y="4055"/>
                      <a:pt x="268" y="4083"/>
                      <a:pt x="312" y="4103"/>
                    </a:cubicBezTo>
                    <a:cubicBezTo>
                      <a:pt x="332" y="4111"/>
                      <a:pt x="372" y="4123"/>
                      <a:pt x="372" y="4123"/>
                    </a:cubicBezTo>
                    <a:cubicBezTo>
                      <a:pt x="408" y="4107"/>
                      <a:pt x="492" y="4035"/>
                      <a:pt x="532" y="4007"/>
                    </a:cubicBezTo>
                    <a:cubicBezTo>
                      <a:pt x="584" y="3967"/>
                      <a:pt x="620" y="3899"/>
                      <a:pt x="660" y="3863"/>
                    </a:cubicBezTo>
                    <a:cubicBezTo>
                      <a:pt x="680" y="3823"/>
                      <a:pt x="740" y="3811"/>
                      <a:pt x="776" y="3783"/>
                    </a:cubicBezTo>
                    <a:cubicBezTo>
                      <a:pt x="800" y="3727"/>
                      <a:pt x="824" y="3667"/>
                      <a:pt x="836" y="3607"/>
                    </a:cubicBezTo>
                    <a:cubicBezTo>
                      <a:pt x="856" y="3599"/>
                      <a:pt x="888" y="3707"/>
                      <a:pt x="896" y="3739"/>
                    </a:cubicBezTo>
                    <a:cubicBezTo>
                      <a:pt x="900" y="3799"/>
                      <a:pt x="932" y="3767"/>
                      <a:pt x="908" y="3795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</p:grpSp>
        <p:grpSp>
          <p:nvGrpSpPr>
            <p:cNvPr id="23" name="Group 77"/>
            <p:cNvGrpSpPr>
              <a:grpSpLocks/>
            </p:cNvGrpSpPr>
            <p:nvPr/>
          </p:nvGrpSpPr>
          <p:grpSpPr bwMode="auto">
            <a:xfrm>
              <a:off x="2834" y="1417"/>
              <a:ext cx="434" cy="792"/>
              <a:chOff x="3842" y="-120"/>
              <a:chExt cx="1720" cy="3135"/>
            </a:xfrm>
            <a:grpFill/>
          </p:grpSpPr>
          <p:sp>
            <p:nvSpPr>
              <p:cNvPr id="71" name="Freeform 78"/>
              <p:cNvSpPr>
                <a:spLocks noChangeAspect="1"/>
              </p:cNvSpPr>
              <p:nvPr/>
            </p:nvSpPr>
            <p:spPr bwMode="auto">
              <a:xfrm>
                <a:off x="4079" y="2895"/>
                <a:ext cx="152" cy="120"/>
              </a:xfrm>
              <a:custGeom>
                <a:avLst/>
                <a:gdLst>
                  <a:gd name="T0" fmla="*/ 2147483647 w 38"/>
                  <a:gd name="T1" fmla="*/ 2147483647 h 30"/>
                  <a:gd name="T2" fmla="*/ 0 w 38"/>
                  <a:gd name="T3" fmla="*/ 2147483647 h 30"/>
                  <a:gd name="T4" fmla="*/ 2147483647 w 38"/>
                  <a:gd name="T5" fmla="*/ 2147483647 h 30"/>
                  <a:gd name="T6" fmla="*/ 2147483647 w 38"/>
                  <a:gd name="T7" fmla="*/ 2147483647 h 30"/>
                  <a:gd name="T8" fmla="*/ 2147483647 w 38"/>
                  <a:gd name="T9" fmla="*/ 2147483647 h 30"/>
                  <a:gd name="T10" fmla="*/ 2147483647 w 38"/>
                  <a:gd name="T11" fmla="*/ 2147483647 h 30"/>
                  <a:gd name="T12" fmla="*/ 2147483647 w 38"/>
                  <a:gd name="T13" fmla="*/ 2147483647 h 3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8"/>
                  <a:gd name="T22" fmla="*/ 0 h 30"/>
                  <a:gd name="T23" fmla="*/ 38 w 38"/>
                  <a:gd name="T24" fmla="*/ 30 h 30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8" h="30">
                    <a:moveTo>
                      <a:pt x="21" y="4"/>
                    </a:moveTo>
                    <a:cubicBezTo>
                      <a:pt x="13" y="1"/>
                      <a:pt x="4" y="0"/>
                      <a:pt x="0" y="8"/>
                    </a:cubicBezTo>
                    <a:cubicBezTo>
                      <a:pt x="1" y="26"/>
                      <a:pt x="4" y="26"/>
                      <a:pt x="19" y="30"/>
                    </a:cubicBezTo>
                    <a:cubicBezTo>
                      <a:pt x="29" y="28"/>
                      <a:pt x="31" y="22"/>
                      <a:pt x="38" y="15"/>
                    </a:cubicBezTo>
                    <a:cubicBezTo>
                      <a:pt x="36" y="5"/>
                      <a:pt x="27" y="6"/>
                      <a:pt x="17" y="5"/>
                    </a:cubicBezTo>
                    <a:cubicBezTo>
                      <a:pt x="9" y="3"/>
                      <a:pt x="11" y="5"/>
                      <a:pt x="8" y="2"/>
                    </a:cubicBezTo>
                    <a:lnTo>
                      <a:pt x="21" y="4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72" name="Freeform 79"/>
              <p:cNvSpPr>
                <a:spLocks noChangeAspect="1"/>
              </p:cNvSpPr>
              <p:nvPr/>
            </p:nvSpPr>
            <p:spPr bwMode="auto">
              <a:xfrm>
                <a:off x="3842" y="-120"/>
                <a:ext cx="1720" cy="3083"/>
              </a:xfrm>
              <a:custGeom>
                <a:avLst/>
                <a:gdLst>
                  <a:gd name="T0" fmla="*/ 1628 w 1720"/>
                  <a:gd name="T1" fmla="*/ 2255 h 3083"/>
                  <a:gd name="T2" fmla="*/ 1720 w 1720"/>
                  <a:gd name="T3" fmla="*/ 1955 h 3083"/>
                  <a:gd name="T4" fmla="*/ 1456 w 1720"/>
                  <a:gd name="T5" fmla="*/ 1775 h 3083"/>
                  <a:gd name="T6" fmla="*/ 1448 w 1720"/>
                  <a:gd name="T7" fmla="*/ 1683 h 3083"/>
                  <a:gd name="T8" fmla="*/ 1432 w 1720"/>
                  <a:gd name="T9" fmla="*/ 1583 h 3083"/>
                  <a:gd name="T10" fmla="*/ 1352 w 1720"/>
                  <a:gd name="T11" fmla="*/ 1512 h 3083"/>
                  <a:gd name="T12" fmla="*/ 1264 w 1720"/>
                  <a:gd name="T13" fmla="*/ 1320 h 3083"/>
                  <a:gd name="T14" fmla="*/ 1276 w 1720"/>
                  <a:gd name="T15" fmla="*/ 1188 h 3083"/>
                  <a:gd name="T16" fmla="*/ 1132 w 1720"/>
                  <a:gd name="T17" fmla="*/ 992 h 3083"/>
                  <a:gd name="T18" fmla="*/ 1120 w 1720"/>
                  <a:gd name="T19" fmla="*/ 688 h 3083"/>
                  <a:gd name="T20" fmla="*/ 1072 w 1720"/>
                  <a:gd name="T21" fmla="*/ 600 h 3083"/>
                  <a:gd name="T22" fmla="*/ 908 w 1720"/>
                  <a:gd name="T23" fmla="*/ 512 h 3083"/>
                  <a:gd name="T24" fmla="*/ 880 w 1720"/>
                  <a:gd name="T25" fmla="*/ 312 h 3083"/>
                  <a:gd name="T26" fmla="*/ 968 w 1720"/>
                  <a:gd name="T27" fmla="*/ 132 h 3083"/>
                  <a:gd name="T28" fmla="*/ 888 w 1720"/>
                  <a:gd name="T29" fmla="*/ 168 h 3083"/>
                  <a:gd name="T30" fmla="*/ 813 w 1720"/>
                  <a:gd name="T31" fmla="*/ 72 h 3083"/>
                  <a:gd name="T32" fmla="*/ 693 w 1720"/>
                  <a:gd name="T33" fmla="*/ 0 h 3083"/>
                  <a:gd name="T34" fmla="*/ 573 w 1720"/>
                  <a:gd name="T35" fmla="*/ 76 h 3083"/>
                  <a:gd name="T36" fmla="*/ 545 w 1720"/>
                  <a:gd name="T37" fmla="*/ 244 h 3083"/>
                  <a:gd name="T38" fmla="*/ 533 w 1720"/>
                  <a:gd name="T39" fmla="*/ 416 h 3083"/>
                  <a:gd name="T40" fmla="*/ 409 w 1720"/>
                  <a:gd name="T41" fmla="*/ 484 h 3083"/>
                  <a:gd name="T42" fmla="*/ 153 w 1720"/>
                  <a:gd name="T43" fmla="*/ 412 h 3083"/>
                  <a:gd name="T44" fmla="*/ 9 w 1720"/>
                  <a:gd name="T45" fmla="*/ 436 h 3083"/>
                  <a:gd name="T46" fmla="*/ 265 w 1720"/>
                  <a:gd name="T47" fmla="*/ 620 h 3083"/>
                  <a:gd name="T48" fmla="*/ 390 w 1720"/>
                  <a:gd name="T49" fmla="*/ 756 h 3083"/>
                  <a:gd name="T50" fmla="*/ 477 w 1720"/>
                  <a:gd name="T51" fmla="*/ 1016 h 3083"/>
                  <a:gd name="T52" fmla="*/ 495 w 1720"/>
                  <a:gd name="T53" fmla="*/ 1224 h 3083"/>
                  <a:gd name="T54" fmla="*/ 580 w 1720"/>
                  <a:gd name="T55" fmla="*/ 1365 h 3083"/>
                  <a:gd name="T56" fmla="*/ 681 w 1720"/>
                  <a:gd name="T57" fmla="*/ 1396 h 3083"/>
                  <a:gd name="T58" fmla="*/ 741 w 1720"/>
                  <a:gd name="T59" fmla="*/ 1432 h 3083"/>
                  <a:gd name="T60" fmla="*/ 545 w 1720"/>
                  <a:gd name="T61" fmla="*/ 1959 h 3083"/>
                  <a:gd name="T62" fmla="*/ 489 w 1720"/>
                  <a:gd name="T63" fmla="*/ 2051 h 3083"/>
                  <a:gd name="T64" fmla="*/ 369 w 1720"/>
                  <a:gd name="T65" fmla="*/ 2239 h 3083"/>
                  <a:gd name="T66" fmla="*/ 457 w 1720"/>
                  <a:gd name="T67" fmla="*/ 2559 h 3083"/>
                  <a:gd name="T68" fmla="*/ 457 w 1720"/>
                  <a:gd name="T69" fmla="*/ 2987 h 3083"/>
                  <a:gd name="T70" fmla="*/ 485 w 1720"/>
                  <a:gd name="T71" fmla="*/ 2999 h 3083"/>
                  <a:gd name="T72" fmla="*/ 657 w 1720"/>
                  <a:gd name="T73" fmla="*/ 3055 h 3083"/>
                  <a:gd name="T74" fmla="*/ 729 w 1720"/>
                  <a:gd name="T75" fmla="*/ 3083 h 3083"/>
                  <a:gd name="T76" fmla="*/ 956 w 1720"/>
                  <a:gd name="T77" fmla="*/ 2991 h 3083"/>
                  <a:gd name="T78" fmla="*/ 1024 w 1720"/>
                  <a:gd name="T79" fmla="*/ 2955 h 3083"/>
                  <a:gd name="T80" fmla="*/ 1192 w 1720"/>
                  <a:gd name="T81" fmla="*/ 2859 h 3083"/>
                  <a:gd name="T82" fmla="*/ 1372 w 1720"/>
                  <a:gd name="T83" fmla="*/ 2783 h 3083"/>
                  <a:gd name="T84" fmla="*/ 1396 w 1720"/>
                  <a:gd name="T85" fmla="*/ 2723 h 3083"/>
                  <a:gd name="T86" fmla="*/ 1576 w 1720"/>
                  <a:gd name="T87" fmla="*/ 2351 h 3083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1720"/>
                  <a:gd name="T133" fmla="*/ 0 h 3083"/>
                  <a:gd name="T134" fmla="*/ 1720 w 1720"/>
                  <a:gd name="T135" fmla="*/ 3083 h 3083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1720" h="3083">
                    <a:moveTo>
                      <a:pt x="1576" y="2351"/>
                    </a:moveTo>
                    <a:cubicBezTo>
                      <a:pt x="1584" y="2323"/>
                      <a:pt x="1604" y="2279"/>
                      <a:pt x="1628" y="2255"/>
                    </a:cubicBezTo>
                    <a:cubicBezTo>
                      <a:pt x="1636" y="2223"/>
                      <a:pt x="1636" y="2191"/>
                      <a:pt x="1648" y="2159"/>
                    </a:cubicBezTo>
                    <a:cubicBezTo>
                      <a:pt x="1656" y="2087"/>
                      <a:pt x="1688" y="2023"/>
                      <a:pt x="1720" y="1955"/>
                    </a:cubicBezTo>
                    <a:cubicBezTo>
                      <a:pt x="1700" y="1907"/>
                      <a:pt x="1640" y="1879"/>
                      <a:pt x="1592" y="1839"/>
                    </a:cubicBezTo>
                    <a:cubicBezTo>
                      <a:pt x="1548" y="1811"/>
                      <a:pt x="1480" y="1791"/>
                      <a:pt x="1456" y="1775"/>
                    </a:cubicBezTo>
                    <a:cubicBezTo>
                      <a:pt x="1452" y="1767"/>
                      <a:pt x="1440" y="1751"/>
                      <a:pt x="1440" y="1751"/>
                    </a:cubicBezTo>
                    <a:cubicBezTo>
                      <a:pt x="1440" y="1727"/>
                      <a:pt x="1440" y="1703"/>
                      <a:pt x="1448" y="1683"/>
                    </a:cubicBezTo>
                    <a:cubicBezTo>
                      <a:pt x="1452" y="1671"/>
                      <a:pt x="1480" y="1631"/>
                      <a:pt x="1480" y="1631"/>
                    </a:cubicBezTo>
                    <a:cubicBezTo>
                      <a:pt x="1476" y="1595"/>
                      <a:pt x="1460" y="1603"/>
                      <a:pt x="1432" y="1583"/>
                    </a:cubicBezTo>
                    <a:cubicBezTo>
                      <a:pt x="1420" y="1575"/>
                      <a:pt x="1396" y="1559"/>
                      <a:pt x="1396" y="1559"/>
                    </a:cubicBezTo>
                    <a:cubicBezTo>
                      <a:pt x="1384" y="1543"/>
                      <a:pt x="1368" y="1524"/>
                      <a:pt x="1352" y="1512"/>
                    </a:cubicBezTo>
                    <a:cubicBezTo>
                      <a:pt x="1332" y="1484"/>
                      <a:pt x="1340" y="1496"/>
                      <a:pt x="1324" y="1472"/>
                    </a:cubicBezTo>
                    <a:cubicBezTo>
                      <a:pt x="1312" y="1420"/>
                      <a:pt x="1280" y="1372"/>
                      <a:pt x="1264" y="1320"/>
                    </a:cubicBezTo>
                    <a:cubicBezTo>
                      <a:pt x="1264" y="1288"/>
                      <a:pt x="1264" y="1260"/>
                      <a:pt x="1268" y="1228"/>
                    </a:cubicBezTo>
                    <a:cubicBezTo>
                      <a:pt x="1268" y="1216"/>
                      <a:pt x="1276" y="1188"/>
                      <a:pt x="1276" y="1188"/>
                    </a:cubicBezTo>
                    <a:cubicBezTo>
                      <a:pt x="1272" y="1148"/>
                      <a:pt x="1248" y="1080"/>
                      <a:pt x="1204" y="1064"/>
                    </a:cubicBezTo>
                    <a:cubicBezTo>
                      <a:pt x="1188" y="1040"/>
                      <a:pt x="1156" y="1008"/>
                      <a:pt x="1132" y="992"/>
                    </a:cubicBezTo>
                    <a:cubicBezTo>
                      <a:pt x="1120" y="972"/>
                      <a:pt x="1104" y="932"/>
                      <a:pt x="1080" y="924"/>
                    </a:cubicBezTo>
                    <a:cubicBezTo>
                      <a:pt x="1056" y="840"/>
                      <a:pt x="1052" y="756"/>
                      <a:pt x="1120" y="688"/>
                    </a:cubicBezTo>
                    <a:cubicBezTo>
                      <a:pt x="1124" y="672"/>
                      <a:pt x="1128" y="644"/>
                      <a:pt x="1120" y="632"/>
                    </a:cubicBezTo>
                    <a:cubicBezTo>
                      <a:pt x="1108" y="616"/>
                      <a:pt x="1088" y="612"/>
                      <a:pt x="1072" y="600"/>
                    </a:cubicBezTo>
                    <a:cubicBezTo>
                      <a:pt x="1044" y="576"/>
                      <a:pt x="1020" y="556"/>
                      <a:pt x="984" y="544"/>
                    </a:cubicBezTo>
                    <a:cubicBezTo>
                      <a:pt x="968" y="528"/>
                      <a:pt x="932" y="520"/>
                      <a:pt x="908" y="512"/>
                    </a:cubicBezTo>
                    <a:cubicBezTo>
                      <a:pt x="888" y="492"/>
                      <a:pt x="876" y="448"/>
                      <a:pt x="872" y="416"/>
                    </a:cubicBezTo>
                    <a:cubicBezTo>
                      <a:pt x="864" y="380"/>
                      <a:pt x="861" y="344"/>
                      <a:pt x="880" y="312"/>
                    </a:cubicBezTo>
                    <a:cubicBezTo>
                      <a:pt x="888" y="288"/>
                      <a:pt x="888" y="260"/>
                      <a:pt x="908" y="240"/>
                    </a:cubicBezTo>
                    <a:cubicBezTo>
                      <a:pt x="924" y="212"/>
                      <a:pt x="972" y="128"/>
                      <a:pt x="968" y="132"/>
                    </a:cubicBezTo>
                    <a:cubicBezTo>
                      <a:pt x="956" y="148"/>
                      <a:pt x="892" y="256"/>
                      <a:pt x="880" y="264"/>
                    </a:cubicBezTo>
                    <a:cubicBezTo>
                      <a:pt x="872" y="228"/>
                      <a:pt x="876" y="204"/>
                      <a:pt x="888" y="168"/>
                    </a:cubicBezTo>
                    <a:cubicBezTo>
                      <a:pt x="884" y="132"/>
                      <a:pt x="892" y="108"/>
                      <a:pt x="864" y="88"/>
                    </a:cubicBezTo>
                    <a:cubicBezTo>
                      <a:pt x="849" y="76"/>
                      <a:pt x="813" y="72"/>
                      <a:pt x="813" y="72"/>
                    </a:cubicBezTo>
                    <a:cubicBezTo>
                      <a:pt x="789" y="48"/>
                      <a:pt x="757" y="36"/>
                      <a:pt x="729" y="16"/>
                    </a:cubicBezTo>
                    <a:cubicBezTo>
                      <a:pt x="717" y="8"/>
                      <a:pt x="693" y="0"/>
                      <a:pt x="693" y="0"/>
                    </a:cubicBezTo>
                    <a:cubicBezTo>
                      <a:pt x="669" y="4"/>
                      <a:pt x="657" y="0"/>
                      <a:pt x="645" y="24"/>
                    </a:cubicBezTo>
                    <a:cubicBezTo>
                      <a:pt x="637" y="72"/>
                      <a:pt x="621" y="72"/>
                      <a:pt x="573" y="76"/>
                    </a:cubicBezTo>
                    <a:cubicBezTo>
                      <a:pt x="557" y="92"/>
                      <a:pt x="549" y="116"/>
                      <a:pt x="537" y="136"/>
                    </a:cubicBezTo>
                    <a:cubicBezTo>
                      <a:pt x="529" y="172"/>
                      <a:pt x="529" y="208"/>
                      <a:pt x="545" y="244"/>
                    </a:cubicBezTo>
                    <a:cubicBezTo>
                      <a:pt x="548" y="283"/>
                      <a:pt x="560" y="337"/>
                      <a:pt x="558" y="366"/>
                    </a:cubicBezTo>
                    <a:cubicBezTo>
                      <a:pt x="544" y="390"/>
                      <a:pt x="540" y="403"/>
                      <a:pt x="533" y="416"/>
                    </a:cubicBezTo>
                    <a:cubicBezTo>
                      <a:pt x="526" y="440"/>
                      <a:pt x="537" y="408"/>
                      <a:pt x="513" y="444"/>
                    </a:cubicBezTo>
                    <a:cubicBezTo>
                      <a:pt x="497" y="456"/>
                      <a:pt x="441" y="472"/>
                      <a:pt x="409" y="484"/>
                    </a:cubicBezTo>
                    <a:cubicBezTo>
                      <a:pt x="357" y="492"/>
                      <a:pt x="245" y="504"/>
                      <a:pt x="197" y="492"/>
                    </a:cubicBezTo>
                    <a:cubicBezTo>
                      <a:pt x="181" y="460"/>
                      <a:pt x="181" y="432"/>
                      <a:pt x="153" y="412"/>
                    </a:cubicBezTo>
                    <a:cubicBezTo>
                      <a:pt x="141" y="392"/>
                      <a:pt x="105" y="380"/>
                      <a:pt x="81" y="372"/>
                    </a:cubicBezTo>
                    <a:cubicBezTo>
                      <a:pt x="41" y="384"/>
                      <a:pt x="41" y="392"/>
                      <a:pt x="9" y="436"/>
                    </a:cubicBezTo>
                    <a:cubicBezTo>
                      <a:pt x="0" y="456"/>
                      <a:pt x="27" y="455"/>
                      <a:pt x="66" y="482"/>
                    </a:cubicBezTo>
                    <a:cubicBezTo>
                      <a:pt x="108" y="513"/>
                      <a:pt x="171" y="567"/>
                      <a:pt x="265" y="620"/>
                    </a:cubicBezTo>
                    <a:cubicBezTo>
                      <a:pt x="309" y="651"/>
                      <a:pt x="309" y="642"/>
                      <a:pt x="330" y="668"/>
                    </a:cubicBezTo>
                    <a:cubicBezTo>
                      <a:pt x="369" y="701"/>
                      <a:pt x="393" y="722"/>
                      <a:pt x="390" y="756"/>
                    </a:cubicBezTo>
                    <a:cubicBezTo>
                      <a:pt x="363" y="848"/>
                      <a:pt x="438" y="911"/>
                      <a:pt x="450" y="947"/>
                    </a:cubicBezTo>
                    <a:cubicBezTo>
                      <a:pt x="465" y="990"/>
                      <a:pt x="469" y="995"/>
                      <a:pt x="477" y="1016"/>
                    </a:cubicBezTo>
                    <a:cubicBezTo>
                      <a:pt x="485" y="1032"/>
                      <a:pt x="492" y="1059"/>
                      <a:pt x="495" y="1077"/>
                    </a:cubicBezTo>
                    <a:cubicBezTo>
                      <a:pt x="491" y="1109"/>
                      <a:pt x="486" y="1193"/>
                      <a:pt x="495" y="1224"/>
                    </a:cubicBezTo>
                    <a:cubicBezTo>
                      <a:pt x="522" y="1266"/>
                      <a:pt x="535" y="1281"/>
                      <a:pt x="537" y="1301"/>
                    </a:cubicBezTo>
                    <a:cubicBezTo>
                      <a:pt x="557" y="1341"/>
                      <a:pt x="555" y="1352"/>
                      <a:pt x="580" y="1365"/>
                    </a:cubicBezTo>
                    <a:cubicBezTo>
                      <a:pt x="580" y="1369"/>
                      <a:pt x="617" y="1380"/>
                      <a:pt x="633" y="1380"/>
                    </a:cubicBezTo>
                    <a:cubicBezTo>
                      <a:pt x="649" y="1384"/>
                      <a:pt x="665" y="1392"/>
                      <a:pt x="681" y="1396"/>
                    </a:cubicBezTo>
                    <a:cubicBezTo>
                      <a:pt x="689" y="1400"/>
                      <a:pt x="705" y="1404"/>
                      <a:pt x="705" y="1404"/>
                    </a:cubicBezTo>
                    <a:cubicBezTo>
                      <a:pt x="717" y="1416"/>
                      <a:pt x="741" y="1432"/>
                      <a:pt x="741" y="1432"/>
                    </a:cubicBezTo>
                    <a:cubicBezTo>
                      <a:pt x="753" y="1488"/>
                      <a:pt x="737" y="1536"/>
                      <a:pt x="705" y="1583"/>
                    </a:cubicBezTo>
                    <a:cubicBezTo>
                      <a:pt x="673" y="1671"/>
                      <a:pt x="617" y="1879"/>
                      <a:pt x="545" y="1959"/>
                    </a:cubicBezTo>
                    <a:cubicBezTo>
                      <a:pt x="533" y="1975"/>
                      <a:pt x="525" y="1995"/>
                      <a:pt x="509" y="2003"/>
                    </a:cubicBezTo>
                    <a:cubicBezTo>
                      <a:pt x="501" y="2023"/>
                      <a:pt x="497" y="2035"/>
                      <a:pt x="489" y="2051"/>
                    </a:cubicBezTo>
                    <a:cubicBezTo>
                      <a:pt x="485" y="2059"/>
                      <a:pt x="481" y="2075"/>
                      <a:pt x="481" y="2075"/>
                    </a:cubicBezTo>
                    <a:cubicBezTo>
                      <a:pt x="461" y="2107"/>
                      <a:pt x="381" y="2167"/>
                      <a:pt x="369" y="2239"/>
                    </a:cubicBezTo>
                    <a:cubicBezTo>
                      <a:pt x="349" y="2315"/>
                      <a:pt x="365" y="2435"/>
                      <a:pt x="413" y="2507"/>
                    </a:cubicBezTo>
                    <a:cubicBezTo>
                      <a:pt x="421" y="2535"/>
                      <a:pt x="445" y="2535"/>
                      <a:pt x="457" y="2559"/>
                    </a:cubicBezTo>
                    <a:cubicBezTo>
                      <a:pt x="473" y="2591"/>
                      <a:pt x="465" y="2655"/>
                      <a:pt x="473" y="2687"/>
                    </a:cubicBezTo>
                    <a:cubicBezTo>
                      <a:pt x="477" y="2787"/>
                      <a:pt x="473" y="2887"/>
                      <a:pt x="457" y="2987"/>
                    </a:cubicBezTo>
                    <a:cubicBezTo>
                      <a:pt x="457" y="2995"/>
                      <a:pt x="453" y="3003"/>
                      <a:pt x="461" y="3007"/>
                    </a:cubicBezTo>
                    <a:cubicBezTo>
                      <a:pt x="469" y="3011"/>
                      <a:pt x="485" y="2999"/>
                      <a:pt x="485" y="2999"/>
                    </a:cubicBezTo>
                    <a:cubicBezTo>
                      <a:pt x="525" y="3007"/>
                      <a:pt x="561" y="3019"/>
                      <a:pt x="597" y="3031"/>
                    </a:cubicBezTo>
                    <a:cubicBezTo>
                      <a:pt x="621" y="3039"/>
                      <a:pt x="637" y="3047"/>
                      <a:pt x="657" y="3055"/>
                    </a:cubicBezTo>
                    <a:cubicBezTo>
                      <a:pt x="661" y="3055"/>
                      <a:pt x="669" y="3059"/>
                      <a:pt x="669" y="3059"/>
                    </a:cubicBezTo>
                    <a:cubicBezTo>
                      <a:pt x="685" y="3075"/>
                      <a:pt x="705" y="3079"/>
                      <a:pt x="729" y="3083"/>
                    </a:cubicBezTo>
                    <a:cubicBezTo>
                      <a:pt x="769" y="3075"/>
                      <a:pt x="801" y="3055"/>
                      <a:pt x="841" y="3047"/>
                    </a:cubicBezTo>
                    <a:cubicBezTo>
                      <a:pt x="880" y="3027"/>
                      <a:pt x="912" y="2999"/>
                      <a:pt x="956" y="2991"/>
                    </a:cubicBezTo>
                    <a:cubicBezTo>
                      <a:pt x="968" y="2983"/>
                      <a:pt x="980" y="2967"/>
                      <a:pt x="992" y="2963"/>
                    </a:cubicBezTo>
                    <a:cubicBezTo>
                      <a:pt x="1004" y="2959"/>
                      <a:pt x="1024" y="2955"/>
                      <a:pt x="1024" y="2955"/>
                    </a:cubicBezTo>
                    <a:cubicBezTo>
                      <a:pt x="1040" y="2931"/>
                      <a:pt x="1092" y="2915"/>
                      <a:pt x="1120" y="2907"/>
                    </a:cubicBezTo>
                    <a:cubicBezTo>
                      <a:pt x="1132" y="2887"/>
                      <a:pt x="1168" y="2867"/>
                      <a:pt x="1192" y="2859"/>
                    </a:cubicBezTo>
                    <a:cubicBezTo>
                      <a:pt x="1212" y="2827"/>
                      <a:pt x="1276" y="2839"/>
                      <a:pt x="1312" y="2831"/>
                    </a:cubicBezTo>
                    <a:cubicBezTo>
                      <a:pt x="1336" y="2811"/>
                      <a:pt x="1348" y="2791"/>
                      <a:pt x="1372" y="2783"/>
                    </a:cubicBezTo>
                    <a:cubicBezTo>
                      <a:pt x="1380" y="2779"/>
                      <a:pt x="1396" y="2767"/>
                      <a:pt x="1396" y="2767"/>
                    </a:cubicBezTo>
                    <a:cubicBezTo>
                      <a:pt x="1389" y="2753"/>
                      <a:pt x="1388" y="2743"/>
                      <a:pt x="1396" y="2723"/>
                    </a:cubicBezTo>
                    <a:cubicBezTo>
                      <a:pt x="1412" y="2675"/>
                      <a:pt x="1465" y="2573"/>
                      <a:pt x="1500" y="2534"/>
                    </a:cubicBezTo>
                    <a:cubicBezTo>
                      <a:pt x="1530" y="2472"/>
                      <a:pt x="1555" y="2397"/>
                      <a:pt x="1576" y="2351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</p:grpSp>
        <p:sp>
          <p:nvSpPr>
            <p:cNvPr id="24" name="Freeform 80"/>
            <p:cNvSpPr>
              <a:spLocks noChangeAspect="1"/>
            </p:cNvSpPr>
            <p:nvPr/>
          </p:nvSpPr>
          <p:spPr bwMode="auto">
            <a:xfrm>
              <a:off x="2987" y="2315"/>
              <a:ext cx="291" cy="179"/>
            </a:xfrm>
            <a:custGeom>
              <a:avLst/>
              <a:gdLst>
                <a:gd name="T0" fmla="*/ 0 w 1156"/>
                <a:gd name="T1" fmla="*/ 0 h 708"/>
                <a:gd name="T2" fmla="*/ 0 w 1156"/>
                <a:gd name="T3" fmla="*/ 0 h 708"/>
                <a:gd name="T4" fmla="*/ 0 w 1156"/>
                <a:gd name="T5" fmla="*/ 0 h 708"/>
                <a:gd name="T6" fmla="*/ 0 w 1156"/>
                <a:gd name="T7" fmla="*/ 0 h 708"/>
                <a:gd name="T8" fmla="*/ 0 w 1156"/>
                <a:gd name="T9" fmla="*/ 0 h 708"/>
                <a:gd name="T10" fmla="*/ 0 w 1156"/>
                <a:gd name="T11" fmla="*/ 0 h 708"/>
                <a:gd name="T12" fmla="*/ 0 w 1156"/>
                <a:gd name="T13" fmla="*/ 0 h 708"/>
                <a:gd name="T14" fmla="*/ 0 w 1156"/>
                <a:gd name="T15" fmla="*/ 0 h 708"/>
                <a:gd name="T16" fmla="*/ 0 w 1156"/>
                <a:gd name="T17" fmla="*/ 0 h 708"/>
                <a:gd name="T18" fmla="*/ 0 w 1156"/>
                <a:gd name="T19" fmla="*/ 0 h 708"/>
                <a:gd name="T20" fmla="*/ 0 w 1156"/>
                <a:gd name="T21" fmla="*/ 0 h 708"/>
                <a:gd name="T22" fmla="*/ 0 w 1156"/>
                <a:gd name="T23" fmla="*/ 0 h 708"/>
                <a:gd name="T24" fmla="*/ 0 w 1156"/>
                <a:gd name="T25" fmla="*/ 0 h 708"/>
                <a:gd name="T26" fmla="*/ 0 w 1156"/>
                <a:gd name="T27" fmla="*/ 0 h 708"/>
                <a:gd name="T28" fmla="*/ 0 w 1156"/>
                <a:gd name="T29" fmla="*/ 0 h 708"/>
                <a:gd name="T30" fmla="*/ 0 w 1156"/>
                <a:gd name="T31" fmla="*/ 0 h 708"/>
                <a:gd name="T32" fmla="*/ 0 w 1156"/>
                <a:gd name="T33" fmla="*/ 0 h 708"/>
                <a:gd name="T34" fmla="*/ 0 w 1156"/>
                <a:gd name="T35" fmla="*/ 0 h 708"/>
                <a:gd name="T36" fmla="*/ 0 w 1156"/>
                <a:gd name="T37" fmla="*/ 0 h 708"/>
                <a:gd name="T38" fmla="*/ 0 w 1156"/>
                <a:gd name="T39" fmla="*/ 0 h 708"/>
                <a:gd name="T40" fmla="*/ 0 w 1156"/>
                <a:gd name="T41" fmla="*/ 0 h 708"/>
                <a:gd name="T42" fmla="*/ 0 w 1156"/>
                <a:gd name="T43" fmla="*/ 0 h 708"/>
                <a:gd name="T44" fmla="*/ 0 w 1156"/>
                <a:gd name="T45" fmla="*/ 0 h 708"/>
                <a:gd name="T46" fmla="*/ 0 w 1156"/>
                <a:gd name="T47" fmla="*/ 0 h 708"/>
                <a:gd name="T48" fmla="*/ 0 w 1156"/>
                <a:gd name="T49" fmla="*/ 0 h 708"/>
                <a:gd name="T50" fmla="*/ 0 w 1156"/>
                <a:gd name="T51" fmla="*/ 0 h 708"/>
                <a:gd name="T52" fmla="*/ 0 w 1156"/>
                <a:gd name="T53" fmla="*/ 0 h 708"/>
                <a:gd name="T54" fmla="*/ 0 w 1156"/>
                <a:gd name="T55" fmla="*/ 0 h 708"/>
                <a:gd name="T56" fmla="*/ 0 w 1156"/>
                <a:gd name="T57" fmla="*/ 0 h 708"/>
                <a:gd name="T58" fmla="*/ 0 w 1156"/>
                <a:gd name="T59" fmla="*/ 0 h 708"/>
                <a:gd name="T60" fmla="*/ 0 w 1156"/>
                <a:gd name="T61" fmla="*/ 0 h 708"/>
                <a:gd name="T62" fmla="*/ 0 w 1156"/>
                <a:gd name="T63" fmla="*/ 0 h 708"/>
                <a:gd name="T64" fmla="*/ 0 w 1156"/>
                <a:gd name="T65" fmla="*/ 0 h 708"/>
                <a:gd name="T66" fmla="*/ 0 w 1156"/>
                <a:gd name="T67" fmla="*/ 0 h 708"/>
                <a:gd name="T68" fmla="*/ 0 w 1156"/>
                <a:gd name="T69" fmla="*/ 0 h 708"/>
                <a:gd name="T70" fmla="*/ 0 w 1156"/>
                <a:gd name="T71" fmla="*/ 0 h 708"/>
                <a:gd name="T72" fmla="*/ 0 w 1156"/>
                <a:gd name="T73" fmla="*/ 0 h 708"/>
                <a:gd name="T74" fmla="*/ 0 w 1156"/>
                <a:gd name="T75" fmla="*/ 0 h 708"/>
                <a:gd name="T76" fmla="*/ 0 w 1156"/>
                <a:gd name="T77" fmla="*/ 0 h 708"/>
                <a:gd name="T78" fmla="*/ 0 w 1156"/>
                <a:gd name="T79" fmla="*/ 0 h 708"/>
                <a:gd name="T80" fmla="*/ 0 w 1156"/>
                <a:gd name="T81" fmla="*/ 0 h 708"/>
                <a:gd name="T82" fmla="*/ 0 w 1156"/>
                <a:gd name="T83" fmla="*/ 0 h 708"/>
                <a:gd name="T84" fmla="*/ 0 w 1156"/>
                <a:gd name="T85" fmla="*/ 0 h 708"/>
                <a:gd name="T86" fmla="*/ 0 w 1156"/>
                <a:gd name="T87" fmla="*/ 0 h 708"/>
                <a:gd name="T88" fmla="*/ 0 w 1156"/>
                <a:gd name="T89" fmla="*/ 0 h 708"/>
                <a:gd name="T90" fmla="*/ 0 w 1156"/>
                <a:gd name="T91" fmla="*/ 0 h 708"/>
                <a:gd name="T92" fmla="*/ 0 w 1156"/>
                <a:gd name="T93" fmla="*/ 0 h 708"/>
                <a:gd name="T94" fmla="*/ 0 w 1156"/>
                <a:gd name="T95" fmla="*/ 0 h 708"/>
                <a:gd name="T96" fmla="*/ 0 w 1156"/>
                <a:gd name="T97" fmla="*/ 0 h 708"/>
                <a:gd name="T98" fmla="*/ 0 w 1156"/>
                <a:gd name="T99" fmla="*/ 0 h 708"/>
                <a:gd name="T100" fmla="*/ 0 w 1156"/>
                <a:gd name="T101" fmla="*/ 0 h 708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156"/>
                <a:gd name="T154" fmla="*/ 0 h 708"/>
                <a:gd name="T155" fmla="*/ 1156 w 1156"/>
                <a:gd name="T156" fmla="*/ 708 h 708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156" h="708">
                  <a:moveTo>
                    <a:pt x="1156" y="416"/>
                  </a:moveTo>
                  <a:cubicBezTo>
                    <a:pt x="1148" y="404"/>
                    <a:pt x="1144" y="392"/>
                    <a:pt x="1132" y="380"/>
                  </a:cubicBezTo>
                  <a:cubicBezTo>
                    <a:pt x="1124" y="356"/>
                    <a:pt x="1128" y="328"/>
                    <a:pt x="1104" y="312"/>
                  </a:cubicBezTo>
                  <a:cubicBezTo>
                    <a:pt x="1096" y="292"/>
                    <a:pt x="1052" y="232"/>
                    <a:pt x="1032" y="224"/>
                  </a:cubicBezTo>
                  <a:cubicBezTo>
                    <a:pt x="1036" y="132"/>
                    <a:pt x="1048" y="140"/>
                    <a:pt x="976" y="92"/>
                  </a:cubicBezTo>
                  <a:cubicBezTo>
                    <a:pt x="972" y="76"/>
                    <a:pt x="953" y="83"/>
                    <a:pt x="945" y="63"/>
                  </a:cubicBezTo>
                  <a:cubicBezTo>
                    <a:pt x="845" y="72"/>
                    <a:pt x="831" y="92"/>
                    <a:pt x="819" y="99"/>
                  </a:cubicBezTo>
                  <a:cubicBezTo>
                    <a:pt x="789" y="104"/>
                    <a:pt x="786" y="98"/>
                    <a:pt x="764" y="96"/>
                  </a:cubicBezTo>
                  <a:cubicBezTo>
                    <a:pt x="740" y="60"/>
                    <a:pt x="719" y="78"/>
                    <a:pt x="684" y="50"/>
                  </a:cubicBezTo>
                  <a:cubicBezTo>
                    <a:pt x="672" y="38"/>
                    <a:pt x="664" y="24"/>
                    <a:pt x="648" y="20"/>
                  </a:cubicBezTo>
                  <a:cubicBezTo>
                    <a:pt x="636" y="0"/>
                    <a:pt x="626" y="10"/>
                    <a:pt x="602" y="6"/>
                  </a:cubicBezTo>
                  <a:cubicBezTo>
                    <a:pt x="564" y="9"/>
                    <a:pt x="564" y="0"/>
                    <a:pt x="532" y="20"/>
                  </a:cubicBezTo>
                  <a:cubicBezTo>
                    <a:pt x="509" y="32"/>
                    <a:pt x="483" y="62"/>
                    <a:pt x="460" y="52"/>
                  </a:cubicBezTo>
                  <a:cubicBezTo>
                    <a:pt x="432" y="88"/>
                    <a:pt x="456" y="192"/>
                    <a:pt x="496" y="220"/>
                  </a:cubicBezTo>
                  <a:cubicBezTo>
                    <a:pt x="504" y="252"/>
                    <a:pt x="512" y="288"/>
                    <a:pt x="484" y="308"/>
                  </a:cubicBezTo>
                  <a:cubicBezTo>
                    <a:pt x="472" y="328"/>
                    <a:pt x="472" y="336"/>
                    <a:pt x="448" y="344"/>
                  </a:cubicBezTo>
                  <a:cubicBezTo>
                    <a:pt x="416" y="344"/>
                    <a:pt x="388" y="348"/>
                    <a:pt x="356" y="340"/>
                  </a:cubicBezTo>
                  <a:cubicBezTo>
                    <a:pt x="352" y="340"/>
                    <a:pt x="352" y="328"/>
                    <a:pt x="348" y="324"/>
                  </a:cubicBezTo>
                  <a:cubicBezTo>
                    <a:pt x="336" y="312"/>
                    <a:pt x="304" y="300"/>
                    <a:pt x="288" y="296"/>
                  </a:cubicBezTo>
                  <a:cubicBezTo>
                    <a:pt x="276" y="276"/>
                    <a:pt x="268" y="256"/>
                    <a:pt x="252" y="240"/>
                  </a:cubicBezTo>
                  <a:cubicBezTo>
                    <a:pt x="244" y="228"/>
                    <a:pt x="216" y="212"/>
                    <a:pt x="216" y="212"/>
                  </a:cubicBezTo>
                  <a:cubicBezTo>
                    <a:pt x="208" y="196"/>
                    <a:pt x="192" y="180"/>
                    <a:pt x="180" y="172"/>
                  </a:cubicBezTo>
                  <a:cubicBezTo>
                    <a:pt x="160" y="180"/>
                    <a:pt x="172" y="188"/>
                    <a:pt x="148" y="192"/>
                  </a:cubicBezTo>
                  <a:cubicBezTo>
                    <a:pt x="124" y="208"/>
                    <a:pt x="96" y="216"/>
                    <a:pt x="76" y="236"/>
                  </a:cubicBezTo>
                  <a:cubicBezTo>
                    <a:pt x="68" y="260"/>
                    <a:pt x="64" y="280"/>
                    <a:pt x="48" y="296"/>
                  </a:cubicBezTo>
                  <a:cubicBezTo>
                    <a:pt x="40" y="320"/>
                    <a:pt x="20" y="336"/>
                    <a:pt x="16" y="364"/>
                  </a:cubicBezTo>
                  <a:cubicBezTo>
                    <a:pt x="12" y="420"/>
                    <a:pt x="8" y="436"/>
                    <a:pt x="0" y="484"/>
                  </a:cubicBezTo>
                  <a:cubicBezTo>
                    <a:pt x="4" y="536"/>
                    <a:pt x="0" y="696"/>
                    <a:pt x="36" y="708"/>
                  </a:cubicBezTo>
                  <a:cubicBezTo>
                    <a:pt x="39" y="684"/>
                    <a:pt x="59" y="655"/>
                    <a:pt x="69" y="638"/>
                  </a:cubicBezTo>
                  <a:cubicBezTo>
                    <a:pt x="79" y="621"/>
                    <a:pt x="83" y="639"/>
                    <a:pt x="96" y="608"/>
                  </a:cubicBezTo>
                  <a:cubicBezTo>
                    <a:pt x="117" y="605"/>
                    <a:pt x="162" y="570"/>
                    <a:pt x="204" y="576"/>
                  </a:cubicBezTo>
                  <a:cubicBezTo>
                    <a:pt x="226" y="564"/>
                    <a:pt x="216" y="548"/>
                    <a:pt x="230" y="546"/>
                  </a:cubicBezTo>
                  <a:cubicBezTo>
                    <a:pt x="236" y="544"/>
                    <a:pt x="231" y="558"/>
                    <a:pt x="240" y="561"/>
                  </a:cubicBezTo>
                  <a:cubicBezTo>
                    <a:pt x="249" y="564"/>
                    <a:pt x="269" y="561"/>
                    <a:pt x="287" y="566"/>
                  </a:cubicBezTo>
                  <a:cubicBezTo>
                    <a:pt x="299" y="552"/>
                    <a:pt x="299" y="560"/>
                    <a:pt x="303" y="539"/>
                  </a:cubicBezTo>
                  <a:cubicBezTo>
                    <a:pt x="323" y="551"/>
                    <a:pt x="315" y="561"/>
                    <a:pt x="330" y="567"/>
                  </a:cubicBezTo>
                  <a:cubicBezTo>
                    <a:pt x="381" y="536"/>
                    <a:pt x="393" y="531"/>
                    <a:pt x="410" y="549"/>
                  </a:cubicBezTo>
                  <a:cubicBezTo>
                    <a:pt x="410" y="531"/>
                    <a:pt x="414" y="530"/>
                    <a:pt x="489" y="527"/>
                  </a:cubicBezTo>
                  <a:cubicBezTo>
                    <a:pt x="511" y="536"/>
                    <a:pt x="562" y="537"/>
                    <a:pt x="576" y="533"/>
                  </a:cubicBezTo>
                  <a:cubicBezTo>
                    <a:pt x="590" y="529"/>
                    <a:pt x="566" y="515"/>
                    <a:pt x="576" y="504"/>
                  </a:cubicBezTo>
                  <a:cubicBezTo>
                    <a:pt x="576" y="488"/>
                    <a:pt x="625" y="468"/>
                    <a:pt x="638" y="470"/>
                  </a:cubicBezTo>
                  <a:cubicBezTo>
                    <a:pt x="642" y="486"/>
                    <a:pt x="641" y="508"/>
                    <a:pt x="657" y="516"/>
                  </a:cubicBezTo>
                  <a:cubicBezTo>
                    <a:pt x="669" y="524"/>
                    <a:pt x="690" y="530"/>
                    <a:pt x="690" y="530"/>
                  </a:cubicBezTo>
                  <a:cubicBezTo>
                    <a:pt x="726" y="526"/>
                    <a:pt x="752" y="524"/>
                    <a:pt x="784" y="536"/>
                  </a:cubicBezTo>
                  <a:cubicBezTo>
                    <a:pt x="786" y="551"/>
                    <a:pt x="840" y="567"/>
                    <a:pt x="879" y="588"/>
                  </a:cubicBezTo>
                  <a:cubicBezTo>
                    <a:pt x="899" y="617"/>
                    <a:pt x="932" y="612"/>
                    <a:pt x="944" y="620"/>
                  </a:cubicBezTo>
                  <a:cubicBezTo>
                    <a:pt x="954" y="612"/>
                    <a:pt x="960" y="614"/>
                    <a:pt x="960" y="614"/>
                  </a:cubicBezTo>
                  <a:cubicBezTo>
                    <a:pt x="986" y="576"/>
                    <a:pt x="998" y="552"/>
                    <a:pt x="1094" y="566"/>
                  </a:cubicBezTo>
                  <a:cubicBezTo>
                    <a:pt x="1097" y="543"/>
                    <a:pt x="1101" y="578"/>
                    <a:pt x="1088" y="522"/>
                  </a:cubicBezTo>
                  <a:cubicBezTo>
                    <a:pt x="1091" y="488"/>
                    <a:pt x="1117" y="475"/>
                    <a:pt x="1137" y="447"/>
                  </a:cubicBezTo>
                  <a:cubicBezTo>
                    <a:pt x="1140" y="428"/>
                    <a:pt x="1145" y="422"/>
                    <a:pt x="1156" y="416"/>
                  </a:cubicBez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  <p:sp>
          <p:nvSpPr>
            <p:cNvPr id="25" name="Freeform 81"/>
            <p:cNvSpPr>
              <a:spLocks noChangeAspect="1"/>
            </p:cNvSpPr>
            <p:nvPr/>
          </p:nvSpPr>
          <p:spPr bwMode="auto">
            <a:xfrm>
              <a:off x="2996" y="2433"/>
              <a:ext cx="240" cy="192"/>
            </a:xfrm>
            <a:custGeom>
              <a:avLst/>
              <a:gdLst>
                <a:gd name="T0" fmla="*/ 0 w 952"/>
                <a:gd name="T1" fmla="*/ 0 h 758"/>
                <a:gd name="T2" fmla="*/ 0 w 952"/>
                <a:gd name="T3" fmla="*/ 0 h 758"/>
                <a:gd name="T4" fmla="*/ 0 w 952"/>
                <a:gd name="T5" fmla="*/ 0 h 758"/>
                <a:gd name="T6" fmla="*/ 0 w 952"/>
                <a:gd name="T7" fmla="*/ 0 h 758"/>
                <a:gd name="T8" fmla="*/ 0 w 952"/>
                <a:gd name="T9" fmla="*/ 0 h 758"/>
                <a:gd name="T10" fmla="*/ 0 w 952"/>
                <a:gd name="T11" fmla="*/ 0 h 758"/>
                <a:gd name="T12" fmla="*/ 0 w 952"/>
                <a:gd name="T13" fmla="*/ 0 h 758"/>
                <a:gd name="T14" fmla="*/ 0 w 952"/>
                <a:gd name="T15" fmla="*/ 0 h 758"/>
                <a:gd name="T16" fmla="*/ 0 w 952"/>
                <a:gd name="T17" fmla="*/ 0 h 758"/>
                <a:gd name="T18" fmla="*/ 0 w 952"/>
                <a:gd name="T19" fmla="*/ 0 h 758"/>
                <a:gd name="T20" fmla="*/ 0 w 952"/>
                <a:gd name="T21" fmla="*/ 0 h 758"/>
                <a:gd name="T22" fmla="*/ 0 w 952"/>
                <a:gd name="T23" fmla="*/ 0 h 758"/>
                <a:gd name="T24" fmla="*/ 0 w 952"/>
                <a:gd name="T25" fmla="*/ 0 h 758"/>
                <a:gd name="T26" fmla="*/ 0 w 952"/>
                <a:gd name="T27" fmla="*/ 0 h 758"/>
                <a:gd name="T28" fmla="*/ 0 w 952"/>
                <a:gd name="T29" fmla="*/ 0 h 758"/>
                <a:gd name="T30" fmla="*/ 0 w 952"/>
                <a:gd name="T31" fmla="*/ 0 h 758"/>
                <a:gd name="T32" fmla="*/ 0 w 952"/>
                <a:gd name="T33" fmla="*/ 0 h 758"/>
                <a:gd name="T34" fmla="*/ 0 w 952"/>
                <a:gd name="T35" fmla="*/ 0 h 758"/>
                <a:gd name="T36" fmla="*/ 0 w 952"/>
                <a:gd name="T37" fmla="*/ 0 h 758"/>
                <a:gd name="T38" fmla="*/ 0 w 952"/>
                <a:gd name="T39" fmla="*/ 0 h 758"/>
                <a:gd name="T40" fmla="*/ 0 w 952"/>
                <a:gd name="T41" fmla="*/ 0 h 758"/>
                <a:gd name="T42" fmla="*/ 0 w 952"/>
                <a:gd name="T43" fmla="*/ 0 h 758"/>
                <a:gd name="T44" fmla="*/ 0 w 952"/>
                <a:gd name="T45" fmla="*/ 0 h 758"/>
                <a:gd name="T46" fmla="*/ 0 w 952"/>
                <a:gd name="T47" fmla="*/ 0 h 758"/>
                <a:gd name="T48" fmla="*/ 0 w 952"/>
                <a:gd name="T49" fmla="*/ 0 h 758"/>
                <a:gd name="T50" fmla="*/ 0 w 952"/>
                <a:gd name="T51" fmla="*/ 0 h 758"/>
                <a:gd name="T52" fmla="*/ 0 w 952"/>
                <a:gd name="T53" fmla="*/ 0 h 758"/>
                <a:gd name="T54" fmla="*/ 0 w 952"/>
                <a:gd name="T55" fmla="*/ 0 h 758"/>
                <a:gd name="T56" fmla="*/ 0 w 952"/>
                <a:gd name="T57" fmla="*/ 0 h 758"/>
                <a:gd name="T58" fmla="*/ 0 w 952"/>
                <a:gd name="T59" fmla="*/ 0 h 758"/>
                <a:gd name="T60" fmla="*/ 0 w 952"/>
                <a:gd name="T61" fmla="*/ 0 h 758"/>
                <a:gd name="T62" fmla="*/ 0 w 952"/>
                <a:gd name="T63" fmla="*/ 0 h 758"/>
                <a:gd name="T64" fmla="*/ 0 w 952"/>
                <a:gd name="T65" fmla="*/ 0 h 758"/>
                <a:gd name="T66" fmla="*/ 0 w 952"/>
                <a:gd name="T67" fmla="*/ 0 h 758"/>
                <a:gd name="T68" fmla="*/ 0 w 952"/>
                <a:gd name="T69" fmla="*/ 0 h 758"/>
                <a:gd name="T70" fmla="*/ 0 w 952"/>
                <a:gd name="T71" fmla="*/ 0 h 758"/>
                <a:gd name="T72" fmla="*/ 0 w 952"/>
                <a:gd name="T73" fmla="*/ 0 h 758"/>
                <a:gd name="T74" fmla="*/ 0 w 952"/>
                <a:gd name="T75" fmla="*/ 0 h 758"/>
                <a:gd name="T76" fmla="*/ 0 w 952"/>
                <a:gd name="T77" fmla="*/ 0 h 758"/>
                <a:gd name="T78" fmla="*/ 0 w 952"/>
                <a:gd name="T79" fmla="*/ 0 h 758"/>
                <a:gd name="T80" fmla="*/ 0 w 952"/>
                <a:gd name="T81" fmla="*/ 0 h 758"/>
                <a:gd name="T82" fmla="*/ 0 w 952"/>
                <a:gd name="T83" fmla="*/ 0 h 758"/>
                <a:gd name="T84" fmla="*/ 0 w 952"/>
                <a:gd name="T85" fmla="*/ 0 h 758"/>
                <a:gd name="T86" fmla="*/ 0 w 952"/>
                <a:gd name="T87" fmla="*/ 0 h 758"/>
                <a:gd name="T88" fmla="*/ 0 w 952"/>
                <a:gd name="T89" fmla="*/ 0 h 758"/>
                <a:gd name="T90" fmla="*/ 0 w 952"/>
                <a:gd name="T91" fmla="*/ 0 h 758"/>
                <a:gd name="T92" fmla="*/ 0 w 952"/>
                <a:gd name="T93" fmla="*/ 0 h 758"/>
                <a:gd name="T94" fmla="*/ 0 w 952"/>
                <a:gd name="T95" fmla="*/ 0 h 758"/>
                <a:gd name="T96" fmla="*/ 0 w 952"/>
                <a:gd name="T97" fmla="*/ 0 h 758"/>
                <a:gd name="T98" fmla="*/ 0 w 952"/>
                <a:gd name="T99" fmla="*/ 0 h 758"/>
                <a:gd name="T100" fmla="*/ 0 w 952"/>
                <a:gd name="T101" fmla="*/ 0 h 758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952"/>
                <a:gd name="T154" fmla="*/ 0 h 758"/>
                <a:gd name="T155" fmla="*/ 952 w 952"/>
                <a:gd name="T156" fmla="*/ 758 h 758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952" h="758">
                  <a:moveTo>
                    <a:pt x="912" y="152"/>
                  </a:moveTo>
                  <a:cubicBezTo>
                    <a:pt x="844" y="140"/>
                    <a:pt x="856" y="120"/>
                    <a:pt x="808" y="104"/>
                  </a:cubicBezTo>
                  <a:cubicBezTo>
                    <a:pt x="792" y="88"/>
                    <a:pt x="776" y="92"/>
                    <a:pt x="756" y="80"/>
                  </a:cubicBezTo>
                  <a:cubicBezTo>
                    <a:pt x="736" y="48"/>
                    <a:pt x="696" y="60"/>
                    <a:pt x="656" y="60"/>
                  </a:cubicBezTo>
                  <a:cubicBezTo>
                    <a:pt x="648" y="60"/>
                    <a:pt x="620" y="52"/>
                    <a:pt x="616" y="48"/>
                  </a:cubicBezTo>
                  <a:cubicBezTo>
                    <a:pt x="604" y="36"/>
                    <a:pt x="600" y="0"/>
                    <a:pt x="600" y="0"/>
                  </a:cubicBezTo>
                  <a:cubicBezTo>
                    <a:pt x="580" y="4"/>
                    <a:pt x="544" y="24"/>
                    <a:pt x="544" y="24"/>
                  </a:cubicBezTo>
                  <a:cubicBezTo>
                    <a:pt x="532" y="34"/>
                    <a:pt x="542" y="50"/>
                    <a:pt x="546" y="66"/>
                  </a:cubicBezTo>
                  <a:cubicBezTo>
                    <a:pt x="531" y="68"/>
                    <a:pt x="507" y="69"/>
                    <a:pt x="492" y="68"/>
                  </a:cubicBezTo>
                  <a:cubicBezTo>
                    <a:pt x="476" y="72"/>
                    <a:pt x="472" y="64"/>
                    <a:pt x="456" y="60"/>
                  </a:cubicBezTo>
                  <a:cubicBezTo>
                    <a:pt x="416" y="64"/>
                    <a:pt x="380" y="48"/>
                    <a:pt x="372" y="84"/>
                  </a:cubicBezTo>
                  <a:cubicBezTo>
                    <a:pt x="368" y="68"/>
                    <a:pt x="356" y="64"/>
                    <a:pt x="340" y="68"/>
                  </a:cubicBezTo>
                  <a:cubicBezTo>
                    <a:pt x="328" y="80"/>
                    <a:pt x="320" y="88"/>
                    <a:pt x="304" y="92"/>
                  </a:cubicBezTo>
                  <a:cubicBezTo>
                    <a:pt x="288" y="116"/>
                    <a:pt x="280" y="80"/>
                    <a:pt x="268" y="68"/>
                  </a:cubicBezTo>
                  <a:cubicBezTo>
                    <a:pt x="260" y="108"/>
                    <a:pt x="244" y="96"/>
                    <a:pt x="204" y="92"/>
                  </a:cubicBezTo>
                  <a:cubicBezTo>
                    <a:pt x="192" y="60"/>
                    <a:pt x="184" y="100"/>
                    <a:pt x="176" y="104"/>
                  </a:cubicBezTo>
                  <a:cubicBezTo>
                    <a:pt x="160" y="108"/>
                    <a:pt x="144" y="108"/>
                    <a:pt x="128" y="108"/>
                  </a:cubicBezTo>
                  <a:cubicBezTo>
                    <a:pt x="112" y="116"/>
                    <a:pt x="100" y="124"/>
                    <a:pt x="84" y="132"/>
                  </a:cubicBezTo>
                  <a:cubicBezTo>
                    <a:pt x="76" y="136"/>
                    <a:pt x="60" y="140"/>
                    <a:pt x="60" y="140"/>
                  </a:cubicBezTo>
                  <a:cubicBezTo>
                    <a:pt x="52" y="156"/>
                    <a:pt x="52" y="164"/>
                    <a:pt x="36" y="168"/>
                  </a:cubicBezTo>
                  <a:cubicBezTo>
                    <a:pt x="28" y="188"/>
                    <a:pt x="16" y="200"/>
                    <a:pt x="4" y="216"/>
                  </a:cubicBezTo>
                  <a:cubicBezTo>
                    <a:pt x="4" y="236"/>
                    <a:pt x="0" y="320"/>
                    <a:pt x="24" y="328"/>
                  </a:cubicBezTo>
                  <a:cubicBezTo>
                    <a:pt x="32" y="356"/>
                    <a:pt x="20" y="408"/>
                    <a:pt x="52" y="420"/>
                  </a:cubicBezTo>
                  <a:cubicBezTo>
                    <a:pt x="83" y="429"/>
                    <a:pt x="100" y="442"/>
                    <a:pt x="128" y="450"/>
                  </a:cubicBezTo>
                  <a:cubicBezTo>
                    <a:pt x="148" y="462"/>
                    <a:pt x="201" y="480"/>
                    <a:pt x="201" y="480"/>
                  </a:cubicBezTo>
                  <a:cubicBezTo>
                    <a:pt x="231" y="495"/>
                    <a:pt x="287" y="480"/>
                    <a:pt x="315" y="504"/>
                  </a:cubicBezTo>
                  <a:cubicBezTo>
                    <a:pt x="319" y="528"/>
                    <a:pt x="343" y="641"/>
                    <a:pt x="359" y="657"/>
                  </a:cubicBezTo>
                  <a:cubicBezTo>
                    <a:pt x="396" y="660"/>
                    <a:pt x="422" y="663"/>
                    <a:pt x="443" y="684"/>
                  </a:cubicBezTo>
                  <a:cubicBezTo>
                    <a:pt x="485" y="708"/>
                    <a:pt x="492" y="726"/>
                    <a:pt x="509" y="758"/>
                  </a:cubicBezTo>
                  <a:cubicBezTo>
                    <a:pt x="563" y="758"/>
                    <a:pt x="566" y="755"/>
                    <a:pt x="615" y="725"/>
                  </a:cubicBezTo>
                  <a:cubicBezTo>
                    <a:pt x="636" y="750"/>
                    <a:pt x="657" y="750"/>
                    <a:pt x="683" y="714"/>
                  </a:cubicBezTo>
                  <a:cubicBezTo>
                    <a:pt x="701" y="709"/>
                    <a:pt x="719" y="701"/>
                    <a:pt x="723" y="696"/>
                  </a:cubicBezTo>
                  <a:cubicBezTo>
                    <a:pt x="741" y="686"/>
                    <a:pt x="705" y="688"/>
                    <a:pt x="707" y="680"/>
                  </a:cubicBezTo>
                  <a:cubicBezTo>
                    <a:pt x="709" y="672"/>
                    <a:pt x="725" y="651"/>
                    <a:pt x="734" y="645"/>
                  </a:cubicBezTo>
                  <a:cubicBezTo>
                    <a:pt x="746" y="642"/>
                    <a:pt x="765" y="644"/>
                    <a:pt x="765" y="644"/>
                  </a:cubicBezTo>
                  <a:cubicBezTo>
                    <a:pt x="773" y="628"/>
                    <a:pt x="791" y="597"/>
                    <a:pt x="813" y="599"/>
                  </a:cubicBezTo>
                  <a:cubicBezTo>
                    <a:pt x="823" y="595"/>
                    <a:pt x="812" y="613"/>
                    <a:pt x="818" y="620"/>
                  </a:cubicBezTo>
                  <a:cubicBezTo>
                    <a:pt x="824" y="627"/>
                    <a:pt x="837" y="630"/>
                    <a:pt x="852" y="640"/>
                  </a:cubicBezTo>
                  <a:cubicBezTo>
                    <a:pt x="884" y="632"/>
                    <a:pt x="872" y="608"/>
                    <a:pt x="852" y="592"/>
                  </a:cubicBezTo>
                  <a:cubicBezTo>
                    <a:pt x="839" y="587"/>
                    <a:pt x="845" y="594"/>
                    <a:pt x="825" y="566"/>
                  </a:cubicBezTo>
                  <a:cubicBezTo>
                    <a:pt x="821" y="558"/>
                    <a:pt x="824" y="528"/>
                    <a:pt x="824" y="528"/>
                  </a:cubicBezTo>
                  <a:cubicBezTo>
                    <a:pt x="822" y="512"/>
                    <a:pt x="818" y="482"/>
                    <a:pt x="834" y="459"/>
                  </a:cubicBezTo>
                  <a:cubicBezTo>
                    <a:pt x="835" y="442"/>
                    <a:pt x="822" y="447"/>
                    <a:pt x="830" y="425"/>
                  </a:cubicBezTo>
                  <a:cubicBezTo>
                    <a:pt x="834" y="417"/>
                    <a:pt x="861" y="375"/>
                    <a:pt x="885" y="329"/>
                  </a:cubicBezTo>
                  <a:cubicBezTo>
                    <a:pt x="897" y="321"/>
                    <a:pt x="914" y="312"/>
                    <a:pt x="914" y="312"/>
                  </a:cubicBezTo>
                  <a:cubicBezTo>
                    <a:pt x="930" y="296"/>
                    <a:pt x="940" y="308"/>
                    <a:pt x="952" y="288"/>
                  </a:cubicBezTo>
                  <a:cubicBezTo>
                    <a:pt x="948" y="280"/>
                    <a:pt x="949" y="269"/>
                    <a:pt x="941" y="261"/>
                  </a:cubicBezTo>
                  <a:cubicBezTo>
                    <a:pt x="923" y="257"/>
                    <a:pt x="904" y="248"/>
                    <a:pt x="904" y="248"/>
                  </a:cubicBezTo>
                  <a:cubicBezTo>
                    <a:pt x="896" y="224"/>
                    <a:pt x="902" y="239"/>
                    <a:pt x="902" y="225"/>
                  </a:cubicBezTo>
                  <a:cubicBezTo>
                    <a:pt x="912" y="204"/>
                    <a:pt x="921" y="164"/>
                    <a:pt x="924" y="144"/>
                  </a:cubicBezTo>
                  <a:cubicBezTo>
                    <a:pt x="900" y="152"/>
                    <a:pt x="896" y="152"/>
                    <a:pt x="912" y="152"/>
                  </a:cubicBez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  <p:sp>
          <p:nvSpPr>
            <p:cNvPr id="26" name="Freeform 82"/>
            <p:cNvSpPr>
              <a:spLocks noChangeAspect="1"/>
            </p:cNvSpPr>
            <p:nvPr/>
          </p:nvSpPr>
          <p:spPr bwMode="auto">
            <a:xfrm>
              <a:off x="2955" y="2536"/>
              <a:ext cx="132" cy="81"/>
            </a:xfrm>
            <a:custGeom>
              <a:avLst/>
              <a:gdLst>
                <a:gd name="T0" fmla="*/ 0 w 527"/>
                <a:gd name="T1" fmla="*/ 0 h 322"/>
                <a:gd name="T2" fmla="*/ 0 w 527"/>
                <a:gd name="T3" fmla="*/ 0 h 322"/>
                <a:gd name="T4" fmla="*/ 0 w 527"/>
                <a:gd name="T5" fmla="*/ 0 h 322"/>
                <a:gd name="T6" fmla="*/ 0 w 527"/>
                <a:gd name="T7" fmla="*/ 0 h 322"/>
                <a:gd name="T8" fmla="*/ 0 w 527"/>
                <a:gd name="T9" fmla="*/ 0 h 322"/>
                <a:gd name="T10" fmla="*/ 0 w 527"/>
                <a:gd name="T11" fmla="*/ 0 h 322"/>
                <a:gd name="T12" fmla="*/ 0 w 527"/>
                <a:gd name="T13" fmla="*/ 0 h 322"/>
                <a:gd name="T14" fmla="*/ 0 w 527"/>
                <a:gd name="T15" fmla="*/ 0 h 322"/>
                <a:gd name="T16" fmla="*/ 0 w 527"/>
                <a:gd name="T17" fmla="*/ 0 h 322"/>
                <a:gd name="T18" fmla="*/ 0 w 527"/>
                <a:gd name="T19" fmla="*/ 0 h 322"/>
                <a:gd name="T20" fmla="*/ 0 w 527"/>
                <a:gd name="T21" fmla="*/ 0 h 322"/>
                <a:gd name="T22" fmla="*/ 0 w 527"/>
                <a:gd name="T23" fmla="*/ 0 h 322"/>
                <a:gd name="T24" fmla="*/ 0 w 527"/>
                <a:gd name="T25" fmla="*/ 0 h 322"/>
                <a:gd name="T26" fmla="*/ 0 w 527"/>
                <a:gd name="T27" fmla="*/ 0 h 322"/>
                <a:gd name="T28" fmla="*/ 0 w 527"/>
                <a:gd name="T29" fmla="*/ 0 h 322"/>
                <a:gd name="T30" fmla="*/ 0 w 527"/>
                <a:gd name="T31" fmla="*/ 0 h 32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527"/>
                <a:gd name="T49" fmla="*/ 0 h 322"/>
                <a:gd name="T50" fmla="*/ 527 w 527"/>
                <a:gd name="T51" fmla="*/ 322 h 32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527" h="322">
                  <a:moveTo>
                    <a:pt x="192" y="0"/>
                  </a:moveTo>
                  <a:cubicBezTo>
                    <a:pt x="228" y="12"/>
                    <a:pt x="283" y="52"/>
                    <a:pt x="395" y="84"/>
                  </a:cubicBezTo>
                  <a:cubicBezTo>
                    <a:pt x="411" y="84"/>
                    <a:pt x="463" y="84"/>
                    <a:pt x="479" y="96"/>
                  </a:cubicBezTo>
                  <a:cubicBezTo>
                    <a:pt x="491" y="136"/>
                    <a:pt x="499" y="176"/>
                    <a:pt x="507" y="216"/>
                  </a:cubicBezTo>
                  <a:cubicBezTo>
                    <a:pt x="511" y="228"/>
                    <a:pt x="527" y="252"/>
                    <a:pt x="527" y="252"/>
                  </a:cubicBezTo>
                  <a:cubicBezTo>
                    <a:pt x="490" y="253"/>
                    <a:pt x="484" y="250"/>
                    <a:pt x="443" y="267"/>
                  </a:cubicBezTo>
                  <a:cubicBezTo>
                    <a:pt x="423" y="271"/>
                    <a:pt x="375" y="292"/>
                    <a:pt x="375" y="292"/>
                  </a:cubicBezTo>
                  <a:cubicBezTo>
                    <a:pt x="334" y="294"/>
                    <a:pt x="314" y="303"/>
                    <a:pt x="277" y="304"/>
                  </a:cubicBezTo>
                  <a:cubicBezTo>
                    <a:pt x="242" y="308"/>
                    <a:pt x="206" y="314"/>
                    <a:pt x="170" y="318"/>
                  </a:cubicBezTo>
                  <a:cubicBezTo>
                    <a:pt x="113" y="315"/>
                    <a:pt x="100" y="322"/>
                    <a:pt x="8" y="312"/>
                  </a:cubicBezTo>
                  <a:cubicBezTo>
                    <a:pt x="0" y="312"/>
                    <a:pt x="16" y="288"/>
                    <a:pt x="16" y="288"/>
                  </a:cubicBezTo>
                  <a:cubicBezTo>
                    <a:pt x="28" y="180"/>
                    <a:pt x="8" y="180"/>
                    <a:pt x="96" y="156"/>
                  </a:cubicBezTo>
                  <a:cubicBezTo>
                    <a:pt x="112" y="140"/>
                    <a:pt x="124" y="124"/>
                    <a:pt x="144" y="116"/>
                  </a:cubicBezTo>
                  <a:cubicBezTo>
                    <a:pt x="160" y="96"/>
                    <a:pt x="164" y="84"/>
                    <a:pt x="176" y="64"/>
                  </a:cubicBezTo>
                  <a:cubicBezTo>
                    <a:pt x="180" y="56"/>
                    <a:pt x="192" y="40"/>
                    <a:pt x="192" y="40"/>
                  </a:cubicBezTo>
                  <a:cubicBezTo>
                    <a:pt x="184" y="8"/>
                    <a:pt x="180" y="20"/>
                    <a:pt x="192" y="0"/>
                  </a:cubicBez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  <p:sp>
          <p:nvSpPr>
            <p:cNvPr id="27" name="Freeform 83"/>
            <p:cNvSpPr>
              <a:spLocks noChangeAspect="1"/>
            </p:cNvSpPr>
            <p:nvPr/>
          </p:nvSpPr>
          <p:spPr bwMode="auto">
            <a:xfrm>
              <a:off x="3124" y="2417"/>
              <a:ext cx="395" cy="383"/>
            </a:xfrm>
            <a:custGeom>
              <a:avLst/>
              <a:gdLst>
                <a:gd name="T0" fmla="*/ 0 w 1566"/>
                <a:gd name="T1" fmla="*/ 0 h 1516"/>
                <a:gd name="T2" fmla="*/ 0 w 1566"/>
                <a:gd name="T3" fmla="*/ 0 h 1516"/>
                <a:gd name="T4" fmla="*/ 0 w 1566"/>
                <a:gd name="T5" fmla="*/ 0 h 1516"/>
                <a:gd name="T6" fmla="*/ 0 w 1566"/>
                <a:gd name="T7" fmla="*/ 0 h 1516"/>
                <a:gd name="T8" fmla="*/ 0 w 1566"/>
                <a:gd name="T9" fmla="*/ 0 h 1516"/>
                <a:gd name="T10" fmla="*/ 0 w 1566"/>
                <a:gd name="T11" fmla="*/ 0 h 1516"/>
                <a:gd name="T12" fmla="*/ 0 w 1566"/>
                <a:gd name="T13" fmla="*/ 0 h 1516"/>
                <a:gd name="T14" fmla="*/ 0 w 1566"/>
                <a:gd name="T15" fmla="*/ 0 h 1516"/>
                <a:gd name="T16" fmla="*/ 0 w 1566"/>
                <a:gd name="T17" fmla="*/ 0 h 1516"/>
                <a:gd name="T18" fmla="*/ 0 w 1566"/>
                <a:gd name="T19" fmla="*/ 0 h 1516"/>
                <a:gd name="T20" fmla="*/ 0 w 1566"/>
                <a:gd name="T21" fmla="*/ 0 h 1516"/>
                <a:gd name="T22" fmla="*/ 0 w 1566"/>
                <a:gd name="T23" fmla="*/ 0 h 1516"/>
                <a:gd name="T24" fmla="*/ 0 w 1566"/>
                <a:gd name="T25" fmla="*/ 0 h 1516"/>
                <a:gd name="T26" fmla="*/ 0 w 1566"/>
                <a:gd name="T27" fmla="*/ 0 h 1516"/>
                <a:gd name="T28" fmla="*/ 0 w 1566"/>
                <a:gd name="T29" fmla="*/ 0 h 1516"/>
                <a:gd name="T30" fmla="*/ 0 w 1566"/>
                <a:gd name="T31" fmla="*/ 0 h 1516"/>
                <a:gd name="T32" fmla="*/ 0 w 1566"/>
                <a:gd name="T33" fmla="*/ 0 h 1516"/>
                <a:gd name="T34" fmla="*/ 0 w 1566"/>
                <a:gd name="T35" fmla="*/ 0 h 1516"/>
                <a:gd name="T36" fmla="*/ 0 w 1566"/>
                <a:gd name="T37" fmla="*/ 0 h 1516"/>
                <a:gd name="T38" fmla="*/ 0 w 1566"/>
                <a:gd name="T39" fmla="*/ 0 h 1516"/>
                <a:gd name="T40" fmla="*/ 0 w 1566"/>
                <a:gd name="T41" fmla="*/ 0 h 1516"/>
                <a:gd name="T42" fmla="*/ 0 w 1566"/>
                <a:gd name="T43" fmla="*/ 0 h 1516"/>
                <a:gd name="T44" fmla="*/ 0 w 1566"/>
                <a:gd name="T45" fmla="*/ 0 h 1516"/>
                <a:gd name="T46" fmla="*/ 0 w 1566"/>
                <a:gd name="T47" fmla="*/ 0 h 1516"/>
                <a:gd name="T48" fmla="*/ 0 w 1566"/>
                <a:gd name="T49" fmla="*/ 0 h 1516"/>
                <a:gd name="T50" fmla="*/ 0 w 1566"/>
                <a:gd name="T51" fmla="*/ 0 h 1516"/>
                <a:gd name="T52" fmla="*/ 0 w 1566"/>
                <a:gd name="T53" fmla="*/ 0 h 1516"/>
                <a:gd name="T54" fmla="*/ 0 w 1566"/>
                <a:gd name="T55" fmla="*/ 0 h 1516"/>
                <a:gd name="T56" fmla="*/ 0 w 1566"/>
                <a:gd name="T57" fmla="*/ 0 h 1516"/>
                <a:gd name="T58" fmla="*/ 0 w 1566"/>
                <a:gd name="T59" fmla="*/ 0 h 1516"/>
                <a:gd name="T60" fmla="*/ 0 w 1566"/>
                <a:gd name="T61" fmla="*/ 0 h 1516"/>
                <a:gd name="T62" fmla="*/ 0 w 1566"/>
                <a:gd name="T63" fmla="*/ 0 h 1516"/>
                <a:gd name="T64" fmla="*/ 0 w 1566"/>
                <a:gd name="T65" fmla="*/ 0 h 1516"/>
                <a:gd name="T66" fmla="*/ 0 w 1566"/>
                <a:gd name="T67" fmla="*/ 0 h 1516"/>
                <a:gd name="T68" fmla="*/ 0 w 1566"/>
                <a:gd name="T69" fmla="*/ 0 h 1516"/>
                <a:gd name="T70" fmla="*/ 0 w 1566"/>
                <a:gd name="T71" fmla="*/ 0 h 1516"/>
                <a:gd name="T72" fmla="*/ 0 w 1566"/>
                <a:gd name="T73" fmla="*/ 0 h 1516"/>
                <a:gd name="T74" fmla="*/ 0 w 1566"/>
                <a:gd name="T75" fmla="*/ 0 h 1516"/>
                <a:gd name="T76" fmla="*/ 0 w 1566"/>
                <a:gd name="T77" fmla="*/ 0 h 1516"/>
                <a:gd name="T78" fmla="*/ 0 w 1566"/>
                <a:gd name="T79" fmla="*/ 0 h 1516"/>
                <a:gd name="T80" fmla="*/ 0 w 1566"/>
                <a:gd name="T81" fmla="*/ 0 h 1516"/>
                <a:gd name="T82" fmla="*/ 0 w 1566"/>
                <a:gd name="T83" fmla="*/ 0 h 1516"/>
                <a:gd name="T84" fmla="*/ 0 w 1566"/>
                <a:gd name="T85" fmla="*/ 0 h 1516"/>
                <a:gd name="T86" fmla="*/ 0 w 1566"/>
                <a:gd name="T87" fmla="*/ 0 h 1516"/>
                <a:gd name="T88" fmla="*/ 0 w 1566"/>
                <a:gd name="T89" fmla="*/ 0 h 1516"/>
                <a:gd name="T90" fmla="*/ 0 w 1566"/>
                <a:gd name="T91" fmla="*/ 0 h 151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1566"/>
                <a:gd name="T139" fmla="*/ 0 h 1516"/>
                <a:gd name="T140" fmla="*/ 1566 w 1566"/>
                <a:gd name="T141" fmla="*/ 1516 h 151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1566" h="1516">
                  <a:moveTo>
                    <a:pt x="606" y="16"/>
                  </a:moveTo>
                  <a:cubicBezTo>
                    <a:pt x="598" y="44"/>
                    <a:pt x="602" y="36"/>
                    <a:pt x="586" y="52"/>
                  </a:cubicBezTo>
                  <a:cubicBezTo>
                    <a:pt x="574" y="68"/>
                    <a:pt x="546" y="104"/>
                    <a:pt x="542" y="120"/>
                  </a:cubicBezTo>
                  <a:cubicBezTo>
                    <a:pt x="554" y="136"/>
                    <a:pt x="554" y="140"/>
                    <a:pt x="550" y="160"/>
                  </a:cubicBezTo>
                  <a:cubicBezTo>
                    <a:pt x="538" y="160"/>
                    <a:pt x="486" y="152"/>
                    <a:pt x="466" y="160"/>
                  </a:cubicBezTo>
                  <a:cubicBezTo>
                    <a:pt x="450" y="168"/>
                    <a:pt x="442" y="188"/>
                    <a:pt x="422" y="196"/>
                  </a:cubicBezTo>
                  <a:cubicBezTo>
                    <a:pt x="418" y="208"/>
                    <a:pt x="410" y="232"/>
                    <a:pt x="410" y="232"/>
                  </a:cubicBezTo>
                  <a:cubicBezTo>
                    <a:pt x="406" y="264"/>
                    <a:pt x="402" y="268"/>
                    <a:pt x="394" y="292"/>
                  </a:cubicBezTo>
                  <a:cubicBezTo>
                    <a:pt x="398" y="300"/>
                    <a:pt x="398" y="312"/>
                    <a:pt x="406" y="316"/>
                  </a:cubicBezTo>
                  <a:cubicBezTo>
                    <a:pt x="414" y="320"/>
                    <a:pt x="430" y="324"/>
                    <a:pt x="430" y="324"/>
                  </a:cubicBezTo>
                  <a:cubicBezTo>
                    <a:pt x="466" y="360"/>
                    <a:pt x="430" y="360"/>
                    <a:pt x="406" y="376"/>
                  </a:cubicBezTo>
                  <a:cubicBezTo>
                    <a:pt x="390" y="388"/>
                    <a:pt x="398" y="384"/>
                    <a:pt x="382" y="388"/>
                  </a:cubicBezTo>
                  <a:cubicBezTo>
                    <a:pt x="362" y="420"/>
                    <a:pt x="350" y="456"/>
                    <a:pt x="322" y="484"/>
                  </a:cubicBezTo>
                  <a:cubicBezTo>
                    <a:pt x="318" y="496"/>
                    <a:pt x="326" y="520"/>
                    <a:pt x="326" y="520"/>
                  </a:cubicBezTo>
                  <a:cubicBezTo>
                    <a:pt x="314" y="552"/>
                    <a:pt x="318" y="536"/>
                    <a:pt x="314" y="564"/>
                  </a:cubicBezTo>
                  <a:cubicBezTo>
                    <a:pt x="314" y="584"/>
                    <a:pt x="314" y="608"/>
                    <a:pt x="318" y="628"/>
                  </a:cubicBezTo>
                  <a:cubicBezTo>
                    <a:pt x="322" y="648"/>
                    <a:pt x="354" y="660"/>
                    <a:pt x="362" y="684"/>
                  </a:cubicBezTo>
                  <a:cubicBezTo>
                    <a:pt x="358" y="696"/>
                    <a:pt x="362" y="700"/>
                    <a:pt x="346" y="700"/>
                  </a:cubicBezTo>
                  <a:cubicBezTo>
                    <a:pt x="334" y="700"/>
                    <a:pt x="310" y="680"/>
                    <a:pt x="310" y="680"/>
                  </a:cubicBezTo>
                  <a:cubicBezTo>
                    <a:pt x="314" y="660"/>
                    <a:pt x="310" y="656"/>
                    <a:pt x="290" y="664"/>
                  </a:cubicBezTo>
                  <a:cubicBezTo>
                    <a:pt x="274" y="680"/>
                    <a:pt x="270" y="696"/>
                    <a:pt x="254" y="708"/>
                  </a:cubicBezTo>
                  <a:cubicBezTo>
                    <a:pt x="214" y="704"/>
                    <a:pt x="230" y="708"/>
                    <a:pt x="206" y="732"/>
                  </a:cubicBezTo>
                  <a:cubicBezTo>
                    <a:pt x="206" y="736"/>
                    <a:pt x="202" y="740"/>
                    <a:pt x="202" y="744"/>
                  </a:cubicBezTo>
                  <a:cubicBezTo>
                    <a:pt x="202" y="748"/>
                    <a:pt x="214" y="748"/>
                    <a:pt x="214" y="752"/>
                  </a:cubicBezTo>
                  <a:cubicBezTo>
                    <a:pt x="218" y="772"/>
                    <a:pt x="190" y="772"/>
                    <a:pt x="178" y="776"/>
                  </a:cubicBezTo>
                  <a:cubicBezTo>
                    <a:pt x="174" y="796"/>
                    <a:pt x="150" y="804"/>
                    <a:pt x="130" y="808"/>
                  </a:cubicBezTo>
                  <a:cubicBezTo>
                    <a:pt x="122" y="804"/>
                    <a:pt x="118" y="792"/>
                    <a:pt x="110" y="792"/>
                  </a:cubicBezTo>
                  <a:cubicBezTo>
                    <a:pt x="98" y="792"/>
                    <a:pt x="70" y="808"/>
                    <a:pt x="62" y="816"/>
                  </a:cubicBezTo>
                  <a:cubicBezTo>
                    <a:pt x="42" y="828"/>
                    <a:pt x="24" y="820"/>
                    <a:pt x="0" y="820"/>
                  </a:cubicBezTo>
                  <a:cubicBezTo>
                    <a:pt x="22" y="849"/>
                    <a:pt x="2" y="860"/>
                    <a:pt x="14" y="888"/>
                  </a:cubicBezTo>
                  <a:cubicBezTo>
                    <a:pt x="10" y="903"/>
                    <a:pt x="67" y="1014"/>
                    <a:pt x="82" y="1040"/>
                  </a:cubicBezTo>
                  <a:cubicBezTo>
                    <a:pt x="90" y="1052"/>
                    <a:pt x="101" y="1072"/>
                    <a:pt x="105" y="1084"/>
                  </a:cubicBezTo>
                  <a:cubicBezTo>
                    <a:pt x="109" y="1096"/>
                    <a:pt x="124" y="1113"/>
                    <a:pt x="126" y="1120"/>
                  </a:cubicBezTo>
                  <a:cubicBezTo>
                    <a:pt x="122" y="1156"/>
                    <a:pt x="130" y="1164"/>
                    <a:pt x="106" y="1188"/>
                  </a:cubicBezTo>
                  <a:cubicBezTo>
                    <a:pt x="75" y="1201"/>
                    <a:pt x="65" y="1216"/>
                    <a:pt x="52" y="1237"/>
                  </a:cubicBezTo>
                  <a:cubicBezTo>
                    <a:pt x="39" y="1250"/>
                    <a:pt x="31" y="1254"/>
                    <a:pt x="27" y="1266"/>
                  </a:cubicBezTo>
                  <a:cubicBezTo>
                    <a:pt x="23" y="1278"/>
                    <a:pt x="31" y="1300"/>
                    <a:pt x="30" y="1312"/>
                  </a:cubicBezTo>
                  <a:cubicBezTo>
                    <a:pt x="36" y="1342"/>
                    <a:pt x="51" y="1328"/>
                    <a:pt x="91" y="1336"/>
                  </a:cubicBezTo>
                  <a:cubicBezTo>
                    <a:pt x="106" y="1347"/>
                    <a:pt x="118" y="1348"/>
                    <a:pt x="126" y="1368"/>
                  </a:cubicBezTo>
                  <a:cubicBezTo>
                    <a:pt x="122" y="1416"/>
                    <a:pt x="114" y="1476"/>
                    <a:pt x="142" y="1516"/>
                  </a:cubicBezTo>
                  <a:cubicBezTo>
                    <a:pt x="158" y="1512"/>
                    <a:pt x="142" y="1492"/>
                    <a:pt x="163" y="1485"/>
                  </a:cubicBezTo>
                  <a:cubicBezTo>
                    <a:pt x="171" y="1465"/>
                    <a:pt x="185" y="1466"/>
                    <a:pt x="205" y="1458"/>
                  </a:cubicBezTo>
                  <a:cubicBezTo>
                    <a:pt x="209" y="1454"/>
                    <a:pt x="215" y="1450"/>
                    <a:pt x="219" y="1446"/>
                  </a:cubicBezTo>
                  <a:cubicBezTo>
                    <a:pt x="223" y="1442"/>
                    <a:pt x="228" y="1430"/>
                    <a:pt x="232" y="1426"/>
                  </a:cubicBezTo>
                  <a:cubicBezTo>
                    <a:pt x="264" y="1416"/>
                    <a:pt x="247" y="1392"/>
                    <a:pt x="290" y="1368"/>
                  </a:cubicBezTo>
                  <a:cubicBezTo>
                    <a:pt x="310" y="1356"/>
                    <a:pt x="357" y="1339"/>
                    <a:pt x="357" y="1339"/>
                  </a:cubicBezTo>
                  <a:cubicBezTo>
                    <a:pt x="379" y="1339"/>
                    <a:pt x="394" y="1332"/>
                    <a:pt x="418" y="1336"/>
                  </a:cubicBezTo>
                  <a:cubicBezTo>
                    <a:pt x="454" y="1335"/>
                    <a:pt x="472" y="1335"/>
                    <a:pt x="498" y="1309"/>
                  </a:cubicBezTo>
                  <a:cubicBezTo>
                    <a:pt x="535" y="1312"/>
                    <a:pt x="582" y="1305"/>
                    <a:pt x="616" y="1308"/>
                  </a:cubicBezTo>
                  <a:cubicBezTo>
                    <a:pt x="630" y="1317"/>
                    <a:pt x="678" y="1318"/>
                    <a:pt x="700" y="1320"/>
                  </a:cubicBezTo>
                  <a:cubicBezTo>
                    <a:pt x="721" y="1333"/>
                    <a:pt x="729" y="1317"/>
                    <a:pt x="750" y="1296"/>
                  </a:cubicBezTo>
                  <a:cubicBezTo>
                    <a:pt x="750" y="1318"/>
                    <a:pt x="769" y="1350"/>
                    <a:pt x="777" y="1350"/>
                  </a:cubicBezTo>
                  <a:cubicBezTo>
                    <a:pt x="789" y="1344"/>
                    <a:pt x="783" y="1329"/>
                    <a:pt x="855" y="1330"/>
                  </a:cubicBezTo>
                  <a:cubicBezTo>
                    <a:pt x="863" y="1334"/>
                    <a:pt x="859" y="1365"/>
                    <a:pt x="867" y="1365"/>
                  </a:cubicBezTo>
                  <a:cubicBezTo>
                    <a:pt x="875" y="1361"/>
                    <a:pt x="898" y="1344"/>
                    <a:pt x="898" y="1344"/>
                  </a:cubicBezTo>
                  <a:cubicBezTo>
                    <a:pt x="902" y="1336"/>
                    <a:pt x="914" y="1316"/>
                    <a:pt x="922" y="1312"/>
                  </a:cubicBezTo>
                  <a:cubicBezTo>
                    <a:pt x="924" y="1291"/>
                    <a:pt x="964" y="1305"/>
                    <a:pt x="964" y="1305"/>
                  </a:cubicBezTo>
                  <a:cubicBezTo>
                    <a:pt x="976" y="1309"/>
                    <a:pt x="994" y="1304"/>
                    <a:pt x="1006" y="1308"/>
                  </a:cubicBezTo>
                  <a:cubicBezTo>
                    <a:pt x="1012" y="1335"/>
                    <a:pt x="1013" y="1346"/>
                    <a:pt x="1041" y="1350"/>
                  </a:cubicBezTo>
                  <a:cubicBezTo>
                    <a:pt x="1047" y="1323"/>
                    <a:pt x="1066" y="1293"/>
                    <a:pt x="1089" y="1266"/>
                  </a:cubicBezTo>
                  <a:cubicBezTo>
                    <a:pt x="1108" y="1264"/>
                    <a:pt x="1122" y="1252"/>
                    <a:pt x="1132" y="1261"/>
                  </a:cubicBezTo>
                  <a:cubicBezTo>
                    <a:pt x="1144" y="1271"/>
                    <a:pt x="1125" y="1305"/>
                    <a:pt x="1162" y="1327"/>
                  </a:cubicBezTo>
                  <a:cubicBezTo>
                    <a:pt x="1206" y="1315"/>
                    <a:pt x="1159" y="1267"/>
                    <a:pt x="1222" y="1275"/>
                  </a:cubicBezTo>
                  <a:cubicBezTo>
                    <a:pt x="1236" y="1275"/>
                    <a:pt x="1254" y="1241"/>
                    <a:pt x="1270" y="1236"/>
                  </a:cubicBezTo>
                  <a:cubicBezTo>
                    <a:pt x="1309" y="1252"/>
                    <a:pt x="1327" y="1269"/>
                    <a:pt x="1334" y="1284"/>
                  </a:cubicBezTo>
                  <a:cubicBezTo>
                    <a:pt x="1354" y="1288"/>
                    <a:pt x="1389" y="1296"/>
                    <a:pt x="1386" y="1261"/>
                  </a:cubicBezTo>
                  <a:cubicBezTo>
                    <a:pt x="1387" y="1254"/>
                    <a:pt x="1395" y="1246"/>
                    <a:pt x="1392" y="1237"/>
                  </a:cubicBezTo>
                  <a:cubicBezTo>
                    <a:pt x="1389" y="1228"/>
                    <a:pt x="1378" y="1236"/>
                    <a:pt x="1369" y="1204"/>
                  </a:cubicBezTo>
                  <a:cubicBezTo>
                    <a:pt x="1357" y="1140"/>
                    <a:pt x="1370" y="1072"/>
                    <a:pt x="1426" y="1036"/>
                  </a:cubicBezTo>
                  <a:cubicBezTo>
                    <a:pt x="1434" y="1016"/>
                    <a:pt x="1450" y="1017"/>
                    <a:pt x="1447" y="1000"/>
                  </a:cubicBezTo>
                  <a:cubicBezTo>
                    <a:pt x="1491" y="999"/>
                    <a:pt x="1507" y="982"/>
                    <a:pt x="1537" y="975"/>
                  </a:cubicBezTo>
                  <a:cubicBezTo>
                    <a:pt x="1533" y="955"/>
                    <a:pt x="1518" y="940"/>
                    <a:pt x="1498" y="928"/>
                  </a:cubicBezTo>
                  <a:cubicBezTo>
                    <a:pt x="1482" y="904"/>
                    <a:pt x="1466" y="884"/>
                    <a:pt x="1438" y="876"/>
                  </a:cubicBezTo>
                  <a:cubicBezTo>
                    <a:pt x="1418" y="848"/>
                    <a:pt x="1386" y="772"/>
                    <a:pt x="1374" y="748"/>
                  </a:cubicBezTo>
                  <a:cubicBezTo>
                    <a:pt x="1370" y="740"/>
                    <a:pt x="1358" y="724"/>
                    <a:pt x="1358" y="724"/>
                  </a:cubicBezTo>
                  <a:cubicBezTo>
                    <a:pt x="1378" y="684"/>
                    <a:pt x="1462" y="680"/>
                    <a:pt x="1498" y="680"/>
                  </a:cubicBezTo>
                  <a:cubicBezTo>
                    <a:pt x="1514" y="676"/>
                    <a:pt x="1518" y="664"/>
                    <a:pt x="1534" y="660"/>
                  </a:cubicBezTo>
                  <a:cubicBezTo>
                    <a:pt x="1542" y="652"/>
                    <a:pt x="1554" y="648"/>
                    <a:pt x="1558" y="640"/>
                  </a:cubicBezTo>
                  <a:cubicBezTo>
                    <a:pt x="1562" y="632"/>
                    <a:pt x="1566" y="616"/>
                    <a:pt x="1566" y="616"/>
                  </a:cubicBezTo>
                  <a:cubicBezTo>
                    <a:pt x="1558" y="540"/>
                    <a:pt x="1566" y="584"/>
                    <a:pt x="1522" y="556"/>
                  </a:cubicBezTo>
                  <a:cubicBezTo>
                    <a:pt x="1490" y="512"/>
                    <a:pt x="1426" y="512"/>
                    <a:pt x="1378" y="508"/>
                  </a:cubicBezTo>
                  <a:cubicBezTo>
                    <a:pt x="1358" y="480"/>
                    <a:pt x="1354" y="440"/>
                    <a:pt x="1318" y="432"/>
                  </a:cubicBezTo>
                  <a:cubicBezTo>
                    <a:pt x="1274" y="436"/>
                    <a:pt x="1282" y="436"/>
                    <a:pt x="1250" y="416"/>
                  </a:cubicBezTo>
                  <a:cubicBezTo>
                    <a:pt x="1246" y="392"/>
                    <a:pt x="1234" y="368"/>
                    <a:pt x="1210" y="360"/>
                  </a:cubicBezTo>
                  <a:cubicBezTo>
                    <a:pt x="1202" y="332"/>
                    <a:pt x="1154" y="320"/>
                    <a:pt x="1134" y="292"/>
                  </a:cubicBezTo>
                  <a:cubicBezTo>
                    <a:pt x="1118" y="236"/>
                    <a:pt x="1118" y="212"/>
                    <a:pt x="1086" y="168"/>
                  </a:cubicBezTo>
                  <a:cubicBezTo>
                    <a:pt x="1082" y="124"/>
                    <a:pt x="1078" y="48"/>
                    <a:pt x="1046" y="16"/>
                  </a:cubicBezTo>
                  <a:cubicBezTo>
                    <a:pt x="978" y="20"/>
                    <a:pt x="974" y="48"/>
                    <a:pt x="926" y="64"/>
                  </a:cubicBezTo>
                  <a:cubicBezTo>
                    <a:pt x="914" y="80"/>
                    <a:pt x="906" y="80"/>
                    <a:pt x="890" y="84"/>
                  </a:cubicBezTo>
                  <a:cubicBezTo>
                    <a:pt x="878" y="80"/>
                    <a:pt x="854" y="64"/>
                    <a:pt x="854" y="64"/>
                  </a:cubicBezTo>
                  <a:cubicBezTo>
                    <a:pt x="818" y="8"/>
                    <a:pt x="746" y="32"/>
                    <a:pt x="682" y="28"/>
                  </a:cubicBezTo>
                  <a:cubicBezTo>
                    <a:pt x="666" y="24"/>
                    <a:pt x="614" y="0"/>
                    <a:pt x="606" y="16"/>
                  </a:cubicBez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  <p:sp>
          <p:nvSpPr>
            <p:cNvPr id="28" name="Freeform 84"/>
            <p:cNvSpPr>
              <a:spLocks noChangeAspect="1"/>
            </p:cNvSpPr>
            <p:nvPr/>
          </p:nvSpPr>
          <p:spPr bwMode="auto">
            <a:xfrm>
              <a:off x="3135" y="2619"/>
              <a:ext cx="840" cy="578"/>
            </a:xfrm>
            <a:custGeom>
              <a:avLst/>
              <a:gdLst>
                <a:gd name="T0" fmla="*/ 0 w 3327"/>
                <a:gd name="T1" fmla="*/ 0 h 2288"/>
                <a:gd name="T2" fmla="*/ 0 w 3327"/>
                <a:gd name="T3" fmla="*/ 0 h 2288"/>
                <a:gd name="T4" fmla="*/ 0 w 3327"/>
                <a:gd name="T5" fmla="*/ 0 h 2288"/>
                <a:gd name="T6" fmla="*/ 0 w 3327"/>
                <a:gd name="T7" fmla="*/ 0 h 2288"/>
                <a:gd name="T8" fmla="*/ 0 w 3327"/>
                <a:gd name="T9" fmla="*/ 0 h 2288"/>
                <a:gd name="T10" fmla="*/ 0 w 3327"/>
                <a:gd name="T11" fmla="*/ 0 h 2288"/>
                <a:gd name="T12" fmla="*/ 0 w 3327"/>
                <a:gd name="T13" fmla="*/ 0 h 2288"/>
                <a:gd name="T14" fmla="*/ 0 w 3327"/>
                <a:gd name="T15" fmla="*/ 0 h 2288"/>
                <a:gd name="T16" fmla="*/ 0 w 3327"/>
                <a:gd name="T17" fmla="*/ 0 h 2288"/>
                <a:gd name="T18" fmla="*/ 0 w 3327"/>
                <a:gd name="T19" fmla="*/ 0 h 2288"/>
                <a:gd name="T20" fmla="*/ 0 w 3327"/>
                <a:gd name="T21" fmla="*/ 0 h 2288"/>
                <a:gd name="T22" fmla="*/ 0 w 3327"/>
                <a:gd name="T23" fmla="*/ 0 h 2288"/>
                <a:gd name="T24" fmla="*/ 0 w 3327"/>
                <a:gd name="T25" fmla="*/ 0 h 2288"/>
                <a:gd name="T26" fmla="*/ 0 w 3327"/>
                <a:gd name="T27" fmla="*/ 0 h 2288"/>
                <a:gd name="T28" fmla="*/ 0 w 3327"/>
                <a:gd name="T29" fmla="*/ 0 h 2288"/>
                <a:gd name="T30" fmla="*/ 0 w 3327"/>
                <a:gd name="T31" fmla="*/ 0 h 2288"/>
                <a:gd name="T32" fmla="*/ 0 w 3327"/>
                <a:gd name="T33" fmla="*/ 0 h 2288"/>
                <a:gd name="T34" fmla="*/ 0 w 3327"/>
                <a:gd name="T35" fmla="*/ 0 h 2288"/>
                <a:gd name="T36" fmla="*/ 0 w 3327"/>
                <a:gd name="T37" fmla="*/ 0 h 2288"/>
                <a:gd name="T38" fmla="*/ 0 w 3327"/>
                <a:gd name="T39" fmla="*/ 0 h 2288"/>
                <a:gd name="T40" fmla="*/ 0 w 3327"/>
                <a:gd name="T41" fmla="*/ 0 h 2288"/>
                <a:gd name="T42" fmla="*/ 0 w 3327"/>
                <a:gd name="T43" fmla="*/ 0 h 2288"/>
                <a:gd name="T44" fmla="*/ 0 w 3327"/>
                <a:gd name="T45" fmla="*/ 0 h 2288"/>
                <a:gd name="T46" fmla="*/ 0 w 3327"/>
                <a:gd name="T47" fmla="*/ 0 h 2288"/>
                <a:gd name="T48" fmla="*/ 0 w 3327"/>
                <a:gd name="T49" fmla="*/ 0 h 2288"/>
                <a:gd name="T50" fmla="*/ 0 w 3327"/>
                <a:gd name="T51" fmla="*/ 0 h 2288"/>
                <a:gd name="T52" fmla="*/ 0 w 3327"/>
                <a:gd name="T53" fmla="*/ 0 h 2288"/>
                <a:gd name="T54" fmla="*/ 0 w 3327"/>
                <a:gd name="T55" fmla="*/ 0 h 2288"/>
                <a:gd name="T56" fmla="*/ 0 w 3327"/>
                <a:gd name="T57" fmla="*/ 0 h 2288"/>
                <a:gd name="T58" fmla="*/ 0 w 3327"/>
                <a:gd name="T59" fmla="*/ 0 h 2288"/>
                <a:gd name="T60" fmla="*/ 0 w 3327"/>
                <a:gd name="T61" fmla="*/ 0 h 2288"/>
                <a:gd name="T62" fmla="*/ 0 w 3327"/>
                <a:gd name="T63" fmla="*/ 0 h 2288"/>
                <a:gd name="T64" fmla="*/ 0 w 3327"/>
                <a:gd name="T65" fmla="*/ 0 h 2288"/>
                <a:gd name="T66" fmla="*/ 0 w 3327"/>
                <a:gd name="T67" fmla="*/ 0 h 2288"/>
                <a:gd name="T68" fmla="*/ 0 w 3327"/>
                <a:gd name="T69" fmla="*/ 0 h 2288"/>
                <a:gd name="T70" fmla="*/ 0 w 3327"/>
                <a:gd name="T71" fmla="*/ 0 h 2288"/>
                <a:gd name="T72" fmla="*/ 0 w 3327"/>
                <a:gd name="T73" fmla="*/ 0 h 2288"/>
                <a:gd name="T74" fmla="*/ 0 w 3327"/>
                <a:gd name="T75" fmla="*/ 0 h 2288"/>
                <a:gd name="T76" fmla="*/ 0 w 3327"/>
                <a:gd name="T77" fmla="*/ 0 h 2288"/>
                <a:gd name="T78" fmla="*/ 0 w 3327"/>
                <a:gd name="T79" fmla="*/ 0 h 2288"/>
                <a:gd name="T80" fmla="*/ 0 w 3327"/>
                <a:gd name="T81" fmla="*/ 0 h 2288"/>
                <a:gd name="T82" fmla="*/ 0 w 3327"/>
                <a:gd name="T83" fmla="*/ 0 h 2288"/>
                <a:gd name="T84" fmla="*/ 0 w 3327"/>
                <a:gd name="T85" fmla="*/ 0 h 2288"/>
                <a:gd name="T86" fmla="*/ 0 w 3327"/>
                <a:gd name="T87" fmla="*/ 0 h 2288"/>
                <a:gd name="T88" fmla="*/ 0 w 3327"/>
                <a:gd name="T89" fmla="*/ 0 h 2288"/>
                <a:gd name="T90" fmla="*/ 0 w 3327"/>
                <a:gd name="T91" fmla="*/ 0 h 2288"/>
                <a:gd name="T92" fmla="*/ 0 w 3327"/>
                <a:gd name="T93" fmla="*/ 0 h 2288"/>
                <a:gd name="T94" fmla="*/ 0 w 3327"/>
                <a:gd name="T95" fmla="*/ 0 h 2288"/>
                <a:gd name="T96" fmla="*/ 0 w 3327"/>
                <a:gd name="T97" fmla="*/ 0 h 2288"/>
                <a:gd name="T98" fmla="*/ 0 w 3327"/>
                <a:gd name="T99" fmla="*/ 0 h 2288"/>
                <a:gd name="T100" fmla="*/ 0 w 3327"/>
                <a:gd name="T101" fmla="*/ 0 h 2288"/>
                <a:gd name="T102" fmla="*/ 0 w 3327"/>
                <a:gd name="T103" fmla="*/ 0 h 2288"/>
                <a:gd name="T104" fmla="*/ 0 w 3327"/>
                <a:gd name="T105" fmla="*/ 0 h 2288"/>
                <a:gd name="T106" fmla="*/ 0 w 3327"/>
                <a:gd name="T107" fmla="*/ 0 h 2288"/>
                <a:gd name="T108" fmla="*/ 0 w 3327"/>
                <a:gd name="T109" fmla="*/ 0 h 228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3327"/>
                <a:gd name="T166" fmla="*/ 0 h 2288"/>
                <a:gd name="T167" fmla="*/ 3327 w 3327"/>
                <a:gd name="T168" fmla="*/ 2288 h 228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3327" h="2288">
                  <a:moveTo>
                    <a:pt x="1407" y="204"/>
                  </a:moveTo>
                  <a:cubicBezTo>
                    <a:pt x="1403" y="204"/>
                    <a:pt x="1407" y="212"/>
                    <a:pt x="1403" y="216"/>
                  </a:cubicBezTo>
                  <a:cubicBezTo>
                    <a:pt x="1391" y="236"/>
                    <a:pt x="1379" y="248"/>
                    <a:pt x="1359" y="260"/>
                  </a:cubicBezTo>
                  <a:cubicBezTo>
                    <a:pt x="1351" y="272"/>
                    <a:pt x="1347" y="284"/>
                    <a:pt x="1335" y="296"/>
                  </a:cubicBezTo>
                  <a:cubicBezTo>
                    <a:pt x="1331" y="308"/>
                    <a:pt x="1323" y="332"/>
                    <a:pt x="1323" y="332"/>
                  </a:cubicBezTo>
                  <a:cubicBezTo>
                    <a:pt x="1323" y="364"/>
                    <a:pt x="1315" y="416"/>
                    <a:pt x="1347" y="440"/>
                  </a:cubicBezTo>
                  <a:cubicBezTo>
                    <a:pt x="1339" y="492"/>
                    <a:pt x="1339" y="500"/>
                    <a:pt x="1291" y="484"/>
                  </a:cubicBezTo>
                  <a:cubicBezTo>
                    <a:pt x="1279" y="468"/>
                    <a:pt x="1251" y="448"/>
                    <a:pt x="1231" y="440"/>
                  </a:cubicBezTo>
                  <a:cubicBezTo>
                    <a:pt x="1203" y="444"/>
                    <a:pt x="1215" y="452"/>
                    <a:pt x="1195" y="464"/>
                  </a:cubicBezTo>
                  <a:cubicBezTo>
                    <a:pt x="1187" y="484"/>
                    <a:pt x="1183" y="480"/>
                    <a:pt x="1163" y="476"/>
                  </a:cubicBezTo>
                  <a:cubicBezTo>
                    <a:pt x="1131" y="484"/>
                    <a:pt x="1151" y="516"/>
                    <a:pt x="1119" y="528"/>
                  </a:cubicBezTo>
                  <a:cubicBezTo>
                    <a:pt x="1087" y="516"/>
                    <a:pt x="1095" y="492"/>
                    <a:pt x="1087" y="464"/>
                  </a:cubicBezTo>
                  <a:cubicBezTo>
                    <a:pt x="1027" y="468"/>
                    <a:pt x="1055" y="464"/>
                    <a:pt x="1027" y="492"/>
                  </a:cubicBezTo>
                  <a:cubicBezTo>
                    <a:pt x="1023" y="508"/>
                    <a:pt x="1011" y="516"/>
                    <a:pt x="1003" y="528"/>
                  </a:cubicBezTo>
                  <a:cubicBezTo>
                    <a:pt x="999" y="552"/>
                    <a:pt x="995" y="556"/>
                    <a:pt x="975" y="548"/>
                  </a:cubicBezTo>
                  <a:cubicBezTo>
                    <a:pt x="959" y="504"/>
                    <a:pt x="975" y="512"/>
                    <a:pt x="923" y="508"/>
                  </a:cubicBezTo>
                  <a:cubicBezTo>
                    <a:pt x="907" y="504"/>
                    <a:pt x="899" y="500"/>
                    <a:pt x="883" y="504"/>
                  </a:cubicBezTo>
                  <a:cubicBezTo>
                    <a:pt x="871" y="540"/>
                    <a:pt x="847" y="548"/>
                    <a:pt x="823" y="572"/>
                  </a:cubicBezTo>
                  <a:cubicBezTo>
                    <a:pt x="811" y="532"/>
                    <a:pt x="823" y="532"/>
                    <a:pt x="771" y="536"/>
                  </a:cubicBezTo>
                  <a:cubicBezTo>
                    <a:pt x="755" y="540"/>
                    <a:pt x="747" y="548"/>
                    <a:pt x="731" y="552"/>
                  </a:cubicBezTo>
                  <a:cubicBezTo>
                    <a:pt x="711" y="524"/>
                    <a:pt x="714" y="529"/>
                    <a:pt x="710" y="501"/>
                  </a:cubicBezTo>
                  <a:cubicBezTo>
                    <a:pt x="694" y="505"/>
                    <a:pt x="695" y="524"/>
                    <a:pt x="675" y="528"/>
                  </a:cubicBezTo>
                  <a:cubicBezTo>
                    <a:pt x="575" y="516"/>
                    <a:pt x="611" y="528"/>
                    <a:pt x="567" y="512"/>
                  </a:cubicBezTo>
                  <a:cubicBezTo>
                    <a:pt x="527" y="516"/>
                    <a:pt x="491" y="512"/>
                    <a:pt x="451" y="516"/>
                  </a:cubicBezTo>
                  <a:cubicBezTo>
                    <a:pt x="415" y="552"/>
                    <a:pt x="359" y="540"/>
                    <a:pt x="315" y="540"/>
                  </a:cubicBezTo>
                  <a:cubicBezTo>
                    <a:pt x="291" y="552"/>
                    <a:pt x="263" y="568"/>
                    <a:pt x="235" y="576"/>
                  </a:cubicBezTo>
                  <a:cubicBezTo>
                    <a:pt x="219" y="592"/>
                    <a:pt x="211" y="616"/>
                    <a:pt x="187" y="632"/>
                  </a:cubicBezTo>
                  <a:cubicBezTo>
                    <a:pt x="167" y="660"/>
                    <a:pt x="179" y="652"/>
                    <a:pt x="159" y="660"/>
                  </a:cubicBezTo>
                  <a:cubicBezTo>
                    <a:pt x="151" y="672"/>
                    <a:pt x="115" y="684"/>
                    <a:pt x="115" y="684"/>
                  </a:cubicBezTo>
                  <a:cubicBezTo>
                    <a:pt x="110" y="707"/>
                    <a:pt x="107" y="714"/>
                    <a:pt x="98" y="723"/>
                  </a:cubicBezTo>
                  <a:cubicBezTo>
                    <a:pt x="108" y="740"/>
                    <a:pt x="111" y="764"/>
                    <a:pt x="114" y="778"/>
                  </a:cubicBezTo>
                  <a:cubicBezTo>
                    <a:pt x="123" y="793"/>
                    <a:pt x="148" y="796"/>
                    <a:pt x="161" y="810"/>
                  </a:cubicBezTo>
                  <a:cubicBezTo>
                    <a:pt x="169" y="818"/>
                    <a:pt x="177" y="837"/>
                    <a:pt x="183" y="849"/>
                  </a:cubicBezTo>
                  <a:cubicBezTo>
                    <a:pt x="209" y="851"/>
                    <a:pt x="221" y="864"/>
                    <a:pt x="221" y="872"/>
                  </a:cubicBezTo>
                  <a:cubicBezTo>
                    <a:pt x="228" y="908"/>
                    <a:pt x="236" y="933"/>
                    <a:pt x="235" y="956"/>
                  </a:cubicBezTo>
                  <a:cubicBezTo>
                    <a:pt x="235" y="964"/>
                    <a:pt x="239" y="1004"/>
                    <a:pt x="231" y="1012"/>
                  </a:cubicBezTo>
                  <a:cubicBezTo>
                    <a:pt x="215" y="1038"/>
                    <a:pt x="161" y="1092"/>
                    <a:pt x="139" y="1116"/>
                  </a:cubicBezTo>
                  <a:cubicBezTo>
                    <a:pt x="135" y="1132"/>
                    <a:pt x="105" y="1139"/>
                    <a:pt x="99" y="1156"/>
                  </a:cubicBezTo>
                  <a:cubicBezTo>
                    <a:pt x="87" y="1178"/>
                    <a:pt x="87" y="1228"/>
                    <a:pt x="77" y="1253"/>
                  </a:cubicBezTo>
                  <a:cubicBezTo>
                    <a:pt x="67" y="1278"/>
                    <a:pt x="44" y="1290"/>
                    <a:pt x="39" y="1304"/>
                  </a:cubicBezTo>
                  <a:cubicBezTo>
                    <a:pt x="35" y="1316"/>
                    <a:pt x="44" y="1340"/>
                    <a:pt x="44" y="1340"/>
                  </a:cubicBezTo>
                  <a:cubicBezTo>
                    <a:pt x="65" y="1394"/>
                    <a:pt x="63" y="1400"/>
                    <a:pt x="79" y="1448"/>
                  </a:cubicBezTo>
                  <a:cubicBezTo>
                    <a:pt x="59" y="1456"/>
                    <a:pt x="57" y="1479"/>
                    <a:pt x="53" y="1493"/>
                  </a:cubicBezTo>
                  <a:cubicBezTo>
                    <a:pt x="35" y="1509"/>
                    <a:pt x="19" y="1544"/>
                    <a:pt x="19" y="1544"/>
                  </a:cubicBezTo>
                  <a:cubicBezTo>
                    <a:pt x="15" y="1596"/>
                    <a:pt x="8" y="1638"/>
                    <a:pt x="0" y="1664"/>
                  </a:cubicBezTo>
                  <a:cubicBezTo>
                    <a:pt x="18" y="1683"/>
                    <a:pt x="21" y="1685"/>
                    <a:pt x="29" y="1700"/>
                  </a:cubicBezTo>
                  <a:cubicBezTo>
                    <a:pt x="56" y="1698"/>
                    <a:pt x="115" y="1703"/>
                    <a:pt x="139" y="1712"/>
                  </a:cubicBezTo>
                  <a:cubicBezTo>
                    <a:pt x="159" y="1742"/>
                    <a:pt x="155" y="1752"/>
                    <a:pt x="161" y="1773"/>
                  </a:cubicBezTo>
                  <a:cubicBezTo>
                    <a:pt x="213" y="1671"/>
                    <a:pt x="279" y="1743"/>
                    <a:pt x="348" y="1728"/>
                  </a:cubicBezTo>
                  <a:cubicBezTo>
                    <a:pt x="408" y="1732"/>
                    <a:pt x="476" y="1735"/>
                    <a:pt x="536" y="1739"/>
                  </a:cubicBezTo>
                  <a:cubicBezTo>
                    <a:pt x="572" y="1719"/>
                    <a:pt x="575" y="1713"/>
                    <a:pt x="618" y="1704"/>
                  </a:cubicBezTo>
                  <a:cubicBezTo>
                    <a:pt x="646" y="1688"/>
                    <a:pt x="695" y="1668"/>
                    <a:pt x="723" y="1656"/>
                  </a:cubicBezTo>
                  <a:cubicBezTo>
                    <a:pt x="735" y="1616"/>
                    <a:pt x="774" y="1616"/>
                    <a:pt x="810" y="1604"/>
                  </a:cubicBezTo>
                  <a:cubicBezTo>
                    <a:pt x="822" y="1566"/>
                    <a:pt x="843" y="1538"/>
                    <a:pt x="902" y="1529"/>
                  </a:cubicBezTo>
                  <a:cubicBezTo>
                    <a:pt x="896" y="1515"/>
                    <a:pt x="871" y="1517"/>
                    <a:pt x="879" y="1505"/>
                  </a:cubicBezTo>
                  <a:cubicBezTo>
                    <a:pt x="878" y="1482"/>
                    <a:pt x="875" y="1464"/>
                    <a:pt x="919" y="1468"/>
                  </a:cubicBezTo>
                  <a:cubicBezTo>
                    <a:pt x="939" y="1464"/>
                    <a:pt x="971" y="1461"/>
                    <a:pt x="978" y="1430"/>
                  </a:cubicBezTo>
                  <a:cubicBezTo>
                    <a:pt x="1010" y="1424"/>
                    <a:pt x="1030" y="1420"/>
                    <a:pt x="1062" y="1416"/>
                  </a:cubicBezTo>
                  <a:cubicBezTo>
                    <a:pt x="1083" y="1424"/>
                    <a:pt x="1079" y="1424"/>
                    <a:pt x="1095" y="1436"/>
                  </a:cubicBezTo>
                  <a:cubicBezTo>
                    <a:pt x="1107" y="1448"/>
                    <a:pt x="1132" y="1452"/>
                    <a:pt x="1148" y="1452"/>
                  </a:cubicBezTo>
                  <a:cubicBezTo>
                    <a:pt x="1199" y="1472"/>
                    <a:pt x="1194" y="1470"/>
                    <a:pt x="1260" y="1466"/>
                  </a:cubicBezTo>
                  <a:cubicBezTo>
                    <a:pt x="1280" y="1474"/>
                    <a:pt x="1273" y="1475"/>
                    <a:pt x="1289" y="1487"/>
                  </a:cubicBezTo>
                  <a:cubicBezTo>
                    <a:pt x="1371" y="1491"/>
                    <a:pt x="1383" y="1499"/>
                    <a:pt x="1388" y="1538"/>
                  </a:cubicBezTo>
                  <a:cubicBezTo>
                    <a:pt x="1376" y="1604"/>
                    <a:pt x="1370" y="1614"/>
                    <a:pt x="1395" y="1612"/>
                  </a:cubicBezTo>
                  <a:cubicBezTo>
                    <a:pt x="1403" y="1628"/>
                    <a:pt x="1416" y="1620"/>
                    <a:pt x="1427" y="1640"/>
                  </a:cubicBezTo>
                  <a:cubicBezTo>
                    <a:pt x="1439" y="1644"/>
                    <a:pt x="1476" y="1649"/>
                    <a:pt x="1476" y="1649"/>
                  </a:cubicBezTo>
                  <a:cubicBezTo>
                    <a:pt x="1492" y="1673"/>
                    <a:pt x="1491" y="1720"/>
                    <a:pt x="1515" y="1736"/>
                  </a:cubicBezTo>
                  <a:cubicBezTo>
                    <a:pt x="1523" y="1760"/>
                    <a:pt x="1535" y="1760"/>
                    <a:pt x="1539" y="1780"/>
                  </a:cubicBezTo>
                  <a:cubicBezTo>
                    <a:pt x="1546" y="1791"/>
                    <a:pt x="1548" y="1787"/>
                    <a:pt x="1557" y="1802"/>
                  </a:cubicBezTo>
                  <a:cubicBezTo>
                    <a:pt x="1590" y="1821"/>
                    <a:pt x="1617" y="1845"/>
                    <a:pt x="1637" y="1859"/>
                  </a:cubicBezTo>
                  <a:lnTo>
                    <a:pt x="1640" y="1886"/>
                  </a:lnTo>
                  <a:cubicBezTo>
                    <a:pt x="1592" y="1894"/>
                    <a:pt x="1557" y="1899"/>
                    <a:pt x="1505" y="1907"/>
                  </a:cubicBezTo>
                  <a:cubicBezTo>
                    <a:pt x="1476" y="1901"/>
                    <a:pt x="1455" y="1895"/>
                    <a:pt x="1433" y="1893"/>
                  </a:cubicBezTo>
                  <a:cubicBezTo>
                    <a:pt x="1417" y="1897"/>
                    <a:pt x="1428" y="1910"/>
                    <a:pt x="1424" y="1926"/>
                  </a:cubicBezTo>
                  <a:cubicBezTo>
                    <a:pt x="1424" y="1937"/>
                    <a:pt x="1424" y="1949"/>
                    <a:pt x="1430" y="1961"/>
                  </a:cubicBezTo>
                  <a:cubicBezTo>
                    <a:pt x="1448" y="1980"/>
                    <a:pt x="1461" y="2006"/>
                    <a:pt x="1463" y="2022"/>
                  </a:cubicBezTo>
                  <a:cubicBezTo>
                    <a:pt x="1440" y="2061"/>
                    <a:pt x="1446" y="2058"/>
                    <a:pt x="1437" y="2067"/>
                  </a:cubicBezTo>
                  <a:cubicBezTo>
                    <a:pt x="1449" y="2035"/>
                    <a:pt x="1416" y="2112"/>
                    <a:pt x="1407" y="2140"/>
                  </a:cubicBezTo>
                  <a:cubicBezTo>
                    <a:pt x="1399" y="2164"/>
                    <a:pt x="1410" y="2187"/>
                    <a:pt x="1400" y="2216"/>
                  </a:cubicBezTo>
                  <a:cubicBezTo>
                    <a:pt x="1384" y="2212"/>
                    <a:pt x="1371" y="2231"/>
                    <a:pt x="1355" y="2235"/>
                  </a:cubicBezTo>
                  <a:cubicBezTo>
                    <a:pt x="1368" y="2270"/>
                    <a:pt x="1386" y="2271"/>
                    <a:pt x="1433" y="2280"/>
                  </a:cubicBezTo>
                  <a:cubicBezTo>
                    <a:pt x="1453" y="2288"/>
                    <a:pt x="1447" y="2267"/>
                    <a:pt x="1463" y="2259"/>
                  </a:cubicBezTo>
                  <a:cubicBezTo>
                    <a:pt x="1478" y="2247"/>
                    <a:pt x="1490" y="2241"/>
                    <a:pt x="1503" y="2234"/>
                  </a:cubicBezTo>
                  <a:cubicBezTo>
                    <a:pt x="1515" y="2222"/>
                    <a:pt x="1511" y="2197"/>
                    <a:pt x="1523" y="2189"/>
                  </a:cubicBezTo>
                  <a:cubicBezTo>
                    <a:pt x="1565" y="2178"/>
                    <a:pt x="1616" y="2169"/>
                    <a:pt x="1643" y="2186"/>
                  </a:cubicBezTo>
                  <a:cubicBezTo>
                    <a:pt x="1647" y="2154"/>
                    <a:pt x="1635" y="2132"/>
                    <a:pt x="1659" y="2116"/>
                  </a:cubicBezTo>
                  <a:cubicBezTo>
                    <a:pt x="1663" y="2096"/>
                    <a:pt x="1663" y="2068"/>
                    <a:pt x="1687" y="2060"/>
                  </a:cubicBezTo>
                  <a:cubicBezTo>
                    <a:pt x="1703" y="2036"/>
                    <a:pt x="1719" y="2016"/>
                    <a:pt x="1731" y="1988"/>
                  </a:cubicBezTo>
                  <a:cubicBezTo>
                    <a:pt x="1739" y="1956"/>
                    <a:pt x="1743" y="1924"/>
                    <a:pt x="1755" y="1892"/>
                  </a:cubicBezTo>
                  <a:cubicBezTo>
                    <a:pt x="1759" y="1868"/>
                    <a:pt x="1755" y="1840"/>
                    <a:pt x="1783" y="1832"/>
                  </a:cubicBezTo>
                  <a:cubicBezTo>
                    <a:pt x="1799" y="1816"/>
                    <a:pt x="1807" y="1804"/>
                    <a:pt x="1831" y="1796"/>
                  </a:cubicBezTo>
                  <a:cubicBezTo>
                    <a:pt x="1855" y="1756"/>
                    <a:pt x="1867" y="1736"/>
                    <a:pt x="1915" y="1724"/>
                  </a:cubicBezTo>
                  <a:cubicBezTo>
                    <a:pt x="1939" y="1708"/>
                    <a:pt x="1943" y="1692"/>
                    <a:pt x="1959" y="1668"/>
                  </a:cubicBezTo>
                  <a:cubicBezTo>
                    <a:pt x="1991" y="1684"/>
                    <a:pt x="1983" y="1708"/>
                    <a:pt x="1995" y="1736"/>
                  </a:cubicBezTo>
                  <a:cubicBezTo>
                    <a:pt x="1983" y="1772"/>
                    <a:pt x="1991" y="1756"/>
                    <a:pt x="1979" y="1788"/>
                  </a:cubicBezTo>
                  <a:cubicBezTo>
                    <a:pt x="1979" y="1792"/>
                    <a:pt x="1975" y="1800"/>
                    <a:pt x="1975" y="1800"/>
                  </a:cubicBezTo>
                  <a:cubicBezTo>
                    <a:pt x="1983" y="1868"/>
                    <a:pt x="2027" y="1836"/>
                    <a:pt x="2067" y="1812"/>
                  </a:cubicBezTo>
                  <a:cubicBezTo>
                    <a:pt x="2111" y="1784"/>
                    <a:pt x="2167" y="1808"/>
                    <a:pt x="2219" y="1808"/>
                  </a:cubicBezTo>
                  <a:cubicBezTo>
                    <a:pt x="2259" y="1800"/>
                    <a:pt x="2239" y="1804"/>
                    <a:pt x="2271" y="1796"/>
                  </a:cubicBezTo>
                  <a:cubicBezTo>
                    <a:pt x="2299" y="1776"/>
                    <a:pt x="2303" y="1776"/>
                    <a:pt x="2335" y="1772"/>
                  </a:cubicBezTo>
                  <a:cubicBezTo>
                    <a:pt x="2343" y="1796"/>
                    <a:pt x="2347" y="1820"/>
                    <a:pt x="2323" y="1836"/>
                  </a:cubicBezTo>
                  <a:cubicBezTo>
                    <a:pt x="2311" y="1856"/>
                    <a:pt x="2319" y="1888"/>
                    <a:pt x="2295" y="1896"/>
                  </a:cubicBezTo>
                  <a:cubicBezTo>
                    <a:pt x="2275" y="1916"/>
                    <a:pt x="2271" y="1936"/>
                    <a:pt x="2251" y="1952"/>
                  </a:cubicBezTo>
                  <a:cubicBezTo>
                    <a:pt x="2243" y="1960"/>
                    <a:pt x="2227" y="1976"/>
                    <a:pt x="2227" y="1976"/>
                  </a:cubicBezTo>
                  <a:cubicBezTo>
                    <a:pt x="2223" y="1992"/>
                    <a:pt x="2211" y="2024"/>
                    <a:pt x="2211" y="2024"/>
                  </a:cubicBezTo>
                  <a:cubicBezTo>
                    <a:pt x="2231" y="2052"/>
                    <a:pt x="2259" y="2024"/>
                    <a:pt x="2283" y="2016"/>
                  </a:cubicBezTo>
                  <a:cubicBezTo>
                    <a:pt x="2315" y="2028"/>
                    <a:pt x="2339" y="2004"/>
                    <a:pt x="2383" y="2028"/>
                  </a:cubicBezTo>
                  <a:cubicBezTo>
                    <a:pt x="2411" y="2036"/>
                    <a:pt x="2435" y="2044"/>
                    <a:pt x="2455" y="2072"/>
                  </a:cubicBezTo>
                  <a:cubicBezTo>
                    <a:pt x="2479" y="2112"/>
                    <a:pt x="2459" y="2176"/>
                    <a:pt x="2503" y="2204"/>
                  </a:cubicBezTo>
                  <a:cubicBezTo>
                    <a:pt x="2555" y="2196"/>
                    <a:pt x="2559" y="2192"/>
                    <a:pt x="2599" y="2180"/>
                  </a:cubicBezTo>
                  <a:cubicBezTo>
                    <a:pt x="2611" y="2164"/>
                    <a:pt x="2619" y="2168"/>
                    <a:pt x="2623" y="2148"/>
                  </a:cubicBezTo>
                  <a:cubicBezTo>
                    <a:pt x="2627" y="2124"/>
                    <a:pt x="2623" y="2104"/>
                    <a:pt x="2643" y="2088"/>
                  </a:cubicBezTo>
                  <a:cubicBezTo>
                    <a:pt x="2647" y="2076"/>
                    <a:pt x="2659" y="2060"/>
                    <a:pt x="2667" y="2052"/>
                  </a:cubicBezTo>
                  <a:cubicBezTo>
                    <a:pt x="2683" y="2040"/>
                    <a:pt x="2703" y="2016"/>
                    <a:pt x="2723" y="2000"/>
                  </a:cubicBezTo>
                  <a:cubicBezTo>
                    <a:pt x="2731" y="1980"/>
                    <a:pt x="2767" y="1980"/>
                    <a:pt x="2775" y="1956"/>
                  </a:cubicBezTo>
                  <a:cubicBezTo>
                    <a:pt x="2779" y="1928"/>
                    <a:pt x="2783" y="1924"/>
                    <a:pt x="2803" y="1908"/>
                  </a:cubicBezTo>
                  <a:cubicBezTo>
                    <a:pt x="2811" y="1904"/>
                    <a:pt x="2827" y="1892"/>
                    <a:pt x="2827" y="1892"/>
                  </a:cubicBezTo>
                  <a:cubicBezTo>
                    <a:pt x="2875" y="1904"/>
                    <a:pt x="2847" y="1900"/>
                    <a:pt x="2907" y="1896"/>
                  </a:cubicBezTo>
                  <a:cubicBezTo>
                    <a:pt x="2931" y="1888"/>
                    <a:pt x="2931" y="1880"/>
                    <a:pt x="2943" y="1860"/>
                  </a:cubicBezTo>
                  <a:cubicBezTo>
                    <a:pt x="2955" y="1812"/>
                    <a:pt x="2983" y="1768"/>
                    <a:pt x="2995" y="1716"/>
                  </a:cubicBezTo>
                  <a:cubicBezTo>
                    <a:pt x="2995" y="1712"/>
                    <a:pt x="2963" y="1728"/>
                    <a:pt x="2955" y="1728"/>
                  </a:cubicBezTo>
                  <a:cubicBezTo>
                    <a:pt x="2919" y="1736"/>
                    <a:pt x="2879" y="1744"/>
                    <a:pt x="2847" y="1764"/>
                  </a:cubicBezTo>
                  <a:cubicBezTo>
                    <a:pt x="2835" y="1804"/>
                    <a:pt x="2823" y="1808"/>
                    <a:pt x="2787" y="1832"/>
                  </a:cubicBezTo>
                  <a:cubicBezTo>
                    <a:pt x="2759" y="1828"/>
                    <a:pt x="2739" y="1812"/>
                    <a:pt x="2715" y="1796"/>
                  </a:cubicBezTo>
                  <a:cubicBezTo>
                    <a:pt x="2691" y="1760"/>
                    <a:pt x="2675" y="1772"/>
                    <a:pt x="2643" y="1748"/>
                  </a:cubicBezTo>
                  <a:cubicBezTo>
                    <a:pt x="2631" y="1740"/>
                    <a:pt x="2607" y="1724"/>
                    <a:pt x="2607" y="1724"/>
                  </a:cubicBezTo>
                  <a:cubicBezTo>
                    <a:pt x="2603" y="1708"/>
                    <a:pt x="2579" y="1676"/>
                    <a:pt x="2579" y="1676"/>
                  </a:cubicBezTo>
                  <a:cubicBezTo>
                    <a:pt x="2587" y="1640"/>
                    <a:pt x="2579" y="1644"/>
                    <a:pt x="2623" y="1640"/>
                  </a:cubicBezTo>
                  <a:cubicBezTo>
                    <a:pt x="2655" y="1616"/>
                    <a:pt x="2647" y="1584"/>
                    <a:pt x="2667" y="1556"/>
                  </a:cubicBezTo>
                  <a:cubicBezTo>
                    <a:pt x="2671" y="1536"/>
                    <a:pt x="2679" y="1492"/>
                    <a:pt x="2695" y="1476"/>
                  </a:cubicBezTo>
                  <a:cubicBezTo>
                    <a:pt x="2703" y="1468"/>
                    <a:pt x="2719" y="1460"/>
                    <a:pt x="2719" y="1460"/>
                  </a:cubicBezTo>
                  <a:cubicBezTo>
                    <a:pt x="2727" y="1436"/>
                    <a:pt x="2747" y="1428"/>
                    <a:pt x="2767" y="1420"/>
                  </a:cubicBezTo>
                  <a:cubicBezTo>
                    <a:pt x="2783" y="1400"/>
                    <a:pt x="2787" y="1396"/>
                    <a:pt x="2811" y="1388"/>
                  </a:cubicBezTo>
                  <a:cubicBezTo>
                    <a:pt x="2831" y="1368"/>
                    <a:pt x="2859" y="1372"/>
                    <a:pt x="2887" y="1368"/>
                  </a:cubicBezTo>
                  <a:cubicBezTo>
                    <a:pt x="2895" y="1324"/>
                    <a:pt x="2891" y="1308"/>
                    <a:pt x="2935" y="1296"/>
                  </a:cubicBezTo>
                  <a:cubicBezTo>
                    <a:pt x="2947" y="1280"/>
                    <a:pt x="2963" y="1260"/>
                    <a:pt x="2979" y="1248"/>
                  </a:cubicBezTo>
                  <a:cubicBezTo>
                    <a:pt x="2991" y="1216"/>
                    <a:pt x="3019" y="1188"/>
                    <a:pt x="3051" y="1176"/>
                  </a:cubicBezTo>
                  <a:cubicBezTo>
                    <a:pt x="3063" y="1164"/>
                    <a:pt x="3083" y="1152"/>
                    <a:pt x="3099" y="1148"/>
                  </a:cubicBezTo>
                  <a:cubicBezTo>
                    <a:pt x="3119" y="1120"/>
                    <a:pt x="3095" y="1060"/>
                    <a:pt x="3075" y="1032"/>
                  </a:cubicBezTo>
                  <a:cubicBezTo>
                    <a:pt x="3071" y="1000"/>
                    <a:pt x="3071" y="976"/>
                    <a:pt x="3079" y="956"/>
                  </a:cubicBezTo>
                  <a:cubicBezTo>
                    <a:pt x="3083" y="940"/>
                    <a:pt x="3107" y="916"/>
                    <a:pt x="3127" y="908"/>
                  </a:cubicBezTo>
                  <a:cubicBezTo>
                    <a:pt x="3135" y="880"/>
                    <a:pt x="3195" y="868"/>
                    <a:pt x="3223" y="860"/>
                  </a:cubicBezTo>
                  <a:cubicBezTo>
                    <a:pt x="3251" y="840"/>
                    <a:pt x="3291" y="848"/>
                    <a:pt x="3319" y="828"/>
                  </a:cubicBezTo>
                  <a:cubicBezTo>
                    <a:pt x="3315" y="776"/>
                    <a:pt x="3327" y="788"/>
                    <a:pt x="3295" y="756"/>
                  </a:cubicBezTo>
                  <a:cubicBezTo>
                    <a:pt x="3275" y="700"/>
                    <a:pt x="3231" y="576"/>
                    <a:pt x="3203" y="512"/>
                  </a:cubicBezTo>
                  <a:cubicBezTo>
                    <a:pt x="3219" y="396"/>
                    <a:pt x="3219" y="360"/>
                    <a:pt x="3139" y="348"/>
                  </a:cubicBezTo>
                  <a:cubicBezTo>
                    <a:pt x="3091" y="328"/>
                    <a:pt x="3031" y="360"/>
                    <a:pt x="2979" y="344"/>
                  </a:cubicBezTo>
                  <a:cubicBezTo>
                    <a:pt x="2935" y="360"/>
                    <a:pt x="2951" y="364"/>
                    <a:pt x="2887" y="368"/>
                  </a:cubicBezTo>
                  <a:cubicBezTo>
                    <a:pt x="2795" y="332"/>
                    <a:pt x="2779" y="368"/>
                    <a:pt x="2727" y="384"/>
                  </a:cubicBezTo>
                  <a:cubicBezTo>
                    <a:pt x="2679" y="380"/>
                    <a:pt x="2691" y="376"/>
                    <a:pt x="2659" y="344"/>
                  </a:cubicBezTo>
                  <a:cubicBezTo>
                    <a:pt x="2643" y="328"/>
                    <a:pt x="2595" y="328"/>
                    <a:pt x="2575" y="320"/>
                  </a:cubicBezTo>
                  <a:cubicBezTo>
                    <a:pt x="2543" y="320"/>
                    <a:pt x="2523" y="368"/>
                    <a:pt x="2491" y="380"/>
                  </a:cubicBezTo>
                  <a:cubicBezTo>
                    <a:pt x="2459" y="392"/>
                    <a:pt x="2403" y="392"/>
                    <a:pt x="2379" y="396"/>
                  </a:cubicBezTo>
                  <a:cubicBezTo>
                    <a:pt x="2363" y="404"/>
                    <a:pt x="2351" y="408"/>
                    <a:pt x="2335" y="412"/>
                  </a:cubicBezTo>
                  <a:cubicBezTo>
                    <a:pt x="2307" y="412"/>
                    <a:pt x="2279" y="416"/>
                    <a:pt x="2251" y="408"/>
                  </a:cubicBezTo>
                  <a:cubicBezTo>
                    <a:pt x="2247" y="408"/>
                    <a:pt x="2231" y="316"/>
                    <a:pt x="2211" y="296"/>
                  </a:cubicBezTo>
                  <a:cubicBezTo>
                    <a:pt x="2179" y="240"/>
                    <a:pt x="2095" y="276"/>
                    <a:pt x="2055" y="272"/>
                  </a:cubicBezTo>
                  <a:cubicBezTo>
                    <a:pt x="2011" y="276"/>
                    <a:pt x="1995" y="288"/>
                    <a:pt x="1979" y="244"/>
                  </a:cubicBezTo>
                  <a:cubicBezTo>
                    <a:pt x="1979" y="220"/>
                    <a:pt x="1967" y="156"/>
                    <a:pt x="1959" y="128"/>
                  </a:cubicBezTo>
                  <a:cubicBezTo>
                    <a:pt x="1939" y="92"/>
                    <a:pt x="1875" y="36"/>
                    <a:pt x="1831" y="20"/>
                  </a:cubicBezTo>
                  <a:cubicBezTo>
                    <a:pt x="1803" y="0"/>
                    <a:pt x="1735" y="32"/>
                    <a:pt x="1695" y="36"/>
                  </a:cubicBezTo>
                  <a:cubicBezTo>
                    <a:pt x="1667" y="52"/>
                    <a:pt x="1627" y="72"/>
                    <a:pt x="1599" y="80"/>
                  </a:cubicBezTo>
                  <a:cubicBezTo>
                    <a:pt x="1595" y="92"/>
                    <a:pt x="1583" y="108"/>
                    <a:pt x="1575" y="116"/>
                  </a:cubicBezTo>
                  <a:cubicBezTo>
                    <a:pt x="1567" y="124"/>
                    <a:pt x="1539" y="180"/>
                    <a:pt x="1539" y="180"/>
                  </a:cubicBezTo>
                  <a:cubicBezTo>
                    <a:pt x="1519" y="208"/>
                    <a:pt x="1515" y="172"/>
                    <a:pt x="1483" y="180"/>
                  </a:cubicBezTo>
                  <a:cubicBezTo>
                    <a:pt x="1471" y="188"/>
                    <a:pt x="1443" y="196"/>
                    <a:pt x="1443" y="196"/>
                  </a:cubicBezTo>
                  <a:lnTo>
                    <a:pt x="1407" y="204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  <p:sp>
          <p:nvSpPr>
            <p:cNvPr id="29" name="Freeform 85"/>
            <p:cNvSpPr>
              <a:spLocks noChangeAspect="1"/>
            </p:cNvSpPr>
            <p:nvPr/>
          </p:nvSpPr>
          <p:spPr bwMode="auto">
            <a:xfrm>
              <a:off x="3353" y="2976"/>
              <a:ext cx="196" cy="209"/>
            </a:xfrm>
            <a:custGeom>
              <a:avLst/>
              <a:gdLst>
                <a:gd name="T0" fmla="*/ 0 w 776"/>
                <a:gd name="T1" fmla="*/ 0 h 826"/>
                <a:gd name="T2" fmla="*/ 0 w 776"/>
                <a:gd name="T3" fmla="*/ 0 h 826"/>
                <a:gd name="T4" fmla="*/ 0 w 776"/>
                <a:gd name="T5" fmla="*/ 0 h 826"/>
                <a:gd name="T6" fmla="*/ 0 w 776"/>
                <a:gd name="T7" fmla="*/ 0 h 826"/>
                <a:gd name="T8" fmla="*/ 0 w 776"/>
                <a:gd name="T9" fmla="*/ 0 h 826"/>
                <a:gd name="T10" fmla="*/ 0 w 776"/>
                <a:gd name="T11" fmla="*/ 0 h 826"/>
                <a:gd name="T12" fmla="*/ 0 w 776"/>
                <a:gd name="T13" fmla="*/ 0 h 826"/>
                <a:gd name="T14" fmla="*/ 0 w 776"/>
                <a:gd name="T15" fmla="*/ 0 h 826"/>
                <a:gd name="T16" fmla="*/ 0 w 776"/>
                <a:gd name="T17" fmla="*/ 0 h 826"/>
                <a:gd name="T18" fmla="*/ 0 w 776"/>
                <a:gd name="T19" fmla="*/ 0 h 826"/>
                <a:gd name="T20" fmla="*/ 0 w 776"/>
                <a:gd name="T21" fmla="*/ 0 h 826"/>
                <a:gd name="T22" fmla="*/ 0 w 776"/>
                <a:gd name="T23" fmla="*/ 0 h 826"/>
                <a:gd name="T24" fmla="*/ 0 w 776"/>
                <a:gd name="T25" fmla="*/ 0 h 826"/>
                <a:gd name="T26" fmla="*/ 0 w 776"/>
                <a:gd name="T27" fmla="*/ 0 h 826"/>
                <a:gd name="T28" fmla="*/ 0 w 776"/>
                <a:gd name="T29" fmla="*/ 0 h 826"/>
                <a:gd name="T30" fmla="*/ 0 w 776"/>
                <a:gd name="T31" fmla="*/ 0 h 826"/>
                <a:gd name="T32" fmla="*/ 0 w 776"/>
                <a:gd name="T33" fmla="*/ 0 h 826"/>
                <a:gd name="T34" fmla="*/ 0 w 776"/>
                <a:gd name="T35" fmla="*/ 0 h 826"/>
                <a:gd name="T36" fmla="*/ 0 w 776"/>
                <a:gd name="T37" fmla="*/ 0 h 826"/>
                <a:gd name="T38" fmla="*/ 0 w 776"/>
                <a:gd name="T39" fmla="*/ 0 h 826"/>
                <a:gd name="T40" fmla="*/ 0 w 776"/>
                <a:gd name="T41" fmla="*/ 0 h 826"/>
                <a:gd name="T42" fmla="*/ 0 w 776"/>
                <a:gd name="T43" fmla="*/ 0 h 826"/>
                <a:gd name="T44" fmla="*/ 0 w 776"/>
                <a:gd name="T45" fmla="*/ 0 h 826"/>
                <a:gd name="T46" fmla="*/ 0 w 776"/>
                <a:gd name="T47" fmla="*/ 0 h 826"/>
                <a:gd name="T48" fmla="*/ 0 w 776"/>
                <a:gd name="T49" fmla="*/ 0 h 826"/>
                <a:gd name="T50" fmla="*/ 0 w 776"/>
                <a:gd name="T51" fmla="*/ 0 h 826"/>
                <a:gd name="T52" fmla="*/ 0 w 776"/>
                <a:gd name="T53" fmla="*/ 0 h 826"/>
                <a:gd name="T54" fmla="*/ 0 w 776"/>
                <a:gd name="T55" fmla="*/ 0 h 826"/>
                <a:gd name="T56" fmla="*/ 0 w 776"/>
                <a:gd name="T57" fmla="*/ 0 h 826"/>
                <a:gd name="T58" fmla="*/ 0 w 776"/>
                <a:gd name="T59" fmla="*/ 0 h 826"/>
                <a:gd name="T60" fmla="*/ 0 w 776"/>
                <a:gd name="T61" fmla="*/ 0 h 826"/>
                <a:gd name="T62" fmla="*/ 0 w 776"/>
                <a:gd name="T63" fmla="*/ 0 h 82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776"/>
                <a:gd name="T97" fmla="*/ 0 h 826"/>
                <a:gd name="T98" fmla="*/ 776 w 776"/>
                <a:gd name="T99" fmla="*/ 826 h 82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776" h="826">
                  <a:moveTo>
                    <a:pt x="484" y="824"/>
                  </a:moveTo>
                  <a:cubicBezTo>
                    <a:pt x="503" y="815"/>
                    <a:pt x="500" y="803"/>
                    <a:pt x="532" y="800"/>
                  </a:cubicBezTo>
                  <a:cubicBezTo>
                    <a:pt x="544" y="764"/>
                    <a:pt x="532" y="728"/>
                    <a:pt x="552" y="696"/>
                  </a:cubicBezTo>
                  <a:cubicBezTo>
                    <a:pt x="560" y="660"/>
                    <a:pt x="580" y="640"/>
                    <a:pt x="592" y="608"/>
                  </a:cubicBezTo>
                  <a:cubicBezTo>
                    <a:pt x="588" y="584"/>
                    <a:pt x="580" y="564"/>
                    <a:pt x="564" y="548"/>
                  </a:cubicBezTo>
                  <a:cubicBezTo>
                    <a:pt x="556" y="504"/>
                    <a:pt x="544" y="484"/>
                    <a:pt x="576" y="476"/>
                  </a:cubicBezTo>
                  <a:cubicBezTo>
                    <a:pt x="596" y="480"/>
                    <a:pt x="640" y="492"/>
                    <a:pt x="640" y="492"/>
                  </a:cubicBezTo>
                  <a:cubicBezTo>
                    <a:pt x="688" y="488"/>
                    <a:pt x="728" y="476"/>
                    <a:pt x="776" y="468"/>
                  </a:cubicBezTo>
                  <a:cubicBezTo>
                    <a:pt x="772" y="448"/>
                    <a:pt x="768" y="440"/>
                    <a:pt x="748" y="432"/>
                  </a:cubicBezTo>
                  <a:cubicBezTo>
                    <a:pt x="740" y="416"/>
                    <a:pt x="704" y="392"/>
                    <a:pt x="688" y="384"/>
                  </a:cubicBezTo>
                  <a:cubicBezTo>
                    <a:pt x="680" y="360"/>
                    <a:pt x="656" y="336"/>
                    <a:pt x="640" y="312"/>
                  </a:cubicBezTo>
                  <a:cubicBezTo>
                    <a:pt x="604" y="260"/>
                    <a:pt x="652" y="232"/>
                    <a:pt x="556" y="224"/>
                  </a:cubicBezTo>
                  <a:cubicBezTo>
                    <a:pt x="540" y="196"/>
                    <a:pt x="532" y="204"/>
                    <a:pt x="508" y="188"/>
                  </a:cubicBezTo>
                  <a:cubicBezTo>
                    <a:pt x="528" y="84"/>
                    <a:pt x="536" y="76"/>
                    <a:pt x="420" y="72"/>
                  </a:cubicBezTo>
                  <a:cubicBezTo>
                    <a:pt x="416" y="56"/>
                    <a:pt x="400" y="56"/>
                    <a:pt x="388" y="48"/>
                  </a:cubicBezTo>
                  <a:cubicBezTo>
                    <a:pt x="344" y="64"/>
                    <a:pt x="288" y="36"/>
                    <a:pt x="244" y="28"/>
                  </a:cubicBezTo>
                  <a:cubicBezTo>
                    <a:pt x="228" y="16"/>
                    <a:pt x="196" y="0"/>
                    <a:pt x="196" y="0"/>
                  </a:cubicBezTo>
                  <a:cubicBezTo>
                    <a:pt x="168" y="4"/>
                    <a:pt x="112" y="12"/>
                    <a:pt x="112" y="12"/>
                  </a:cubicBezTo>
                  <a:cubicBezTo>
                    <a:pt x="96" y="56"/>
                    <a:pt x="56" y="52"/>
                    <a:pt x="16" y="56"/>
                  </a:cubicBezTo>
                  <a:cubicBezTo>
                    <a:pt x="0" y="104"/>
                    <a:pt x="16" y="92"/>
                    <a:pt x="48" y="124"/>
                  </a:cubicBezTo>
                  <a:cubicBezTo>
                    <a:pt x="52" y="136"/>
                    <a:pt x="60" y="156"/>
                    <a:pt x="100" y="172"/>
                  </a:cubicBezTo>
                  <a:cubicBezTo>
                    <a:pt x="116" y="192"/>
                    <a:pt x="123" y="197"/>
                    <a:pt x="135" y="212"/>
                  </a:cubicBezTo>
                  <a:cubicBezTo>
                    <a:pt x="158" y="231"/>
                    <a:pt x="153" y="233"/>
                    <a:pt x="173" y="245"/>
                  </a:cubicBezTo>
                  <a:cubicBezTo>
                    <a:pt x="177" y="261"/>
                    <a:pt x="185" y="263"/>
                    <a:pt x="194" y="282"/>
                  </a:cubicBezTo>
                  <a:cubicBezTo>
                    <a:pt x="214" y="302"/>
                    <a:pt x="213" y="312"/>
                    <a:pt x="233" y="332"/>
                  </a:cubicBezTo>
                  <a:cubicBezTo>
                    <a:pt x="261" y="342"/>
                    <a:pt x="300" y="364"/>
                    <a:pt x="300" y="364"/>
                  </a:cubicBezTo>
                  <a:cubicBezTo>
                    <a:pt x="311" y="381"/>
                    <a:pt x="300" y="354"/>
                    <a:pt x="317" y="393"/>
                  </a:cubicBezTo>
                  <a:cubicBezTo>
                    <a:pt x="443" y="449"/>
                    <a:pt x="398" y="557"/>
                    <a:pt x="400" y="600"/>
                  </a:cubicBezTo>
                  <a:cubicBezTo>
                    <a:pt x="422" y="668"/>
                    <a:pt x="414" y="645"/>
                    <a:pt x="429" y="701"/>
                  </a:cubicBezTo>
                  <a:cubicBezTo>
                    <a:pt x="433" y="729"/>
                    <a:pt x="446" y="764"/>
                    <a:pt x="452" y="780"/>
                  </a:cubicBezTo>
                  <a:cubicBezTo>
                    <a:pt x="461" y="794"/>
                    <a:pt x="464" y="798"/>
                    <a:pt x="474" y="810"/>
                  </a:cubicBezTo>
                  <a:cubicBezTo>
                    <a:pt x="478" y="826"/>
                    <a:pt x="484" y="816"/>
                    <a:pt x="484" y="824"/>
                  </a:cubicBez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  <p:sp>
          <p:nvSpPr>
            <p:cNvPr id="30" name="Freeform 86"/>
            <p:cNvSpPr>
              <a:spLocks noChangeAspect="1"/>
            </p:cNvSpPr>
            <p:nvPr/>
          </p:nvSpPr>
          <p:spPr bwMode="auto">
            <a:xfrm>
              <a:off x="3059" y="3001"/>
              <a:ext cx="503" cy="360"/>
            </a:xfrm>
            <a:custGeom>
              <a:avLst/>
              <a:gdLst>
                <a:gd name="T0" fmla="*/ 0 w 1991"/>
                <a:gd name="T1" fmla="*/ 0 h 1428"/>
                <a:gd name="T2" fmla="*/ 0 w 1991"/>
                <a:gd name="T3" fmla="*/ 0 h 1428"/>
                <a:gd name="T4" fmla="*/ 0 w 1991"/>
                <a:gd name="T5" fmla="*/ 0 h 1428"/>
                <a:gd name="T6" fmla="*/ 0 w 1991"/>
                <a:gd name="T7" fmla="*/ 0 h 1428"/>
                <a:gd name="T8" fmla="*/ 0 w 1991"/>
                <a:gd name="T9" fmla="*/ 0 h 1428"/>
                <a:gd name="T10" fmla="*/ 0 w 1991"/>
                <a:gd name="T11" fmla="*/ 0 h 1428"/>
                <a:gd name="T12" fmla="*/ 0 w 1991"/>
                <a:gd name="T13" fmla="*/ 0 h 1428"/>
                <a:gd name="T14" fmla="*/ 0 w 1991"/>
                <a:gd name="T15" fmla="*/ 0 h 1428"/>
                <a:gd name="T16" fmla="*/ 0 w 1991"/>
                <a:gd name="T17" fmla="*/ 0 h 1428"/>
                <a:gd name="T18" fmla="*/ 0 w 1991"/>
                <a:gd name="T19" fmla="*/ 0 h 1428"/>
                <a:gd name="T20" fmla="*/ 0 w 1991"/>
                <a:gd name="T21" fmla="*/ 0 h 1428"/>
                <a:gd name="T22" fmla="*/ 0 w 1991"/>
                <a:gd name="T23" fmla="*/ 0 h 1428"/>
                <a:gd name="T24" fmla="*/ 0 w 1991"/>
                <a:gd name="T25" fmla="*/ 0 h 1428"/>
                <a:gd name="T26" fmla="*/ 0 w 1991"/>
                <a:gd name="T27" fmla="*/ 0 h 1428"/>
                <a:gd name="T28" fmla="*/ 0 w 1991"/>
                <a:gd name="T29" fmla="*/ 0 h 1428"/>
                <a:gd name="T30" fmla="*/ 0 w 1991"/>
                <a:gd name="T31" fmla="*/ 0 h 1428"/>
                <a:gd name="T32" fmla="*/ 0 w 1991"/>
                <a:gd name="T33" fmla="*/ 0 h 1428"/>
                <a:gd name="T34" fmla="*/ 0 w 1991"/>
                <a:gd name="T35" fmla="*/ 0 h 1428"/>
                <a:gd name="T36" fmla="*/ 0 w 1991"/>
                <a:gd name="T37" fmla="*/ 0 h 1428"/>
                <a:gd name="T38" fmla="*/ 0 w 1991"/>
                <a:gd name="T39" fmla="*/ 0 h 1428"/>
                <a:gd name="T40" fmla="*/ 0 w 1991"/>
                <a:gd name="T41" fmla="*/ 0 h 1428"/>
                <a:gd name="T42" fmla="*/ 0 w 1991"/>
                <a:gd name="T43" fmla="*/ 0 h 1428"/>
                <a:gd name="T44" fmla="*/ 0 w 1991"/>
                <a:gd name="T45" fmla="*/ 0 h 1428"/>
                <a:gd name="T46" fmla="*/ 0 w 1991"/>
                <a:gd name="T47" fmla="*/ 0 h 1428"/>
                <a:gd name="T48" fmla="*/ 0 w 1991"/>
                <a:gd name="T49" fmla="*/ 0 h 1428"/>
                <a:gd name="T50" fmla="*/ 0 w 1991"/>
                <a:gd name="T51" fmla="*/ 0 h 1428"/>
                <a:gd name="T52" fmla="*/ 0 w 1991"/>
                <a:gd name="T53" fmla="*/ 0 h 1428"/>
                <a:gd name="T54" fmla="*/ 0 w 1991"/>
                <a:gd name="T55" fmla="*/ 0 h 1428"/>
                <a:gd name="T56" fmla="*/ 0 w 1991"/>
                <a:gd name="T57" fmla="*/ 0 h 1428"/>
                <a:gd name="T58" fmla="*/ 0 w 1991"/>
                <a:gd name="T59" fmla="*/ 0 h 1428"/>
                <a:gd name="T60" fmla="*/ 0 w 1991"/>
                <a:gd name="T61" fmla="*/ 0 h 1428"/>
                <a:gd name="T62" fmla="*/ 0 w 1991"/>
                <a:gd name="T63" fmla="*/ 0 h 1428"/>
                <a:gd name="T64" fmla="*/ 0 w 1991"/>
                <a:gd name="T65" fmla="*/ 0 h 1428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991"/>
                <a:gd name="T100" fmla="*/ 0 h 1428"/>
                <a:gd name="T101" fmla="*/ 1991 w 1991"/>
                <a:gd name="T102" fmla="*/ 1428 h 1428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991" h="1428">
                  <a:moveTo>
                    <a:pt x="1847" y="1195"/>
                  </a:moveTo>
                  <a:cubicBezTo>
                    <a:pt x="1855" y="1139"/>
                    <a:pt x="1851" y="1087"/>
                    <a:pt x="1831" y="1035"/>
                  </a:cubicBezTo>
                  <a:cubicBezTo>
                    <a:pt x="1835" y="963"/>
                    <a:pt x="1815" y="903"/>
                    <a:pt x="1875" y="863"/>
                  </a:cubicBezTo>
                  <a:cubicBezTo>
                    <a:pt x="1879" y="847"/>
                    <a:pt x="1911" y="835"/>
                    <a:pt x="1927" y="827"/>
                  </a:cubicBezTo>
                  <a:cubicBezTo>
                    <a:pt x="1939" y="823"/>
                    <a:pt x="1963" y="815"/>
                    <a:pt x="1963" y="815"/>
                  </a:cubicBezTo>
                  <a:cubicBezTo>
                    <a:pt x="1991" y="787"/>
                    <a:pt x="1975" y="712"/>
                    <a:pt x="1947" y="684"/>
                  </a:cubicBezTo>
                  <a:cubicBezTo>
                    <a:pt x="1935" y="644"/>
                    <a:pt x="1863" y="672"/>
                    <a:pt x="1823" y="676"/>
                  </a:cubicBezTo>
                  <a:cubicBezTo>
                    <a:pt x="1815" y="708"/>
                    <a:pt x="1791" y="735"/>
                    <a:pt x="1759" y="747"/>
                  </a:cubicBezTo>
                  <a:cubicBezTo>
                    <a:pt x="1747" y="775"/>
                    <a:pt x="1735" y="767"/>
                    <a:pt x="1703" y="763"/>
                  </a:cubicBezTo>
                  <a:cubicBezTo>
                    <a:pt x="1687" y="755"/>
                    <a:pt x="1675" y="751"/>
                    <a:pt x="1659" y="743"/>
                  </a:cubicBezTo>
                  <a:cubicBezTo>
                    <a:pt x="1647" y="727"/>
                    <a:pt x="1639" y="708"/>
                    <a:pt x="1627" y="696"/>
                  </a:cubicBezTo>
                  <a:cubicBezTo>
                    <a:pt x="1619" y="688"/>
                    <a:pt x="1603" y="636"/>
                    <a:pt x="1603" y="636"/>
                  </a:cubicBezTo>
                  <a:cubicBezTo>
                    <a:pt x="1595" y="604"/>
                    <a:pt x="1587" y="560"/>
                    <a:pt x="1567" y="500"/>
                  </a:cubicBezTo>
                  <a:cubicBezTo>
                    <a:pt x="1583" y="396"/>
                    <a:pt x="1563" y="324"/>
                    <a:pt x="1483" y="296"/>
                  </a:cubicBezTo>
                  <a:cubicBezTo>
                    <a:pt x="1475" y="276"/>
                    <a:pt x="1467" y="268"/>
                    <a:pt x="1447" y="260"/>
                  </a:cubicBezTo>
                  <a:cubicBezTo>
                    <a:pt x="1431" y="244"/>
                    <a:pt x="1419" y="244"/>
                    <a:pt x="1399" y="236"/>
                  </a:cubicBezTo>
                  <a:cubicBezTo>
                    <a:pt x="1387" y="216"/>
                    <a:pt x="1379" y="204"/>
                    <a:pt x="1363" y="192"/>
                  </a:cubicBezTo>
                  <a:cubicBezTo>
                    <a:pt x="1359" y="176"/>
                    <a:pt x="1319" y="124"/>
                    <a:pt x="1299" y="116"/>
                  </a:cubicBezTo>
                  <a:cubicBezTo>
                    <a:pt x="1291" y="88"/>
                    <a:pt x="1255" y="76"/>
                    <a:pt x="1231" y="60"/>
                  </a:cubicBezTo>
                  <a:cubicBezTo>
                    <a:pt x="1223" y="48"/>
                    <a:pt x="1219" y="36"/>
                    <a:pt x="1207" y="24"/>
                  </a:cubicBezTo>
                  <a:cubicBezTo>
                    <a:pt x="1199" y="0"/>
                    <a:pt x="1135" y="44"/>
                    <a:pt x="1135" y="44"/>
                  </a:cubicBezTo>
                  <a:cubicBezTo>
                    <a:pt x="1111" y="76"/>
                    <a:pt x="1123" y="92"/>
                    <a:pt x="1079" y="100"/>
                  </a:cubicBezTo>
                  <a:cubicBezTo>
                    <a:pt x="1063" y="108"/>
                    <a:pt x="1043" y="116"/>
                    <a:pt x="1027" y="128"/>
                  </a:cubicBezTo>
                  <a:cubicBezTo>
                    <a:pt x="1015" y="164"/>
                    <a:pt x="943" y="168"/>
                    <a:pt x="915" y="192"/>
                  </a:cubicBezTo>
                  <a:cubicBezTo>
                    <a:pt x="899" y="196"/>
                    <a:pt x="871" y="204"/>
                    <a:pt x="871" y="204"/>
                  </a:cubicBezTo>
                  <a:cubicBezTo>
                    <a:pt x="859" y="216"/>
                    <a:pt x="847" y="220"/>
                    <a:pt x="835" y="228"/>
                  </a:cubicBezTo>
                  <a:cubicBezTo>
                    <a:pt x="723" y="216"/>
                    <a:pt x="787" y="220"/>
                    <a:pt x="643" y="216"/>
                  </a:cubicBezTo>
                  <a:cubicBezTo>
                    <a:pt x="535" y="220"/>
                    <a:pt x="543" y="180"/>
                    <a:pt x="483" y="228"/>
                  </a:cubicBezTo>
                  <a:cubicBezTo>
                    <a:pt x="475" y="248"/>
                    <a:pt x="435" y="292"/>
                    <a:pt x="411" y="296"/>
                  </a:cubicBezTo>
                  <a:cubicBezTo>
                    <a:pt x="399" y="312"/>
                    <a:pt x="383" y="312"/>
                    <a:pt x="363" y="320"/>
                  </a:cubicBezTo>
                  <a:cubicBezTo>
                    <a:pt x="359" y="320"/>
                    <a:pt x="351" y="324"/>
                    <a:pt x="351" y="324"/>
                  </a:cubicBezTo>
                  <a:cubicBezTo>
                    <a:pt x="339" y="340"/>
                    <a:pt x="331" y="360"/>
                    <a:pt x="319" y="372"/>
                  </a:cubicBezTo>
                  <a:cubicBezTo>
                    <a:pt x="295" y="440"/>
                    <a:pt x="287" y="528"/>
                    <a:pt x="247" y="588"/>
                  </a:cubicBezTo>
                  <a:cubicBezTo>
                    <a:pt x="233" y="623"/>
                    <a:pt x="235" y="632"/>
                    <a:pt x="219" y="680"/>
                  </a:cubicBezTo>
                  <a:cubicBezTo>
                    <a:pt x="215" y="720"/>
                    <a:pt x="203" y="725"/>
                    <a:pt x="183" y="753"/>
                  </a:cubicBezTo>
                  <a:cubicBezTo>
                    <a:pt x="173" y="772"/>
                    <a:pt x="174" y="780"/>
                    <a:pt x="161" y="800"/>
                  </a:cubicBezTo>
                  <a:cubicBezTo>
                    <a:pt x="144" y="813"/>
                    <a:pt x="98" y="825"/>
                    <a:pt x="83" y="849"/>
                  </a:cubicBezTo>
                  <a:cubicBezTo>
                    <a:pt x="60" y="860"/>
                    <a:pt x="27" y="862"/>
                    <a:pt x="20" y="866"/>
                  </a:cubicBezTo>
                  <a:cubicBezTo>
                    <a:pt x="0" y="878"/>
                    <a:pt x="33" y="866"/>
                    <a:pt x="36" y="881"/>
                  </a:cubicBezTo>
                  <a:cubicBezTo>
                    <a:pt x="50" y="921"/>
                    <a:pt x="90" y="912"/>
                    <a:pt x="105" y="927"/>
                  </a:cubicBezTo>
                  <a:cubicBezTo>
                    <a:pt x="129" y="959"/>
                    <a:pt x="141" y="962"/>
                    <a:pt x="163" y="991"/>
                  </a:cubicBezTo>
                  <a:cubicBezTo>
                    <a:pt x="170" y="1017"/>
                    <a:pt x="206" y="1035"/>
                    <a:pt x="225" y="1076"/>
                  </a:cubicBezTo>
                  <a:cubicBezTo>
                    <a:pt x="248" y="1083"/>
                    <a:pt x="257" y="1079"/>
                    <a:pt x="281" y="1086"/>
                  </a:cubicBezTo>
                  <a:cubicBezTo>
                    <a:pt x="293" y="1090"/>
                    <a:pt x="315" y="1111"/>
                    <a:pt x="315" y="1111"/>
                  </a:cubicBezTo>
                  <a:cubicBezTo>
                    <a:pt x="319" y="1199"/>
                    <a:pt x="288" y="1233"/>
                    <a:pt x="375" y="1231"/>
                  </a:cubicBezTo>
                  <a:cubicBezTo>
                    <a:pt x="391" y="1235"/>
                    <a:pt x="399" y="1226"/>
                    <a:pt x="422" y="1233"/>
                  </a:cubicBezTo>
                  <a:cubicBezTo>
                    <a:pt x="430" y="1237"/>
                    <a:pt x="462" y="1251"/>
                    <a:pt x="462" y="1251"/>
                  </a:cubicBezTo>
                  <a:cubicBezTo>
                    <a:pt x="473" y="1253"/>
                    <a:pt x="475" y="1254"/>
                    <a:pt x="491" y="1248"/>
                  </a:cubicBezTo>
                  <a:cubicBezTo>
                    <a:pt x="497" y="1235"/>
                    <a:pt x="498" y="1226"/>
                    <a:pt x="557" y="1206"/>
                  </a:cubicBezTo>
                  <a:cubicBezTo>
                    <a:pt x="581" y="1214"/>
                    <a:pt x="609" y="1265"/>
                    <a:pt x="600" y="1301"/>
                  </a:cubicBezTo>
                  <a:cubicBezTo>
                    <a:pt x="604" y="1309"/>
                    <a:pt x="618" y="1301"/>
                    <a:pt x="629" y="1316"/>
                  </a:cubicBezTo>
                  <a:cubicBezTo>
                    <a:pt x="641" y="1320"/>
                    <a:pt x="656" y="1329"/>
                    <a:pt x="656" y="1329"/>
                  </a:cubicBezTo>
                  <a:cubicBezTo>
                    <a:pt x="698" y="1392"/>
                    <a:pt x="678" y="1401"/>
                    <a:pt x="685" y="1415"/>
                  </a:cubicBezTo>
                  <a:cubicBezTo>
                    <a:pt x="704" y="1421"/>
                    <a:pt x="707" y="1423"/>
                    <a:pt x="725" y="1425"/>
                  </a:cubicBezTo>
                  <a:cubicBezTo>
                    <a:pt x="747" y="1428"/>
                    <a:pt x="771" y="1425"/>
                    <a:pt x="795" y="1425"/>
                  </a:cubicBezTo>
                  <a:cubicBezTo>
                    <a:pt x="871" y="1421"/>
                    <a:pt x="942" y="1409"/>
                    <a:pt x="1026" y="1397"/>
                  </a:cubicBezTo>
                  <a:cubicBezTo>
                    <a:pt x="1074" y="1389"/>
                    <a:pt x="1122" y="1385"/>
                    <a:pt x="1175" y="1380"/>
                  </a:cubicBezTo>
                  <a:cubicBezTo>
                    <a:pt x="1196" y="1371"/>
                    <a:pt x="1230" y="1359"/>
                    <a:pt x="1230" y="1359"/>
                  </a:cubicBezTo>
                  <a:cubicBezTo>
                    <a:pt x="1242" y="1351"/>
                    <a:pt x="1251" y="1346"/>
                    <a:pt x="1263" y="1338"/>
                  </a:cubicBezTo>
                  <a:cubicBezTo>
                    <a:pt x="1267" y="1322"/>
                    <a:pt x="1295" y="1307"/>
                    <a:pt x="1311" y="1295"/>
                  </a:cubicBezTo>
                  <a:cubicBezTo>
                    <a:pt x="1323" y="1274"/>
                    <a:pt x="1343" y="1257"/>
                    <a:pt x="1355" y="1233"/>
                  </a:cubicBezTo>
                  <a:cubicBezTo>
                    <a:pt x="1382" y="1216"/>
                    <a:pt x="1428" y="1213"/>
                    <a:pt x="1455" y="1203"/>
                  </a:cubicBezTo>
                  <a:cubicBezTo>
                    <a:pt x="1476" y="1182"/>
                    <a:pt x="1519" y="1175"/>
                    <a:pt x="1519" y="1175"/>
                  </a:cubicBezTo>
                  <a:cubicBezTo>
                    <a:pt x="1527" y="1167"/>
                    <a:pt x="1557" y="1158"/>
                    <a:pt x="1557" y="1158"/>
                  </a:cubicBezTo>
                  <a:cubicBezTo>
                    <a:pt x="1581" y="1162"/>
                    <a:pt x="1605" y="1154"/>
                    <a:pt x="1629" y="1158"/>
                  </a:cubicBezTo>
                  <a:cubicBezTo>
                    <a:pt x="1670" y="1172"/>
                    <a:pt x="1773" y="1197"/>
                    <a:pt x="1803" y="1195"/>
                  </a:cubicBezTo>
                  <a:cubicBezTo>
                    <a:pt x="1811" y="1195"/>
                    <a:pt x="1871" y="1219"/>
                    <a:pt x="1847" y="1195"/>
                  </a:cubicBez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  <p:sp>
          <p:nvSpPr>
            <p:cNvPr id="31" name="Freeform 87"/>
            <p:cNvSpPr>
              <a:spLocks noChangeAspect="1"/>
            </p:cNvSpPr>
            <p:nvPr/>
          </p:nvSpPr>
          <p:spPr bwMode="auto">
            <a:xfrm>
              <a:off x="3202" y="3292"/>
              <a:ext cx="334" cy="253"/>
            </a:xfrm>
            <a:custGeom>
              <a:avLst/>
              <a:gdLst>
                <a:gd name="T0" fmla="*/ 0 w 1320"/>
                <a:gd name="T1" fmla="*/ 0 h 999"/>
                <a:gd name="T2" fmla="*/ 0 w 1320"/>
                <a:gd name="T3" fmla="*/ 0 h 999"/>
                <a:gd name="T4" fmla="*/ 0 w 1320"/>
                <a:gd name="T5" fmla="*/ 0 h 999"/>
                <a:gd name="T6" fmla="*/ 0 w 1320"/>
                <a:gd name="T7" fmla="*/ 0 h 999"/>
                <a:gd name="T8" fmla="*/ 0 w 1320"/>
                <a:gd name="T9" fmla="*/ 0 h 999"/>
                <a:gd name="T10" fmla="*/ 0 w 1320"/>
                <a:gd name="T11" fmla="*/ 0 h 999"/>
                <a:gd name="T12" fmla="*/ 0 w 1320"/>
                <a:gd name="T13" fmla="*/ 0 h 999"/>
                <a:gd name="T14" fmla="*/ 0 w 1320"/>
                <a:gd name="T15" fmla="*/ 0 h 999"/>
                <a:gd name="T16" fmla="*/ 0 w 1320"/>
                <a:gd name="T17" fmla="*/ 0 h 999"/>
                <a:gd name="T18" fmla="*/ 0 w 1320"/>
                <a:gd name="T19" fmla="*/ 0 h 999"/>
                <a:gd name="T20" fmla="*/ 0 w 1320"/>
                <a:gd name="T21" fmla="*/ 0 h 999"/>
                <a:gd name="T22" fmla="*/ 0 w 1320"/>
                <a:gd name="T23" fmla="*/ 0 h 999"/>
                <a:gd name="T24" fmla="*/ 0 w 1320"/>
                <a:gd name="T25" fmla="*/ 0 h 999"/>
                <a:gd name="T26" fmla="*/ 0 w 1320"/>
                <a:gd name="T27" fmla="*/ 0 h 999"/>
                <a:gd name="T28" fmla="*/ 0 w 1320"/>
                <a:gd name="T29" fmla="*/ 0 h 999"/>
                <a:gd name="T30" fmla="*/ 0 w 1320"/>
                <a:gd name="T31" fmla="*/ 0 h 999"/>
                <a:gd name="T32" fmla="*/ 0 w 1320"/>
                <a:gd name="T33" fmla="*/ 0 h 999"/>
                <a:gd name="T34" fmla="*/ 0 w 1320"/>
                <a:gd name="T35" fmla="*/ 0 h 999"/>
                <a:gd name="T36" fmla="*/ 0 w 1320"/>
                <a:gd name="T37" fmla="*/ 0 h 999"/>
                <a:gd name="T38" fmla="*/ 0 w 1320"/>
                <a:gd name="T39" fmla="*/ 0 h 999"/>
                <a:gd name="T40" fmla="*/ 0 w 1320"/>
                <a:gd name="T41" fmla="*/ 0 h 999"/>
                <a:gd name="T42" fmla="*/ 0 w 1320"/>
                <a:gd name="T43" fmla="*/ 0 h 999"/>
                <a:gd name="T44" fmla="*/ 0 w 1320"/>
                <a:gd name="T45" fmla="*/ 0 h 999"/>
                <a:gd name="T46" fmla="*/ 0 w 1320"/>
                <a:gd name="T47" fmla="*/ 0 h 999"/>
                <a:gd name="T48" fmla="*/ 0 w 1320"/>
                <a:gd name="T49" fmla="*/ 0 h 999"/>
                <a:gd name="T50" fmla="*/ 0 w 1320"/>
                <a:gd name="T51" fmla="*/ 0 h 999"/>
                <a:gd name="T52" fmla="*/ 0 w 1320"/>
                <a:gd name="T53" fmla="*/ 0 h 999"/>
                <a:gd name="T54" fmla="*/ 0 w 1320"/>
                <a:gd name="T55" fmla="*/ 0 h 999"/>
                <a:gd name="T56" fmla="*/ 0 w 1320"/>
                <a:gd name="T57" fmla="*/ 0 h 999"/>
                <a:gd name="T58" fmla="*/ 0 w 1320"/>
                <a:gd name="T59" fmla="*/ 0 h 999"/>
                <a:gd name="T60" fmla="*/ 0 w 1320"/>
                <a:gd name="T61" fmla="*/ 0 h 999"/>
                <a:gd name="T62" fmla="*/ 0 w 1320"/>
                <a:gd name="T63" fmla="*/ 0 h 999"/>
                <a:gd name="T64" fmla="*/ 0 w 1320"/>
                <a:gd name="T65" fmla="*/ 0 h 999"/>
                <a:gd name="T66" fmla="*/ 0 w 1320"/>
                <a:gd name="T67" fmla="*/ 0 h 999"/>
                <a:gd name="T68" fmla="*/ 0 w 1320"/>
                <a:gd name="T69" fmla="*/ 0 h 999"/>
                <a:gd name="T70" fmla="*/ 0 w 1320"/>
                <a:gd name="T71" fmla="*/ 0 h 999"/>
                <a:gd name="T72" fmla="*/ 0 w 1320"/>
                <a:gd name="T73" fmla="*/ 0 h 999"/>
                <a:gd name="T74" fmla="*/ 0 w 1320"/>
                <a:gd name="T75" fmla="*/ 0 h 999"/>
                <a:gd name="T76" fmla="*/ 0 w 1320"/>
                <a:gd name="T77" fmla="*/ 0 h 999"/>
                <a:gd name="T78" fmla="*/ 0 w 1320"/>
                <a:gd name="T79" fmla="*/ 0 h 999"/>
                <a:gd name="T80" fmla="*/ 0 w 1320"/>
                <a:gd name="T81" fmla="*/ 0 h 999"/>
                <a:gd name="T82" fmla="*/ 0 w 1320"/>
                <a:gd name="T83" fmla="*/ 0 h 999"/>
                <a:gd name="T84" fmla="*/ 0 w 1320"/>
                <a:gd name="T85" fmla="*/ 0 h 999"/>
                <a:gd name="T86" fmla="*/ 0 w 1320"/>
                <a:gd name="T87" fmla="*/ 0 h 999"/>
                <a:gd name="T88" fmla="*/ 0 w 1320"/>
                <a:gd name="T89" fmla="*/ 0 h 999"/>
                <a:gd name="T90" fmla="*/ 0 w 1320"/>
                <a:gd name="T91" fmla="*/ 0 h 999"/>
                <a:gd name="T92" fmla="*/ 0 w 1320"/>
                <a:gd name="T93" fmla="*/ 0 h 999"/>
                <a:gd name="T94" fmla="*/ 0 w 1320"/>
                <a:gd name="T95" fmla="*/ 0 h 999"/>
                <a:gd name="T96" fmla="*/ 0 w 1320"/>
                <a:gd name="T97" fmla="*/ 0 h 999"/>
                <a:gd name="T98" fmla="*/ 0 w 1320"/>
                <a:gd name="T99" fmla="*/ 0 h 999"/>
                <a:gd name="T100" fmla="*/ 0 w 1320"/>
                <a:gd name="T101" fmla="*/ 0 h 999"/>
                <a:gd name="T102" fmla="*/ 0 w 1320"/>
                <a:gd name="T103" fmla="*/ 0 h 999"/>
                <a:gd name="T104" fmla="*/ 0 w 1320"/>
                <a:gd name="T105" fmla="*/ 0 h 999"/>
                <a:gd name="T106" fmla="*/ 0 w 1320"/>
                <a:gd name="T107" fmla="*/ 0 h 999"/>
                <a:gd name="T108" fmla="*/ 0 w 1320"/>
                <a:gd name="T109" fmla="*/ 0 h 999"/>
                <a:gd name="T110" fmla="*/ 0 w 1320"/>
                <a:gd name="T111" fmla="*/ 0 h 999"/>
                <a:gd name="T112" fmla="*/ 0 w 1320"/>
                <a:gd name="T113" fmla="*/ 0 h 999"/>
                <a:gd name="T114" fmla="*/ 0 w 1320"/>
                <a:gd name="T115" fmla="*/ 0 h 999"/>
                <a:gd name="T116" fmla="*/ 0 w 1320"/>
                <a:gd name="T117" fmla="*/ 0 h 999"/>
                <a:gd name="T118" fmla="*/ 0 w 1320"/>
                <a:gd name="T119" fmla="*/ 0 h 999"/>
                <a:gd name="T120" fmla="*/ 0 w 1320"/>
                <a:gd name="T121" fmla="*/ 0 h 999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320"/>
                <a:gd name="T184" fmla="*/ 0 h 999"/>
                <a:gd name="T185" fmla="*/ 1320 w 1320"/>
                <a:gd name="T186" fmla="*/ 999 h 999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320" h="999">
                  <a:moveTo>
                    <a:pt x="1283" y="578"/>
                  </a:moveTo>
                  <a:cubicBezTo>
                    <a:pt x="1307" y="570"/>
                    <a:pt x="1284" y="527"/>
                    <a:pt x="1276" y="507"/>
                  </a:cubicBezTo>
                  <a:cubicBezTo>
                    <a:pt x="1272" y="500"/>
                    <a:pt x="1224" y="484"/>
                    <a:pt x="1216" y="480"/>
                  </a:cubicBezTo>
                  <a:cubicBezTo>
                    <a:pt x="1208" y="476"/>
                    <a:pt x="1192" y="464"/>
                    <a:pt x="1192" y="464"/>
                  </a:cubicBezTo>
                  <a:cubicBezTo>
                    <a:pt x="1172" y="436"/>
                    <a:pt x="1184" y="400"/>
                    <a:pt x="1188" y="368"/>
                  </a:cubicBezTo>
                  <a:cubicBezTo>
                    <a:pt x="1188" y="340"/>
                    <a:pt x="1192" y="316"/>
                    <a:pt x="1192" y="288"/>
                  </a:cubicBezTo>
                  <a:cubicBezTo>
                    <a:pt x="1200" y="164"/>
                    <a:pt x="1196" y="144"/>
                    <a:pt x="1312" y="128"/>
                  </a:cubicBezTo>
                  <a:cubicBezTo>
                    <a:pt x="1320" y="116"/>
                    <a:pt x="1292" y="56"/>
                    <a:pt x="1272" y="48"/>
                  </a:cubicBezTo>
                  <a:cubicBezTo>
                    <a:pt x="1256" y="40"/>
                    <a:pt x="1228" y="40"/>
                    <a:pt x="1216" y="40"/>
                  </a:cubicBezTo>
                  <a:cubicBezTo>
                    <a:pt x="1176" y="28"/>
                    <a:pt x="1144" y="20"/>
                    <a:pt x="1104" y="16"/>
                  </a:cubicBezTo>
                  <a:cubicBezTo>
                    <a:pt x="1084" y="8"/>
                    <a:pt x="1064" y="4"/>
                    <a:pt x="1044" y="0"/>
                  </a:cubicBezTo>
                  <a:cubicBezTo>
                    <a:pt x="996" y="4"/>
                    <a:pt x="968" y="8"/>
                    <a:pt x="924" y="24"/>
                  </a:cubicBezTo>
                  <a:cubicBezTo>
                    <a:pt x="912" y="28"/>
                    <a:pt x="900" y="44"/>
                    <a:pt x="888" y="48"/>
                  </a:cubicBezTo>
                  <a:cubicBezTo>
                    <a:pt x="852" y="56"/>
                    <a:pt x="816" y="64"/>
                    <a:pt x="784" y="80"/>
                  </a:cubicBezTo>
                  <a:cubicBezTo>
                    <a:pt x="780" y="96"/>
                    <a:pt x="772" y="104"/>
                    <a:pt x="760" y="112"/>
                  </a:cubicBezTo>
                  <a:cubicBezTo>
                    <a:pt x="752" y="128"/>
                    <a:pt x="752" y="136"/>
                    <a:pt x="736" y="140"/>
                  </a:cubicBezTo>
                  <a:cubicBezTo>
                    <a:pt x="708" y="168"/>
                    <a:pt x="720" y="156"/>
                    <a:pt x="700" y="172"/>
                  </a:cubicBezTo>
                  <a:cubicBezTo>
                    <a:pt x="688" y="208"/>
                    <a:pt x="648" y="200"/>
                    <a:pt x="612" y="224"/>
                  </a:cubicBezTo>
                  <a:cubicBezTo>
                    <a:pt x="492" y="232"/>
                    <a:pt x="336" y="264"/>
                    <a:pt x="192" y="272"/>
                  </a:cubicBezTo>
                  <a:cubicBezTo>
                    <a:pt x="72" y="264"/>
                    <a:pt x="152" y="252"/>
                    <a:pt x="96" y="196"/>
                  </a:cubicBezTo>
                  <a:cubicBezTo>
                    <a:pt x="88" y="168"/>
                    <a:pt x="80" y="172"/>
                    <a:pt x="60" y="160"/>
                  </a:cubicBezTo>
                  <a:cubicBezTo>
                    <a:pt x="48" y="191"/>
                    <a:pt x="33" y="242"/>
                    <a:pt x="16" y="244"/>
                  </a:cubicBezTo>
                  <a:cubicBezTo>
                    <a:pt x="0" y="288"/>
                    <a:pt x="27" y="326"/>
                    <a:pt x="36" y="370"/>
                  </a:cubicBezTo>
                  <a:cubicBezTo>
                    <a:pt x="39" y="397"/>
                    <a:pt x="43" y="406"/>
                    <a:pt x="51" y="410"/>
                  </a:cubicBezTo>
                  <a:cubicBezTo>
                    <a:pt x="86" y="415"/>
                    <a:pt x="108" y="424"/>
                    <a:pt x="124" y="432"/>
                  </a:cubicBezTo>
                  <a:cubicBezTo>
                    <a:pt x="136" y="448"/>
                    <a:pt x="140" y="448"/>
                    <a:pt x="156" y="460"/>
                  </a:cubicBezTo>
                  <a:cubicBezTo>
                    <a:pt x="169" y="502"/>
                    <a:pt x="142" y="523"/>
                    <a:pt x="129" y="541"/>
                  </a:cubicBezTo>
                  <a:cubicBezTo>
                    <a:pt x="115" y="557"/>
                    <a:pt x="91" y="559"/>
                    <a:pt x="84" y="571"/>
                  </a:cubicBezTo>
                  <a:cubicBezTo>
                    <a:pt x="80" y="592"/>
                    <a:pt x="80" y="583"/>
                    <a:pt x="88" y="603"/>
                  </a:cubicBezTo>
                  <a:cubicBezTo>
                    <a:pt x="92" y="626"/>
                    <a:pt x="87" y="637"/>
                    <a:pt x="86" y="662"/>
                  </a:cubicBezTo>
                  <a:cubicBezTo>
                    <a:pt x="89" y="695"/>
                    <a:pt x="86" y="715"/>
                    <a:pt x="78" y="739"/>
                  </a:cubicBezTo>
                  <a:cubicBezTo>
                    <a:pt x="84" y="755"/>
                    <a:pt x="79" y="754"/>
                    <a:pt x="93" y="764"/>
                  </a:cubicBezTo>
                  <a:cubicBezTo>
                    <a:pt x="107" y="774"/>
                    <a:pt x="139" y="787"/>
                    <a:pt x="160" y="799"/>
                  </a:cubicBezTo>
                  <a:cubicBezTo>
                    <a:pt x="183" y="817"/>
                    <a:pt x="201" y="817"/>
                    <a:pt x="216" y="835"/>
                  </a:cubicBezTo>
                  <a:cubicBezTo>
                    <a:pt x="232" y="859"/>
                    <a:pt x="245" y="878"/>
                    <a:pt x="252" y="907"/>
                  </a:cubicBezTo>
                  <a:cubicBezTo>
                    <a:pt x="248" y="943"/>
                    <a:pt x="244" y="963"/>
                    <a:pt x="248" y="999"/>
                  </a:cubicBezTo>
                  <a:cubicBezTo>
                    <a:pt x="252" y="983"/>
                    <a:pt x="269" y="977"/>
                    <a:pt x="269" y="977"/>
                  </a:cubicBezTo>
                  <a:cubicBezTo>
                    <a:pt x="311" y="961"/>
                    <a:pt x="422" y="956"/>
                    <a:pt x="438" y="956"/>
                  </a:cubicBezTo>
                  <a:cubicBezTo>
                    <a:pt x="444" y="941"/>
                    <a:pt x="447" y="931"/>
                    <a:pt x="450" y="923"/>
                  </a:cubicBezTo>
                  <a:cubicBezTo>
                    <a:pt x="477" y="911"/>
                    <a:pt x="480" y="899"/>
                    <a:pt x="500" y="878"/>
                  </a:cubicBezTo>
                  <a:cubicBezTo>
                    <a:pt x="516" y="866"/>
                    <a:pt x="516" y="869"/>
                    <a:pt x="536" y="865"/>
                  </a:cubicBezTo>
                  <a:cubicBezTo>
                    <a:pt x="568" y="869"/>
                    <a:pt x="576" y="875"/>
                    <a:pt x="600" y="887"/>
                  </a:cubicBezTo>
                  <a:cubicBezTo>
                    <a:pt x="650" y="920"/>
                    <a:pt x="668" y="907"/>
                    <a:pt x="720" y="911"/>
                  </a:cubicBezTo>
                  <a:cubicBezTo>
                    <a:pt x="753" y="911"/>
                    <a:pt x="777" y="913"/>
                    <a:pt x="819" y="898"/>
                  </a:cubicBezTo>
                  <a:cubicBezTo>
                    <a:pt x="831" y="894"/>
                    <a:pt x="848" y="881"/>
                    <a:pt x="852" y="883"/>
                  </a:cubicBezTo>
                  <a:cubicBezTo>
                    <a:pt x="869" y="859"/>
                    <a:pt x="900" y="863"/>
                    <a:pt x="928" y="855"/>
                  </a:cubicBezTo>
                  <a:cubicBezTo>
                    <a:pt x="948" y="827"/>
                    <a:pt x="931" y="802"/>
                    <a:pt x="924" y="770"/>
                  </a:cubicBezTo>
                  <a:cubicBezTo>
                    <a:pt x="904" y="753"/>
                    <a:pt x="917" y="722"/>
                    <a:pt x="917" y="722"/>
                  </a:cubicBezTo>
                  <a:cubicBezTo>
                    <a:pt x="933" y="719"/>
                    <a:pt x="925" y="718"/>
                    <a:pt x="941" y="730"/>
                  </a:cubicBezTo>
                  <a:cubicBezTo>
                    <a:pt x="951" y="745"/>
                    <a:pt x="955" y="743"/>
                    <a:pt x="965" y="749"/>
                  </a:cubicBezTo>
                  <a:cubicBezTo>
                    <a:pt x="975" y="755"/>
                    <a:pt x="1001" y="769"/>
                    <a:pt x="1002" y="767"/>
                  </a:cubicBezTo>
                  <a:cubicBezTo>
                    <a:pt x="992" y="728"/>
                    <a:pt x="973" y="745"/>
                    <a:pt x="969" y="737"/>
                  </a:cubicBezTo>
                  <a:cubicBezTo>
                    <a:pt x="965" y="729"/>
                    <a:pt x="971" y="722"/>
                    <a:pt x="975" y="716"/>
                  </a:cubicBezTo>
                  <a:cubicBezTo>
                    <a:pt x="979" y="716"/>
                    <a:pt x="988" y="701"/>
                    <a:pt x="992" y="701"/>
                  </a:cubicBezTo>
                  <a:cubicBezTo>
                    <a:pt x="996" y="697"/>
                    <a:pt x="995" y="689"/>
                    <a:pt x="995" y="685"/>
                  </a:cubicBezTo>
                  <a:cubicBezTo>
                    <a:pt x="995" y="673"/>
                    <a:pt x="1003" y="663"/>
                    <a:pt x="1007" y="655"/>
                  </a:cubicBezTo>
                  <a:cubicBezTo>
                    <a:pt x="1011" y="644"/>
                    <a:pt x="1029" y="642"/>
                    <a:pt x="1037" y="638"/>
                  </a:cubicBezTo>
                  <a:cubicBezTo>
                    <a:pt x="1065" y="620"/>
                    <a:pt x="1082" y="598"/>
                    <a:pt x="1118" y="586"/>
                  </a:cubicBezTo>
                  <a:cubicBezTo>
                    <a:pt x="1145" y="581"/>
                    <a:pt x="1157" y="602"/>
                    <a:pt x="1200" y="603"/>
                  </a:cubicBezTo>
                  <a:cubicBezTo>
                    <a:pt x="1222" y="603"/>
                    <a:pt x="1243" y="600"/>
                    <a:pt x="1257" y="596"/>
                  </a:cubicBezTo>
                  <a:cubicBezTo>
                    <a:pt x="1271" y="592"/>
                    <a:pt x="1266" y="583"/>
                    <a:pt x="1283" y="578"/>
                  </a:cubicBez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  <p:sp>
          <p:nvSpPr>
            <p:cNvPr id="32" name="Freeform 88"/>
            <p:cNvSpPr>
              <a:spLocks noChangeAspect="1"/>
            </p:cNvSpPr>
            <p:nvPr/>
          </p:nvSpPr>
          <p:spPr bwMode="auto">
            <a:xfrm>
              <a:off x="3124" y="3471"/>
              <a:ext cx="142" cy="130"/>
            </a:xfrm>
            <a:custGeom>
              <a:avLst/>
              <a:gdLst>
                <a:gd name="T0" fmla="*/ 0 w 559"/>
                <a:gd name="T1" fmla="*/ 0 h 512"/>
                <a:gd name="T2" fmla="*/ 0 w 559"/>
                <a:gd name="T3" fmla="*/ 0 h 512"/>
                <a:gd name="T4" fmla="*/ 0 w 559"/>
                <a:gd name="T5" fmla="*/ 0 h 512"/>
                <a:gd name="T6" fmla="*/ 0 w 559"/>
                <a:gd name="T7" fmla="*/ 0 h 512"/>
                <a:gd name="T8" fmla="*/ 0 w 559"/>
                <a:gd name="T9" fmla="*/ 0 h 512"/>
                <a:gd name="T10" fmla="*/ 0 w 559"/>
                <a:gd name="T11" fmla="*/ 0 h 512"/>
                <a:gd name="T12" fmla="*/ 0 w 559"/>
                <a:gd name="T13" fmla="*/ 0 h 512"/>
                <a:gd name="T14" fmla="*/ 0 w 559"/>
                <a:gd name="T15" fmla="*/ 0 h 512"/>
                <a:gd name="T16" fmla="*/ 0 w 559"/>
                <a:gd name="T17" fmla="*/ 0 h 512"/>
                <a:gd name="T18" fmla="*/ 0 w 559"/>
                <a:gd name="T19" fmla="*/ 0 h 512"/>
                <a:gd name="T20" fmla="*/ 0 w 559"/>
                <a:gd name="T21" fmla="*/ 0 h 512"/>
                <a:gd name="T22" fmla="*/ 0 w 559"/>
                <a:gd name="T23" fmla="*/ 0 h 512"/>
                <a:gd name="T24" fmla="*/ 0 w 559"/>
                <a:gd name="T25" fmla="*/ 0 h 512"/>
                <a:gd name="T26" fmla="*/ 0 w 559"/>
                <a:gd name="T27" fmla="*/ 0 h 512"/>
                <a:gd name="T28" fmla="*/ 0 w 559"/>
                <a:gd name="T29" fmla="*/ 0 h 512"/>
                <a:gd name="T30" fmla="*/ 0 w 559"/>
                <a:gd name="T31" fmla="*/ 0 h 512"/>
                <a:gd name="T32" fmla="*/ 0 w 559"/>
                <a:gd name="T33" fmla="*/ 0 h 512"/>
                <a:gd name="T34" fmla="*/ 0 w 559"/>
                <a:gd name="T35" fmla="*/ 0 h 512"/>
                <a:gd name="T36" fmla="*/ 0 w 559"/>
                <a:gd name="T37" fmla="*/ 0 h 512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559"/>
                <a:gd name="T58" fmla="*/ 0 h 512"/>
                <a:gd name="T59" fmla="*/ 559 w 559"/>
                <a:gd name="T60" fmla="*/ 512 h 512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559" h="512">
                  <a:moveTo>
                    <a:pt x="380" y="28"/>
                  </a:moveTo>
                  <a:cubicBezTo>
                    <a:pt x="310" y="36"/>
                    <a:pt x="242" y="57"/>
                    <a:pt x="200" y="83"/>
                  </a:cubicBezTo>
                  <a:cubicBezTo>
                    <a:pt x="184" y="87"/>
                    <a:pt x="155" y="102"/>
                    <a:pt x="155" y="102"/>
                  </a:cubicBezTo>
                  <a:cubicBezTo>
                    <a:pt x="110" y="107"/>
                    <a:pt x="74" y="123"/>
                    <a:pt x="52" y="160"/>
                  </a:cubicBezTo>
                  <a:cubicBezTo>
                    <a:pt x="48" y="180"/>
                    <a:pt x="49" y="188"/>
                    <a:pt x="32" y="200"/>
                  </a:cubicBezTo>
                  <a:cubicBezTo>
                    <a:pt x="16" y="220"/>
                    <a:pt x="5" y="227"/>
                    <a:pt x="0" y="268"/>
                  </a:cubicBezTo>
                  <a:cubicBezTo>
                    <a:pt x="4" y="308"/>
                    <a:pt x="5" y="341"/>
                    <a:pt x="16" y="380"/>
                  </a:cubicBezTo>
                  <a:cubicBezTo>
                    <a:pt x="23" y="401"/>
                    <a:pt x="27" y="421"/>
                    <a:pt x="43" y="437"/>
                  </a:cubicBezTo>
                  <a:cubicBezTo>
                    <a:pt x="51" y="457"/>
                    <a:pt x="76" y="467"/>
                    <a:pt x="80" y="484"/>
                  </a:cubicBezTo>
                  <a:cubicBezTo>
                    <a:pt x="94" y="494"/>
                    <a:pt x="101" y="491"/>
                    <a:pt x="121" y="512"/>
                  </a:cubicBezTo>
                  <a:cubicBezTo>
                    <a:pt x="154" y="503"/>
                    <a:pt x="184" y="492"/>
                    <a:pt x="216" y="484"/>
                  </a:cubicBezTo>
                  <a:cubicBezTo>
                    <a:pt x="248" y="477"/>
                    <a:pt x="275" y="468"/>
                    <a:pt x="298" y="456"/>
                  </a:cubicBezTo>
                  <a:cubicBezTo>
                    <a:pt x="313" y="447"/>
                    <a:pt x="317" y="440"/>
                    <a:pt x="329" y="426"/>
                  </a:cubicBezTo>
                  <a:cubicBezTo>
                    <a:pt x="356" y="395"/>
                    <a:pt x="352" y="397"/>
                    <a:pt x="392" y="369"/>
                  </a:cubicBezTo>
                  <a:cubicBezTo>
                    <a:pt x="433" y="360"/>
                    <a:pt x="542" y="398"/>
                    <a:pt x="556" y="284"/>
                  </a:cubicBezTo>
                  <a:cubicBezTo>
                    <a:pt x="555" y="257"/>
                    <a:pt x="557" y="233"/>
                    <a:pt x="559" y="198"/>
                  </a:cubicBezTo>
                  <a:cubicBezTo>
                    <a:pt x="552" y="166"/>
                    <a:pt x="535" y="140"/>
                    <a:pt x="508" y="116"/>
                  </a:cubicBezTo>
                  <a:cubicBezTo>
                    <a:pt x="464" y="92"/>
                    <a:pt x="432" y="68"/>
                    <a:pt x="396" y="56"/>
                  </a:cubicBezTo>
                  <a:cubicBezTo>
                    <a:pt x="392" y="48"/>
                    <a:pt x="380" y="0"/>
                    <a:pt x="380" y="28"/>
                  </a:cubicBez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  <p:sp>
          <p:nvSpPr>
            <p:cNvPr id="33" name="Freeform 89"/>
            <p:cNvSpPr>
              <a:spLocks noChangeAspect="1"/>
            </p:cNvSpPr>
            <p:nvPr/>
          </p:nvSpPr>
          <p:spPr bwMode="auto">
            <a:xfrm>
              <a:off x="3053" y="3476"/>
              <a:ext cx="117" cy="232"/>
            </a:xfrm>
            <a:custGeom>
              <a:avLst/>
              <a:gdLst>
                <a:gd name="T0" fmla="*/ 0 w 467"/>
                <a:gd name="T1" fmla="*/ 0 h 920"/>
                <a:gd name="T2" fmla="*/ 0 w 467"/>
                <a:gd name="T3" fmla="*/ 0 h 920"/>
                <a:gd name="T4" fmla="*/ 0 w 467"/>
                <a:gd name="T5" fmla="*/ 0 h 920"/>
                <a:gd name="T6" fmla="*/ 0 w 467"/>
                <a:gd name="T7" fmla="*/ 0 h 920"/>
                <a:gd name="T8" fmla="*/ 0 w 467"/>
                <a:gd name="T9" fmla="*/ 0 h 920"/>
                <a:gd name="T10" fmla="*/ 0 w 467"/>
                <a:gd name="T11" fmla="*/ 0 h 920"/>
                <a:gd name="T12" fmla="*/ 0 w 467"/>
                <a:gd name="T13" fmla="*/ 0 h 920"/>
                <a:gd name="T14" fmla="*/ 0 w 467"/>
                <a:gd name="T15" fmla="*/ 0 h 920"/>
                <a:gd name="T16" fmla="*/ 0 w 467"/>
                <a:gd name="T17" fmla="*/ 0 h 920"/>
                <a:gd name="T18" fmla="*/ 0 w 467"/>
                <a:gd name="T19" fmla="*/ 0 h 920"/>
                <a:gd name="T20" fmla="*/ 0 w 467"/>
                <a:gd name="T21" fmla="*/ 0 h 920"/>
                <a:gd name="T22" fmla="*/ 0 w 467"/>
                <a:gd name="T23" fmla="*/ 0 h 920"/>
                <a:gd name="T24" fmla="*/ 0 w 467"/>
                <a:gd name="T25" fmla="*/ 0 h 920"/>
                <a:gd name="T26" fmla="*/ 0 w 467"/>
                <a:gd name="T27" fmla="*/ 0 h 920"/>
                <a:gd name="T28" fmla="*/ 0 w 467"/>
                <a:gd name="T29" fmla="*/ 0 h 920"/>
                <a:gd name="T30" fmla="*/ 0 w 467"/>
                <a:gd name="T31" fmla="*/ 0 h 920"/>
                <a:gd name="T32" fmla="*/ 0 w 467"/>
                <a:gd name="T33" fmla="*/ 0 h 920"/>
                <a:gd name="T34" fmla="*/ 0 w 467"/>
                <a:gd name="T35" fmla="*/ 0 h 920"/>
                <a:gd name="T36" fmla="*/ 0 w 467"/>
                <a:gd name="T37" fmla="*/ 0 h 920"/>
                <a:gd name="T38" fmla="*/ 0 w 467"/>
                <a:gd name="T39" fmla="*/ 0 h 920"/>
                <a:gd name="T40" fmla="*/ 0 w 467"/>
                <a:gd name="T41" fmla="*/ 0 h 920"/>
                <a:gd name="T42" fmla="*/ 0 w 467"/>
                <a:gd name="T43" fmla="*/ 0 h 920"/>
                <a:gd name="T44" fmla="*/ 0 w 467"/>
                <a:gd name="T45" fmla="*/ 0 h 920"/>
                <a:gd name="T46" fmla="*/ 0 w 467"/>
                <a:gd name="T47" fmla="*/ 0 h 920"/>
                <a:gd name="T48" fmla="*/ 0 w 467"/>
                <a:gd name="T49" fmla="*/ 0 h 920"/>
                <a:gd name="T50" fmla="*/ 0 w 467"/>
                <a:gd name="T51" fmla="*/ 0 h 920"/>
                <a:gd name="T52" fmla="*/ 0 w 467"/>
                <a:gd name="T53" fmla="*/ 0 h 920"/>
                <a:gd name="T54" fmla="*/ 0 w 467"/>
                <a:gd name="T55" fmla="*/ 0 h 920"/>
                <a:gd name="T56" fmla="*/ 0 w 467"/>
                <a:gd name="T57" fmla="*/ 0 h 920"/>
                <a:gd name="T58" fmla="*/ 0 w 467"/>
                <a:gd name="T59" fmla="*/ 0 h 920"/>
                <a:gd name="T60" fmla="*/ 0 w 467"/>
                <a:gd name="T61" fmla="*/ 0 h 920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467"/>
                <a:gd name="T94" fmla="*/ 0 h 920"/>
                <a:gd name="T95" fmla="*/ 467 w 467"/>
                <a:gd name="T96" fmla="*/ 920 h 920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467" h="920">
                  <a:moveTo>
                    <a:pt x="306" y="189"/>
                  </a:moveTo>
                  <a:cubicBezTo>
                    <a:pt x="294" y="186"/>
                    <a:pt x="283" y="154"/>
                    <a:pt x="291" y="134"/>
                  </a:cubicBezTo>
                  <a:cubicBezTo>
                    <a:pt x="285" y="119"/>
                    <a:pt x="278" y="105"/>
                    <a:pt x="273" y="93"/>
                  </a:cubicBezTo>
                  <a:cubicBezTo>
                    <a:pt x="259" y="84"/>
                    <a:pt x="230" y="90"/>
                    <a:pt x="209" y="78"/>
                  </a:cubicBezTo>
                  <a:cubicBezTo>
                    <a:pt x="186" y="68"/>
                    <a:pt x="191" y="56"/>
                    <a:pt x="185" y="50"/>
                  </a:cubicBezTo>
                  <a:cubicBezTo>
                    <a:pt x="175" y="43"/>
                    <a:pt x="159" y="36"/>
                    <a:pt x="147" y="35"/>
                  </a:cubicBezTo>
                  <a:cubicBezTo>
                    <a:pt x="139" y="47"/>
                    <a:pt x="138" y="35"/>
                    <a:pt x="122" y="39"/>
                  </a:cubicBezTo>
                  <a:cubicBezTo>
                    <a:pt x="94" y="31"/>
                    <a:pt x="102" y="18"/>
                    <a:pt x="84" y="0"/>
                  </a:cubicBezTo>
                  <a:cubicBezTo>
                    <a:pt x="54" y="23"/>
                    <a:pt x="41" y="54"/>
                    <a:pt x="31" y="74"/>
                  </a:cubicBezTo>
                  <a:cubicBezTo>
                    <a:pt x="23" y="102"/>
                    <a:pt x="18" y="111"/>
                    <a:pt x="8" y="129"/>
                  </a:cubicBezTo>
                  <a:cubicBezTo>
                    <a:pt x="0" y="149"/>
                    <a:pt x="3" y="135"/>
                    <a:pt x="17" y="146"/>
                  </a:cubicBezTo>
                  <a:cubicBezTo>
                    <a:pt x="26" y="164"/>
                    <a:pt x="29" y="176"/>
                    <a:pt x="35" y="192"/>
                  </a:cubicBezTo>
                  <a:cubicBezTo>
                    <a:pt x="39" y="228"/>
                    <a:pt x="51" y="258"/>
                    <a:pt x="87" y="274"/>
                  </a:cubicBezTo>
                  <a:cubicBezTo>
                    <a:pt x="91" y="290"/>
                    <a:pt x="87" y="294"/>
                    <a:pt x="79" y="310"/>
                  </a:cubicBezTo>
                  <a:cubicBezTo>
                    <a:pt x="67" y="350"/>
                    <a:pt x="87" y="634"/>
                    <a:pt x="103" y="642"/>
                  </a:cubicBezTo>
                  <a:cubicBezTo>
                    <a:pt x="119" y="674"/>
                    <a:pt x="131" y="714"/>
                    <a:pt x="143" y="746"/>
                  </a:cubicBezTo>
                  <a:cubicBezTo>
                    <a:pt x="147" y="762"/>
                    <a:pt x="207" y="766"/>
                    <a:pt x="223" y="770"/>
                  </a:cubicBezTo>
                  <a:cubicBezTo>
                    <a:pt x="235" y="778"/>
                    <a:pt x="239" y="790"/>
                    <a:pt x="255" y="794"/>
                  </a:cubicBezTo>
                  <a:cubicBezTo>
                    <a:pt x="279" y="834"/>
                    <a:pt x="308" y="884"/>
                    <a:pt x="332" y="920"/>
                  </a:cubicBezTo>
                  <a:cubicBezTo>
                    <a:pt x="341" y="897"/>
                    <a:pt x="326" y="840"/>
                    <a:pt x="327" y="807"/>
                  </a:cubicBezTo>
                  <a:cubicBezTo>
                    <a:pt x="335" y="774"/>
                    <a:pt x="288" y="749"/>
                    <a:pt x="384" y="720"/>
                  </a:cubicBezTo>
                  <a:cubicBezTo>
                    <a:pt x="396" y="696"/>
                    <a:pt x="405" y="674"/>
                    <a:pt x="398" y="644"/>
                  </a:cubicBezTo>
                  <a:cubicBezTo>
                    <a:pt x="384" y="617"/>
                    <a:pt x="402" y="611"/>
                    <a:pt x="434" y="599"/>
                  </a:cubicBezTo>
                  <a:cubicBezTo>
                    <a:pt x="467" y="609"/>
                    <a:pt x="453" y="581"/>
                    <a:pt x="437" y="542"/>
                  </a:cubicBezTo>
                  <a:cubicBezTo>
                    <a:pt x="429" y="530"/>
                    <a:pt x="431" y="516"/>
                    <a:pt x="423" y="504"/>
                  </a:cubicBezTo>
                  <a:cubicBezTo>
                    <a:pt x="419" y="496"/>
                    <a:pt x="403" y="494"/>
                    <a:pt x="403" y="494"/>
                  </a:cubicBezTo>
                  <a:cubicBezTo>
                    <a:pt x="391" y="482"/>
                    <a:pt x="367" y="466"/>
                    <a:pt x="367" y="466"/>
                  </a:cubicBezTo>
                  <a:cubicBezTo>
                    <a:pt x="355" y="450"/>
                    <a:pt x="342" y="434"/>
                    <a:pt x="327" y="422"/>
                  </a:cubicBezTo>
                  <a:cubicBezTo>
                    <a:pt x="315" y="402"/>
                    <a:pt x="295" y="374"/>
                    <a:pt x="291" y="334"/>
                  </a:cubicBezTo>
                  <a:cubicBezTo>
                    <a:pt x="285" y="304"/>
                    <a:pt x="281" y="263"/>
                    <a:pt x="282" y="243"/>
                  </a:cubicBezTo>
                  <a:cubicBezTo>
                    <a:pt x="285" y="219"/>
                    <a:pt x="303" y="195"/>
                    <a:pt x="306" y="189"/>
                  </a:cubicBez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  <p:grpSp>
          <p:nvGrpSpPr>
            <p:cNvPr id="34" name="Group 90"/>
            <p:cNvGrpSpPr>
              <a:grpSpLocks/>
            </p:cNvGrpSpPr>
            <p:nvPr/>
          </p:nvGrpSpPr>
          <p:grpSpPr bwMode="auto">
            <a:xfrm>
              <a:off x="3434" y="3438"/>
              <a:ext cx="173" cy="170"/>
              <a:chOff x="6214" y="7863"/>
              <a:chExt cx="684" cy="671"/>
            </a:xfrm>
            <a:grpFill/>
          </p:grpSpPr>
          <p:sp>
            <p:nvSpPr>
              <p:cNvPr id="69" name="Freeform 92"/>
              <p:cNvSpPr>
                <a:spLocks noChangeAspect="1"/>
              </p:cNvSpPr>
              <p:nvPr/>
            </p:nvSpPr>
            <p:spPr bwMode="auto">
              <a:xfrm>
                <a:off x="6214" y="8466"/>
                <a:ext cx="64" cy="68"/>
              </a:xfrm>
              <a:custGeom>
                <a:avLst/>
                <a:gdLst>
                  <a:gd name="T0" fmla="*/ 2147483647 w 16"/>
                  <a:gd name="T1" fmla="*/ 2147483647 h 17"/>
                  <a:gd name="T2" fmla="*/ 2147483647 w 16"/>
                  <a:gd name="T3" fmla="*/ 2147483647 h 17"/>
                  <a:gd name="T4" fmla="*/ 2147483647 w 16"/>
                  <a:gd name="T5" fmla="*/ 2147483647 h 17"/>
                  <a:gd name="T6" fmla="*/ 2147483647 w 16"/>
                  <a:gd name="T7" fmla="*/ 2147483647 h 17"/>
                  <a:gd name="T8" fmla="*/ 2147483647 w 16"/>
                  <a:gd name="T9" fmla="*/ 2147483647 h 1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6"/>
                  <a:gd name="T16" fmla="*/ 0 h 17"/>
                  <a:gd name="T17" fmla="*/ 16 w 16"/>
                  <a:gd name="T18" fmla="*/ 17 h 1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6" h="17">
                    <a:moveTo>
                      <a:pt x="13" y="3"/>
                    </a:moveTo>
                    <a:cubicBezTo>
                      <a:pt x="10" y="5"/>
                      <a:pt x="7" y="7"/>
                      <a:pt x="3" y="8"/>
                    </a:cubicBezTo>
                    <a:cubicBezTo>
                      <a:pt x="1" y="15"/>
                      <a:pt x="0" y="12"/>
                      <a:pt x="2" y="17"/>
                    </a:cubicBezTo>
                    <a:cubicBezTo>
                      <a:pt x="6" y="16"/>
                      <a:pt x="8" y="14"/>
                      <a:pt x="12" y="13"/>
                    </a:cubicBezTo>
                    <a:cubicBezTo>
                      <a:pt x="13" y="11"/>
                      <a:pt x="16" y="0"/>
                      <a:pt x="13" y="3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70" name="Freeform 93"/>
              <p:cNvSpPr>
                <a:spLocks noChangeAspect="1"/>
              </p:cNvSpPr>
              <p:nvPr/>
            </p:nvSpPr>
            <p:spPr bwMode="auto">
              <a:xfrm>
                <a:off x="6258" y="7863"/>
                <a:ext cx="640" cy="623"/>
              </a:xfrm>
              <a:custGeom>
                <a:avLst/>
                <a:gdLst>
                  <a:gd name="T0" fmla="*/ 340 w 640"/>
                  <a:gd name="T1" fmla="*/ 20 h 623"/>
                  <a:gd name="T2" fmla="*/ 384 w 640"/>
                  <a:gd name="T3" fmla="*/ 92 h 623"/>
                  <a:gd name="T4" fmla="*/ 468 w 640"/>
                  <a:gd name="T5" fmla="*/ 140 h 623"/>
                  <a:gd name="T6" fmla="*/ 604 w 640"/>
                  <a:gd name="T7" fmla="*/ 156 h 623"/>
                  <a:gd name="T8" fmla="*/ 588 w 640"/>
                  <a:gd name="T9" fmla="*/ 248 h 623"/>
                  <a:gd name="T10" fmla="*/ 516 w 640"/>
                  <a:gd name="T11" fmla="*/ 252 h 623"/>
                  <a:gd name="T12" fmla="*/ 472 w 640"/>
                  <a:gd name="T13" fmla="*/ 264 h 623"/>
                  <a:gd name="T14" fmla="*/ 388 w 640"/>
                  <a:gd name="T15" fmla="*/ 284 h 623"/>
                  <a:gd name="T16" fmla="*/ 324 w 640"/>
                  <a:gd name="T17" fmla="*/ 312 h 623"/>
                  <a:gd name="T18" fmla="*/ 280 w 640"/>
                  <a:gd name="T19" fmla="*/ 395 h 623"/>
                  <a:gd name="T20" fmla="*/ 208 w 640"/>
                  <a:gd name="T21" fmla="*/ 451 h 623"/>
                  <a:gd name="T22" fmla="*/ 160 w 640"/>
                  <a:gd name="T23" fmla="*/ 519 h 623"/>
                  <a:gd name="T24" fmla="*/ 84 w 640"/>
                  <a:gd name="T25" fmla="*/ 591 h 623"/>
                  <a:gd name="T26" fmla="*/ 56 w 640"/>
                  <a:gd name="T27" fmla="*/ 599 h 623"/>
                  <a:gd name="T28" fmla="*/ 100 w 640"/>
                  <a:gd name="T29" fmla="*/ 519 h 623"/>
                  <a:gd name="T30" fmla="*/ 124 w 640"/>
                  <a:gd name="T31" fmla="*/ 487 h 623"/>
                  <a:gd name="T32" fmla="*/ 72 w 640"/>
                  <a:gd name="T33" fmla="*/ 491 h 623"/>
                  <a:gd name="T34" fmla="*/ 0 w 640"/>
                  <a:gd name="T35" fmla="*/ 475 h 623"/>
                  <a:gd name="T36" fmla="*/ 28 w 640"/>
                  <a:gd name="T37" fmla="*/ 439 h 623"/>
                  <a:gd name="T38" fmla="*/ 48 w 640"/>
                  <a:gd name="T39" fmla="*/ 384 h 623"/>
                  <a:gd name="T40" fmla="*/ 38 w 640"/>
                  <a:gd name="T41" fmla="*/ 342 h 623"/>
                  <a:gd name="T42" fmla="*/ 81 w 640"/>
                  <a:gd name="T43" fmla="*/ 254 h 623"/>
                  <a:gd name="T44" fmla="*/ 42 w 640"/>
                  <a:gd name="T45" fmla="*/ 209 h 623"/>
                  <a:gd name="T46" fmla="*/ 4 w 640"/>
                  <a:gd name="T47" fmla="*/ 176 h 623"/>
                  <a:gd name="T48" fmla="*/ 28 w 640"/>
                  <a:gd name="T49" fmla="*/ 144 h 623"/>
                  <a:gd name="T50" fmla="*/ 48 w 640"/>
                  <a:gd name="T51" fmla="*/ 88 h 623"/>
                  <a:gd name="T52" fmla="*/ 72 w 640"/>
                  <a:gd name="T53" fmla="*/ 80 h 623"/>
                  <a:gd name="T54" fmla="*/ 156 w 640"/>
                  <a:gd name="T55" fmla="*/ 24 h 623"/>
                  <a:gd name="T56" fmla="*/ 216 w 640"/>
                  <a:gd name="T57" fmla="*/ 40 h 623"/>
                  <a:gd name="T58" fmla="*/ 296 w 640"/>
                  <a:gd name="T59" fmla="*/ 36 h 623"/>
                  <a:gd name="T60" fmla="*/ 340 w 640"/>
                  <a:gd name="T61" fmla="*/ 20 h 623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640"/>
                  <a:gd name="T94" fmla="*/ 0 h 623"/>
                  <a:gd name="T95" fmla="*/ 640 w 640"/>
                  <a:gd name="T96" fmla="*/ 623 h 623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640" h="623">
                    <a:moveTo>
                      <a:pt x="340" y="20"/>
                    </a:moveTo>
                    <a:cubicBezTo>
                      <a:pt x="352" y="56"/>
                      <a:pt x="352" y="72"/>
                      <a:pt x="384" y="92"/>
                    </a:cubicBezTo>
                    <a:cubicBezTo>
                      <a:pt x="400" y="136"/>
                      <a:pt x="424" y="136"/>
                      <a:pt x="468" y="140"/>
                    </a:cubicBezTo>
                    <a:cubicBezTo>
                      <a:pt x="512" y="148"/>
                      <a:pt x="604" y="156"/>
                      <a:pt x="604" y="156"/>
                    </a:cubicBezTo>
                    <a:cubicBezTo>
                      <a:pt x="640" y="168"/>
                      <a:pt x="616" y="244"/>
                      <a:pt x="588" y="248"/>
                    </a:cubicBezTo>
                    <a:cubicBezTo>
                      <a:pt x="564" y="252"/>
                      <a:pt x="540" y="252"/>
                      <a:pt x="516" y="252"/>
                    </a:cubicBezTo>
                    <a:cubicBezTo>
                      <a:pt x="500" y="256"/>
                      <a:pt x="472" y="264"/>
                      <a:pt x="472" y="264"/>
                    </a:cubicBezTo>
                    <a:cubicBezTo>
                      <a:pt x="444" y="284"/>
                      <a:pt x="424" y="280"/>
                      <a:pt x="388" y="284"/>
                    </a:cubicBezTo>
                    <a:cubicBezTo>
                      <a:pt x="368" y="292"/>
                      <a:pt x="344" y="300"/>
                      <a:pt x="324" y="312"/>
                    </a:cubicBezTo>
                    <a:cubicBezTo>
                      <a:pt x="316" y="339"/>
                      <a:pt x="312" y="383"/>
                      <a:pt x="280" y="395"/>
                    </a:cubicBezTo>
                    <a:cubicBezTo>
                      <a:pt x="264" y="415"/>
                      <a:pt x="232" y="443"/>
                      <a:pt x="208" y="451"/>
                    </a:cubicBezTo>
                    <a:cubicBezTo>
                      <a:pt x="196" y="471"/>
                      <a:pt x="180" y="507"/>
                      <a:pt x="160" y="519"/>
                    </a:cubicBezTo>
                    <a:cubicBezTo>
                      <a:pt x="152" y="535"/>
                      <a:pt x="104" y="583"/>
                      <a:pt x="84" y="591"/>
                    </a:cubicBezTo>
                    <a:cubicBezTo>
                      <a:pt x="80" y="615"/>
                      <a:pt x="68" y="623"/>
                      <a:pt x="56" y="599"/>
                    </a:cubicBezTo>
                    <a:cubicBezTo>
                      <a:pt x="64" y="579"/>
                      <a:pt x="80" y="531"/>
                      <a:pt x="100" y="519"/>
                    </a:cubicBezTo>
                    <a:cubicBezTo>
                      <a:pt x="108" y="499"/>
                      <a:pt x="120" y="503"/>
                      <a:pt x="124" y="487"/>
                    </a:cubicBezTo>
                    <a:cubicBezTo>
                      <a:pt x="116" y="447"/>
                      <a:pt x="96" y="483"/>
                      <a:pt x="72" y="491"/>
                    </a:cubicBezTo>
                    <a:cubicBezTo>
                      <a:pt x="40" y="487"/>
                      <a:pt x="28" y="479"/>
                      <a:pt x="0" y="475"/>
                    </a:cubicBezTo>
                    <a:cubicBezTo>
                      <a:pt x="12" y="463"/>
                      <a:pt x="16" y="451"/>
                      <a:pt x="28" y="439"/>
                    </a:cubicBezTo>
                    <a:cubicBezTo>
                      <a:pt x="32" y="423"/>
                      <a:pt x="44" y="400"/>
                      <a:pt x="48" y="384"/>
                    </a:cubicBezTo>
                    <a:cubicBezTo>
                      <a:pt x="44" y="364"/>
                      <a:pt x="46" y="362"/>
                      <a:pt x="38" y="342"/>
                    </a:cubicBezTo>
                    <a:cubicBezTo>
                      <a:pt x="42" y="303"/>
                      <a:pt x="59" y="275"/>
                      <a:pt x="81" y="254"/>
                    </a:cubicBezTo>
                    <a:cubicBezTo>
                      <a:pt x="83" y="232"/>
                      <a:pt x="55" y="222"/>
                      <a:pt x="42" y="209"/>
                    </a:cubicBezTo>
                    <a:cubicBezTo>
                      <a:pt x="38" y="194"/>
                      <a:pt x="42" y="183"/>
                      <a:pt x="4" y="176"/>
                    </a:cubicBezTo>
                    <a:cubicBezTo>
                      <a:pt x="8" y="160"/>
                      <a:pt x="16" y="152"/>
                      <a:pt x="28" y="144"/>
                    </a:cubicBezTo>
                    <a:cubicBezTo>
                      <a:pt x="36" y="128"/>
                      <a:pt x="40" y="100"/>
                      <a:pt x="48" y="88"/>
                    </a:cubicBezTo>
                    <a:cubicBezTo>
                      <a:pt x="52" y="80"/>
                      <a:pt x="64" y="84"/>
                      <a:pt x="72" y="80"/>
                    </a:cubicBezTo>
                    <a:cubicBezTo>
                      <a:pt x="100" y="60"/>
                      <a:pt x="128" y="44"/>
                      <a:pt x="156" y="24"/>
                    </a:cubicBezTo>
                    <a:cubicBezTo>
                      <a:pt x="176" y="28"/>
                      <a:pt x="216" y="40"/>
                      <a:pt x="216" y="40"/>
                    </a:cubicBezTo>
                    <a:cubicBezTo>
                      <a:pt x="236" y="56"/>
                      <a:pt x="272" y="36"/>
                      <a:pt x="296" y="36"/>
                    </a:cubicBezTo>
                    <a:cubicBezTo>
                      <a:pt x="300" y="32"/>
                      <a:pt x="340" y="0"/>
                      <a:pt x="340" y="2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</p:grpSp>
        <p:sp>
          <p:nvSpPr>
            <p:cNvPr id="35" name="Freeform 94"/>
            <p:cNvSpPr>
              <a:spLocks noChangeAspect="1"/>
            </p:cNvSpPr>
            <p:nvPr/>
          </p:nvSpPr>
          <p:spPr bwMode="auto">
            <a:xfrm>
              <a:off x="2842" y="3300"/>
              <a:ext cx="211" cy="192"/>
            </a:xfrm>
            <a:custGeom>
              <a:avLst/>
              <a:gdLst>
                <a:gd name="T0" fmla="*/ 0 w 837"/>
                <a:gd name="T1" fmla="*/ 0 h 756"/>
                <a:gd name="T2" fmla="*/ 0 w 837"/>
                <a:gd name="T3" fmla="*/ 0 h 756"/>
                <a:gd name="T4" fmla="*/ 0 w 837"/>
                <a:gd name="T5" fmla="*/ 0 h 756"/>
                <a:gd name="T6" fmla="*/ 0 w 837"/>
                <a:gd name="T7" fmla="*/ 0 h 756"/>
                <a:gd name="T8" fmla="*/ 0 w 837"/>
                <a:gd name="T9" fmla="*/ 0 h 756"/>
                <a:gd name="T10" fmla="*/ 0 w 837"/>
                <a:gd name="T11" fmla="*/ 0 h 756"/>
                <a:gd name="T12" fmla="*/ 0 w 837"/>
                <a:gd name="T13" fmla="*/ 0 h 756"/>
                <a:gd name="T14" fmla="*/ 0 w 837"/>
                <a:gd name="T15" fmla="*/ 0 h 756"/>
                <a:gd name="T16" fmla="*/ 0 w 837"/>
                <a:gd name="T17" fmla="*/ 0 h 756"/>
                <a:gd name="T18" fmla="*/ 0 w 837"/>
                <a:gd name="T19" fmla="*/ 0 h 756"/>
                <a:gd name="T20" fmla="*/ 0 w 837"/>
                <a:gd name="T21" fmla="*/ 0 h 756"/>
                <a:gd name="T22" fmla="*/ 0 w 837"/>
                <a:gd name="T23" fmla="*/ 0 h 756"/>
                <a:gd name="T24" fmla="*/ 0 w 837"/>
                <a:gd name="T25" fmla="*/ 0 h 756"/>
                <a:gd name="T26" fmla="*/ 0 w 837"/>
                <a:gd name="T27" fmla="*/ 0 h 756"/>
                <a:gd name="T28" fmla="*/ 0 w 837"/>
                <a:gd name="T29" fmla="*/ 0 h 756"/>
                <a:gd name="T30" fmla="*/ 0 w 837"/>
                <a:gd name="T31" fmla="*/ 0 h 756"/>
                <a:gd name="T32" fmla="*/ 0 w 837"/>
                <a:gd name="T33" fmla="*/ 0 h 756"/>
                <a:gd name="T34" fmla="*/ 0 w 837"/>
                <a:gd name="T35" fmla="*/ 0 h 756"/>
                <a:gd name="T36" fmla="*/ 0 w 837"/>
                <a:gd name="T37" fmla="*/ 0 h 756"/>
                <a:gd name="T38" fmla="*/ 0 w 837"/>
                <a:gd name="T39" fmla="*/ 0 h 756"/>
                <a:gd name="T40" fmla="*/ 0 w 837"/>
                <a:gd name="T41" fmla="*/ 0 h 756"/>
                <a:gd name="T42" fmla="*/ 0 w 837"/>
                <a:gd name="T43" fmla="*/ 0 h 756"/>
                <a:gd name="T44" fmla="*/ 0 w 837"/>
                <a:gd name="T45" fmla="*/ 0 h 756"/>
                <a:gd name="T46" fmla="*/ 0 w 837"/>
                <a:gd name="T47" fmla="*/ 0 h 756"/>
                <a:gd name="T48" fmla="*/ 0 w 837"/>
                <a:gd name="T49" fmla="*/ 0 h 756"/>
                <a:gd name="T50" fmla="*/ 0 w 837"/>
                <a:gd name="T51" fmla="*/ 0 h 756"/>
                <a:gd name="T52" fmla="*/ 0 w 837"/>
                <a:gd name="T53" fmla="*/ 0 h 756"/>
                <a:gd name="T54" fmla="*/ 0 w 837"/>
                <a:gd name="T55" fmla="*/ 0 h 756"/>
                <a:gd name="T56" fmla="*/ 0 w 837"/>
                <a:gd name="T57" fmla="*/ 0 h 756"/>
                <a:gd name="T58" fmla="*/ 0 w 837"/>
                <a:gd name="T59" fmla="*/ 0 h 756"/>
                <a:gd name="T60" fmla="*/ 0 w 837"/>
                <a:gd name="T61" fmla="*/ 0 h 756"/>
                <a:gd name="T62" fmla="*/ 0 w 837"/>
                <a:gd name="T63" fmla="*/ 0 h 756"/>
                <a:gd name="T64" fmla="*/ 0 w 837"/>
                <a:gd name="T65" fmla="*/ 0 h 756"/>
                <a:gd name="T66" fmla="*/ 0 w 837"/>
                <a:gd name="T67" fmla="*/ 0 h 756"/>
                <a:gd name="T68" fmla="*/ 0 w 837"/>
                <a:gd name="T69" fmla="*/ 0 h 756"/>
                <a:gd name="T70" fmla="*/ 0 w 837"/>
                <a:gd name="T71" fmla="*/ 0 h 756"/>
                <a:gd name="T72" fmla="*/ 0 w 837"/>
                <a:gd name="T73" fmla="*/ 0 h 756"/>
                <a:gd name="T74" fmla="*/ 0 w 837"/>
                <a:gd name="T75" fmla="*/ 0 h 756"/>
                <a:gd name="T76" fmla="*/ 0 w 837"/>
                <a:gd name="T77" fmla="*/ 0 h 756"/>
                <a:gd name="T78" fmla="*/ 0 w 837"/>
                <a:gd name="T79" fmla="*/ 0 h 756"/>
                <a:gd name="T80" fmla="*/ 0 w 837"/>
                <a:gd name="T81" fmla="*/ 0 h 756"/>
                <a:gd name="T82" fmla="*/ 0 w 837"/>
                <a:gd name="T83" fmla="*/ 0 h 75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837"/>
                <a:gd name="T127" fmla="*/ 0 h 756"/>
                <a:gd name="T128" fmla="*/ 837 w 837"/>
                <a:gd name="T129" fmla="*/ 756 h 75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837" h="756">
                  <a:moveTo>
                    <a:pt x="710" y="24"/>
                  </a:moveTo>
                  <a:cubicBezTo>
                    <a:pt x="702" y="44"/>
                    <a:pt x="726" y="65"/>
                    <a:pt x="672" y="77"/>
                  </a:cubicBezTo>
                  <a:cubicBezTo>
                    <a:pt x="622" y="80"/>
                    <a:pt x="630" y="57"/>
                    <a:pt x="618" y="21"/>
                  </a:cubicBezTo>
                  <a:cubicBezTo>
                    <a:pt x="609" y="14"/>
                    <a:pt x="530" y="12"/>
                    <a:pt x="530" y="12"/>
                  </a:cubicBezTo>
                  <a:cubicBezTo>
                    <a:pt x="494" y="4"/>
                    <a:pt x="466" y="24"/>
                    <a:pt x="409" y="27"/>
                  </a:cubicBezTo>
                  <a:cubicBezTo>
                    <a:pt x="370" y="29"/>
                    <a:pt x="358" y="35"/>
                    <a:pt x="321" y="36"/>
                  </a:cubicBezTo>
                  <a:cubicBezTo>
                    <a:pt x="313" y="36"/>
                    <a:pt x="261" y="20"/>
                    <a:pt x="261" y="20"/>
                  </a:cubicBezTo>
                  <a:cubicBezTo>
                    <a:pt x="241" y="0"/>
                    <a:pt x="177" y="14"/>
                    <a:pt x="171" y="35"/>
                  </a:cubicBezTo>
                  <a:cubicBezTo>
                    <a:pt x="163" y="51"/>
                    <a:pt x="132" y="63"/>
                    <a:pt x="132" y="63"/>
                  </a:cubicBezTo>
                  <a:cubicBezTo>
                    <a:pt x="115" y="69"/>
                    <a:pt x="114" y="73"/>
                    <a:pt x="94" y="69"/>
                  </a:cubicBezTo>
                  <a:cubicBezTo>
                    <a:pt x="84" y="60"/>
                    <a:pt x="87" y="60"/>
                    <a:pt x="71" y="56"/>
                  </a:cubicBezTo>
                  <a:cubicBezTo>
                    <a:pt x="67" y="40"/>
                    <a:pt x="39" y="30"/>
                    <a:pt x="13" y="23"/>
                  </a:cubicBezTo>
                  <a:cubicBezTo>
                    <a:pt x="3" y="50"/>
                    <a:pt x="16" y="11"/>
                    <a:pt x="0" y="84"/>
                  </a:cubicBezTo>
                  <a:cubicBezTo>
                    <a:pt x="1" y="104"/>
                    <a:pt x="5" y="138"/>
                    <a:pt x="16" y="156"/>
                  </a:cubicBezTo>
                  <a:cubicBezTo>
                    <a:pt x="27" y="174"/>
                    <a:pt x="31" y="158"/>
                    <a:pt x="63" y="192"/>
                  </a:cubicBezTo>
                  <a:cubicBezTo>
                    <a:pt x="95" y="212"/>
                    <a:pt x="99" y="246"/>
                    <a:pt x="115" y="267"/>
                  </a:cubicBezTo>
                  <a:cubicBezTo>
                    <a:pt x="127" y="287"/>
                    <a:pt x="141" y="314"/>
                    <a:pt x="154" y="335"/>
                  </a:cubicBezTo>
                  <a:cubicBezTo>
                    <a:pt x="162" y="357"/>
                    <a:pt x="203" y="399"/>
                    <a:pt x="227" y="407"/>
                  </a:cubicBezTo>
                  <a:cubicBezTo>
                    <a:pt x="239" y="423"/>
                    <a:pt x="241" y="443"/>
                    <a:pt x="275" y="447"/>
                  </a:cubicBezTo>
                  <a:cubicBezTo>
                    <a:pt x="291" y="450"/>
                    <a:pt x="299" y="463"/>
                    <a:pt x="299" y="463"/>
                  </a:cubicBezTo>
                  <a:cubicBezTo>
                    <a:pt x="307" y="479"/>
                    <a:pt x="302" y="496"/>
                    <a:pt x="334" y="504"/>
                  </a:cubicBezTo>
                  <a:cubicBezTo>
                    <a:pt x="358" y="520"/>
                    <a:pt x="360" y="525"/>
                    <a:pt x="364" y="540"/>
                  </a:cubicBezTo>
                  <a:cubicBezTo>
                    <a:pt x="384" y="560"/>
                    <a:pt x="398" y="590"/>
                    <a:pt x="421" y="606"/>
                  </a:cubicBezTo>
                  <a:cubicBezTo>
                    <a:pt x="436" y="618"/>
                    <a:pt x="454" y="603"/>
                    <a:pt x="478" y="652"/>
                  </a:cubicBezTo>
                  <a:cubicBezTo>
                    <a:pt x="511" y="671"/>
                    <a:pt x="509" y="689"/>
                    <a:pt x="528" y="701"/>
                  </a:cubicBezTo>
                  <a:cubicBezTo>
                    <a:pt x="547" y="713"/>
                    <a:pt x="574" y="717"/>
                    <a:pt x="591" y="726"/>
                  </a:cubicBezTo>
                  <a:cubicBezTo>
                    <a:pt x="606" y="729"/>
                    <a:pt x="631" y="756"/>
                    <a:pt x="631" y="756"/>
                  </a:cubicBezTo>
                  <a:cubicBezTo>
                    <a:pt x="642" y="743"/>
                    <a:pt x="649" y="689"/>
                    <a:pt x="625" y="675"/>
                  </a:cubicBezTo>
                  <a:cubicBezTo>
                    <a:pt x="622" y="648"/>
                    <a:pt x="622" y="638"/>
                    <a:pt x="646" y="630"/>
                  </a:cubicBezTo>
                  <a:cubicBezTo>
                    <a:pt x="667" y="605"/>
                    <a:pt x="666" y="597"/>
                    <a:pt x="666" y="567"/>
                  </a:cubicBezTo>
                  <a:cubicBezTo>
                    <a:pt x="673" y="551"/>
                    <a:pt x="687" y="518"/>
                    <a:pt x="741" y="522"/>
                  </a:cubicBezTo>
                  <a:cubicBezTo>
                    <a:pt x="745" y="509"/>
                    <a:pt x="732" y="496"/>
                    <a:pt x="735" y="483"/>
                  </a:cubicBezTo>
                  <a:cubicBezTo>
                    <a:pt x="738" y="470"/>
                    <a:pt x="750" y="449"/>
                    <a:pt x="757" y="441"/>
                  </a:cubicBezTo>
                  <a:cubicBezTo>
                    <a:pt x="772" y="434"/>
                    <a:pt x="814" y="451"/>
                    <a:pt x="826" y="443"/>
                  </a:cubicBezTo>
                  <a:cubicBezTo>
                    <a:pt x="834" y="419"/>
                    <a:pt x="834" y="414"/>
                    <a:pt x="826" y="390"/>
                  </a:cubicBezTo>
                  <a:cubicBezTo>
                    <a:pt x="811" y="375"/>
                    <a:pt x="766" y="343"/>
                    <a:pt x="768" y="329"/>
                  </a:cubicBezTo>
                  <a:cubicBezTo>
                    <a:pt x="799" y="327"/>
                    <a:pt x="814" y="324"/>
                    <a:pt x="831" y="308"/>
                  </a:cubicBezTo>
                  <a:cubicBezTo>
                    <a:pt x="837" y="279"/>
                    <a:pt x="806" y="276"/>
                    <a:pt x="790" y="272"/>
                  </a:cubicBezTo>
                  <a:cubicBezTo>
                    <a:pt x="774" y="256"/>
                    <a:pt x="768" y="263"/>
                    <a:pt x="759" y="240"/>
                  </a:cubicBezTo>
                  <a:cubicBezTo>
                    <a:pt x="745" y="222"/>
                    <a:pt x="736" y="216"/>
                    <a:pt x="732" y="200"/>
                  </a:cubicBezTo>
                  <a:cubicBezTo>
                    <a:pt x="721" y="165"/>
                    <a:pt x="735" y="123"/>
                    <a:pt x="735" y="95"/>
                  </a:cubicBezTo>
                  <a:cubicBezTo>
                    <a:pt x="747" y="59"/>
                    <a:pt x="714" y="40"/>
                    <a:pt x="710" y="24"/>
                  </a:cubicBez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  <p:sp>
          <p:nvSpPr>
            <p:cNvPr id="36" name="Freeform 95"/>
            <p:cNvSpPr>
              <a:spLocks noChangeAspect="1"/>
            </p:cNvSpPr>
            <p:nvPr/>
          </p:nvSpPr>
          <p:spPr bwMode="auto">
            <a:xfrm>
              <a:off x="2998" y="3217"/>
              <a:ext cx="244" cy="317"/>
            </a:xfrm>
            <a:custGeom>
              <a:avLst/>
              <a:gdLst>
                <a:gd name="T0" fmla="*/ 0 w 968"/>
                <a:gd name="T1" fmla="*/ 0 h 1251"/>
                <a:gd name="T2" fmla="*/ 0 w 968"/>
                <a:gd name="T3" fmla="*/ 0 h 1251"/>
                <a:gd name="T4" fmla="*/ 0 w 968"/>
                <a:gd name="T5" fmla="*/ 0 h 1251"/>
                <a:gd name="T6" fmla="*/ 0 w 968"/>
                <a:gd name="T7" fmla="*/ 0 h 1251"/>
                <a:gd name="T8" fmla="*/ 0 w 968"/>
                <a:gd name="T9" fmla="*/ 0 h 1251"/>
                <a:gd name="T10" fmla="*/ 0 w 968"/>
                <a:gd name="T11" fmla="*/ 0 h 1251"/>
                <a:gd name="T12" fmla="*/ 0 w 968"/>
                <a:gd name="T13" fmla="*/ 0 h 1251"/>
                <a:gd name="T14" fmla="*/ 0 w 968"/>
                <a:gd name="T15" fmla="*/ 0 h 1251"/>
                <a:gd name="T16" fmla="*/ 0 w 968"/>
                <a:gd name="T17" fmla="*/ 0 h 1251"/>
                <a:gd name="T18" fmla="*/ 0 w 968"/>
                <a:gd name="T19" fmla="*/ 0 h 1251"/>
                <a:gd name="T20" fmla="*/ 0 w 968"/>
                <a:gd name="T21" fmla="*/ 0 h 1251"/>
                <a:gd name="T22" fmla="*/ 0 w 968"/>
                <a:gd name="T23" fmla="*/ 0 h 1251"/>
                <a:gd name="T24" fmla="*/ 0 w 968"/>
                <a:gd name="T25" fmla="*/ 0 h 1251"/>
                <a:gd name="T26" fmla="*/ 0 w 968"/>
                <a:gd name="T27" fmla="*/ 0 h 1251"/>
                <a:gd name="T28" fmla="*/ 0 w 968"/>
                <a:gd name="T29" fmla="*/ 0 h 1251"/>
                <a:gd name="T30" fmla="*/ 0 w 968"/>
                <a:gd name="T31" fmla="*/ 0 h 1251"/>
                <a:gd name="T32" fmla="*/ 0 w 968"/>
                <a:gd name="T33" fmla="*/ 0 h 1251"/>
                <a:gd name="T34" fmla="*/ 0 w 968"/>
                <a:gd name="T35" fmla="*/ 0 h 1251"/>
                <a:gd name="T36" fmla="*/ 0 w 968"/>
                <a:gd name="T37" fmla="*/ 0 h 1251"/>
                <a:gd name="T38" fmla="*/ 0 w 968"/>
                <a:gd name="T39" fmla="*/ 0 h 1251"/>
                <a:gd name="T40" fmla="*/ 0 w 968"/>
                <a:gd name="T41" fmla="*/ 0 h 1251"/>
                <a:gd name="T42" fmla="*/ 0 w 968"/>
                <a:gd name="T43" fmla="*/ 0 h 1251"/>
                <a:gd name="T44" fmla="*/ 0 w 968"/>
                <a:gd name="T45" fmla="*/ 0 h 1251"/>
                <a:gd name="T46" fmla="*/ 0 w 968"/>
                <a:gd name="T47" fmla="*/ 0 h 1251"/>
                <a:gd name="T48" fmla="*/ 0 w 968"/>
                <a:gd name="T49" fmla="*/ 0 h 1251"/>
                <a:gd name="T50" fmla="*/ 0 w 968"/>
                <a:gd name="T51" fmla="*/ 0 h 1251"/>
                <a:gd name="T52" fmla="*/ 0 w 968"/>
                <a:gd name="T53" fmla="*/ 0 h 1251"/>
                <a:gd name="T54" fmla="*/ 0 w 968"/>
                <a:gd name="T55" fmla="*/ 0 h 1251"/>
                <a:gd name="T56" fmla="*/ 0 w 968"/>
                <a:gd name="T57" fmla="*/ 0 h 1251"/>
                <a:gd name="T58" fmla="*/ 0 w 968"/>
                <a:gd name="T59" fmla="*/ 0 h 1251"/>
                <a:gd name="T60" fmla="*/ 0 w 968"/>
                <a:gd name="T61" fmla="*/ 0 h 1251"/>
                <a:gd name="T62" fmla="*/ 0 w 968"/>
                <a:gd name="T63" fmla="*/ 0 h 1251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968"/>
                <a:gd name="T97" fmla="*/ 0 h 1251"/>
                <a:gd name="T98" fmla="*/ 968 w 968"/>
                <a:gd name="T99" fmla="*/ 1251 h 1251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968" h="1251">
                  <a:moveTo>
                    <a:pt x="256" y="1251"/>
                  </a:moveTo>
                  <a:cubicBezTo>
                    <a:pt x="252" y="1223"/>
                    <a:pt x="252" y="1179"/>
                    <a:pt x="224" y="1159"/>
                  </a:cubicBezTo>
                  <a:cubicBezTo>
                    <a:pt x="232" y="1123"/>
                    <a:pt x="268" y="1039"/>
                    <a:pt x="304" y="1023"/>
                  </a:cubicBezTo>
                  <a:cubicBezTo>
                    <a:pt x="316" y="1043"/>
                    <a:pt x="320" y="1055"/>
                    <a:pt x="340" y="1063"/>
                  </a:cubicBezTo>
                  <a:cubicBezTo>
                    <a:pt x="372" y="1051"/>
                    <a:pt x="368" y="1059"/>
                    <a:pt x="400" y="1071"/>
                  </a:cubicBezTo>
                  <a:cubicBezTo>
                    <a:pt x="404" y="1087"/>
                    <a:pt x="412" y="1091"/>
                    <a:pt x="428" y="1095"/>
                  </a:cubicBezTo>
                  <a:cubicBezTo>
                    <a:pt x="448" y="1115"/>
                    <a:pt x="464" y="1107"/>
                    <a:pt x="488" y="1115"/>
                  </a:cubicBezTo>
                  <a:cubicBezTo>
                    <a:pt x="496" y="1131"/>
                    <a:pt x="508" y="1163"/>
                    <a:pt x="508" y="1163"/>
                  </a:cubicBezTo>
                  <a:cubicBezTo>
                    <a:pt x="512" y="1227"/>
                    <a:pt x="512" y="1211"/>
                    <a:pt x="544" y="1191"/>
                  </a:cubicBezTo>
                  <a:cubicBezTo>
                    <a:pt x="568" y="1123"/>
                    <a:pt x="584" y="1119"/>
                    <a:pt x="656" y="1107"/>
                  </a:cubicBezTo>
                  <a:cubicBezTo>
                    <a:pt x="672" y="1087"/>
                    <a:pt x="692" y="1091"/>
                    <a:pt x="712" y="1079"/>
                  </a:cubicBezTo>
                  <a:cubicBezTo>
                    <a:pt x="756" y="1051"/>
                    <a:pt x="832" y="1039"/>
                    <a:pt x="884" y="1031"/>
                  </a:cubicBezTo>
                  <a:cubicBezTo>
                    <a:pt x="908" y="995"/>
                    <a:pt x="888" y="955"/>
                    <a:pt x="896" y="915"/>
                  </a:cubicBezTo>
                  <a:cubicBezTo>
                    <a:pt x="892" y="895"/>
                    <a:pt x="884" y="883"/>
                    <a:pt x="896" y="867"/>
                  </a:cubicBezTo>
                  <a:cubicBezTo>
                    <a:pt x="904" y="855"/>
                    <a:pt x="932" y="839"/>
                    <a:pt x="932" y="839"/>
                  </a:cubicBezTo>
                  <a:cubicBezTo>
                    <a:pt x="940" y="827"/>
                    <a:pt x="952" y="819"/>
                    <a:pt x="960" y="807"/>
                  </a:cubicBezTo>
                  <a:cubicBezTo>
                    <a:pt x="964" y="799"/>
                    <a:pt x="968" y="783"/>
                    <a:pt x="968" y="783"/>
                  </a:cubicBezTo>
                  <a:cubicBezTo>
                    <a:pt x="964" y="759"/>
                    <a:pt x="968" y="751"/>
                    <a:pt x="944" y="743"/>
                  </a:cubicBezTo>
                  <a:cubicBezTo>
                    <a:pt x="908" y="715"/>
                    <a:pt x="912" y="711"/>
                    <a:pt x="860" y="707"/>
                  </a:cubicBezTo>
                  <a:cubicBezTo>
                    <a:pt x="840" y="695"/>
                    <a:pt x="848" y="659"/>
                    <a:pt x="836" y="639"/>
                  </a:cubicBezTo>
                  <a:cubicBezTo>
                    <a:pt x="828" y="604"/>
                    <a:pt x="800" y="560"/>
                    <a:pt x="836" y="536"/>
                  </a:cubicBezTo>
                  <a:cubicBezTo>
                    <a:pt x="844" y="496"/>
                    <a:pt x="892" y="448"/>
                    <a:pt x="840" y="440"/>
                  </a:cubicBezTo>
                  <a:cubicBezTo>
                    <a:pt x="856" y="416"/>
                    <a:pt x="828" y="360"/>
                    <a:pt x="796" y="348"/>
                  </a:cubicBezTo>
                  <a:cubicBezTo>
                    <a:pt x="776" y="352"/>
                    <a:pt x="756" y="360"/>
                    <a:pt x="740" y="372"/>
                  </a:cubicBezTo>
                  <a:cubicBezTo>
                    <a:pt x="724" y="416"/>
                    <a:pt x="680" y="372"/>
                    <a:pt x="628" y="368"/>
                  </a:cubicBezTo>
                  <a:cubicBezTo>
                    <a:pt x="600" y="368"/>
                    <a:pt x="576" y="384"/>
                    <a:pt x="560" y="360"/>
                  </a:cubicBezTo>
                  <a:cubicBezTo>
                    <a:pt x="548" y="336"/>
                    <a:pt x="560" y="276"/>
                    <a:pt x="552" y="248"/>
                  </a:cubicBezTo>
                  <a:cubicBezTo>
                    <a:pt x="536" y="216"/>
                    <a:pt x="476" y="224"/>
                    <a:pt x="464" y="216"/>
                  </a:cubicBezTo>
                  <a:cubicBezTo>
                    <a:pt x="456" y="192"/>
                    <a:pt x="432" y="164"/>
                    <a:pt x="412" y="152"/>
                  </a:cubicBezTo>
                  <a:cubicBezTo>
                    <a:pt x="404" y="132"/>
                    <a:pt x="388" y="104"/>
                    <a:pt x="368" y="96"/>
                  </a:cubicBezTo>
                  <a:cubicBezTo>
                    <a:pt x="360" y="84"/>
                    <a:pt x="348" y="68"/>
                    <a:pt x="336" y="60"/>
                  </a:cubicBezTo>
                  <a:cubicBezTo>
                    <a:pt x="324" y="52"/>
                    <a:pt x="296" y="48"/>
                    <a:pt x="296" y="48"/>
                  </a:cubicBezTo>
                  <a:cubicBezTo>
                    <a:pt x="284" y="32"/>
                    <a:pt x="272" y="12"/>
                    <a:pt x="256" y="4"/>
                  </a:cubicBezTo>
                  <a:cubicBezTo>
                    <a:pt x="202" y="0"/>
                    <a:pt x="177" y="5"/>
                    <a:pt x="133" y="1"/>
                  </a:cubicBezTo>
                  <a:cubicBezTo>
                    <a:pt x="109" y="12"/>
                    <a:pt x="97" y="33"/>
                    <a:pt x="75" y="55"/>
                  </a:cubicBezTo>
                  <a:cubicBezTo>
                    <a:pt x="62" y="65"/>
                    <a:pt x="60" y="51"/>
                    <a:pt x="52" y="52"/>
                  </a:cubicBezTo>
                  <a:cubicBezTo>
                    <a:pt x="45" y="53"/>
                    <a:pt x="42" y="56"/>
                    <a:pt x="34" y="64"/>
                  </a:cubicBezTo>
                  <a:cubicBezTo>
                    <a:pt x="30" y="84"/>
                    <a:pt x="5" y="79"/>
                    <a:pt x="4" y="99"/>
                  </a:cubicBezTo>
                  <a:cubicBezTo>
                    <a:pt x="3" y="119"/>
                    <a:pt x="10" y="159"/>
                    <a:pt x="28" y="184"/>
                  </a:cubicBezTo>
                  <a:cubicBezTo>
                    <a:pt x="32" y="200"/>
                    <a:pt x="34" y="201"/>
                    <a:pt x="32" y="220"/>
                  </a:cubicBezTo>
                  <a:cubicBezTo>
                    <a:pt x="36" y="229"/>
                    <a:pt x="57" y="222"/>
                    <a:pt x="54" y="241"/>
                  </a:cubicBezTo>
                  <a:cubicBezTo>
                    <a:pt x="84" y="243"/>
                    <a:pt x="87" y="259"/>
                    <a:pt x="100" y="267"/>
                  </a:cubicBezTo>
                  <a:cubicBezTo>
                    <a:pt x="113" y="275"/>
                    <a:pt x="132" y="283"/>
                    <a:pt x="130" y="292"/>
                  </a:cubicBezTo>
                  <a:cubicBezTo>
                    <a:pt x="108" y="315"/>
                    <a:pt x="112" y="304"/>
                    <a:pt x="88" y="320"/>
                  </a:cubicBezTo>
                  <a:cubicBezTo>
                    <a:pt x="80" y="340"/>
                    <a:pt x="76" y="356"/>
                    <a:pt x="100" y="364"/>
                  </a:cubicBezTo>
                  <a:cubicBezTo>
                    <a:pt x="104" y="376"/>
                    <a:pt x="120" y="400"/>
                    <a:pt x="120" y="400"/>
                  </a:cubicBezTo>
                  <a:cubicBezTo>
                    <a:pt x="116" y="444"/>
                    <a:pt x="92" y="536"/>
                    <a:pt x="136" y="564"/>
                  </a:cubicBezTo>
                  <a:cubicBezTo>
                    <a:pt x="144" y="592"/>
                    <a:pt x="180" y="604"/>
                    <a:pt x="208" y="612"/>
                  </a:cubicBezTo>
                  <a:cubicBezTo>
                    <a:pt x="224" y="655"/>
                    <a:pt x="180" y="651"/>
                    <a:pt x="148" y="655"/>
                  </a:cubicBezTo>
                  <a:cubicBezTo>
                    <a:pt x="152" y="675"/>
                    <a:pt x="180" y="695"/>
                    <a:pt x="200" y="707"/>
                  </a:cubicBezTo>
                  <a:cubicBezTo>
                    <a:pt x="212" y="727"/>
                    <a:pt x="223" y="778"/>
                    <a:pt x="196" y="771"/>
                  </a:cubicBezTo>
                  <a:cubicBezTo>
                    <a:pt x="120" y="755"/>
                    <a:pt x="144" y="767"/>
                    <a:pt x="116" y="807"/>
                  </a:cubicBezTo>
                  <a:cubicBezTo>
                    <a:pt x="124" y="843"/>
                    <a:pt x="128" y="855"/>
                    <a:pt x="88" y="851"/>
                  </a:cubicBezTo>
                  <a:cubicBezTo>
                    <a:pt x="72" y="855"/>
                    <a:pt x="68" y="871"/>
                    <a:pt x="52" y="879"/>
                  </a:cubicBezTo>
                  <a:cubicBezTo>
                    <a:pt x="48" y="895"/>
                    <a:pt x="44" y="907"/>
                    <a:pt x="48" y="923"/>
                  </a:cubicBezTo>
                  <a:cubicBezTo>
                    <a:pt x="44" y="943"/>
                    <a:pt x="8" y="975"/>
                    <a:pt x="8" y="975"/>
                  </a:cubicBezTo>
                  <a:cubicBezTo>
                    <a:pt x="4" y="999"/>
                    <a:pt x="0" y="1003"/>
                    <a:pt x="20" y="1015"/>
                  </a:cubicBezTo>
                  <a:cubicBezTo>
                    <a:pt x="24" y="1043"/>
                    <a:pt x="24" y="1067"/>
                    <a:pt x="8" y="1091"/>
                  </a:cubicBezTo>
                  <a:cubicBezTo>
                    <a:pt x="16" y="1107"/>
                    <a:pt x="28" y="1111"/>
                    <a:pt x="44" y="1115"/>
                  </a:cubicBezTo>
                  <a:cubicBezTo>
                    <a:pt x="56" y="1131"/>
                    <a:pt x="72" y="1131"/>
                    <a:pt x="92" y="1139"/>
                  </a:cubicBezTo>
                  <a:cubicBezTo>
                    <a:pt x="96" y="1139"/>
                    <a:pt x="104" y="1143"/>
                    <a:pt x="104" y="1143"/>
                  </a:cubicBezTo>
                  <a:cubicBezTo>
                    <a:pt x="140" y="1179"/>
                    <a:pt x="164" y="1199"/>
                    <a:pt x="212" y="1215"/>
                  </a:cubicBezTo>
                  <a:cubicBezTo>
                    <a:pt x="216" y="1223"/>
                    <a:pt x="232" y="1239"/>
                    <a:pt x="240" y="1247"/>
                  </a:cubicBezTo>
                  <a:cubicBezTo>
                    <a:pt x="244" y="1251"/>
                    <a:pt x="256" y="1251"/>
                    <a:pt x="256" y="1251"/>
                  </a:cubicBez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  <p:sp>
          <p:nvSpPr>
            <p:cNvPr id="37" name="Freeform 96"/>
            <p:cNvSpPr>
              <a:spLocks noChangeAspect="1"/>
            </p:cNvSpPr>
            <p:nvPr/>
          </p:nvSpPr>
          <p:spPr bwMode="auto">
            <a:xfrm>
              <a:off x="2716" y="3184"/>
              <a:ext cx="152" cy="121"/>
            </a:xfrm>
            <a:custGeom>
              <a:avLst/>
              <a:gdLst>
                <a:gd name="T0" fmla="*/ 0 w 598"/>
                <a:gd name="T1" fmla="*/ 0 h 474"/>
                <a:gd name="T2" fmla="*/ 0 w 598"/>
                <a:gd name="T3" fmla="*/ 0 h 474"/>
                <a:gd name="T4" fmla="*/ 0 w 598"/>
                <a:gd name="T5" fmla="*/ 0 h 474"/>
                <a:gd name="T6" fmla="*/ 0 w 598"/>
                <a:gd name="T7" fmla="*/ 0 h 474"/>
                <a:gd name="T8" fmla="*/ 0 w 598"/>
                <a:gd name="T9" fmla="*/ 0 h 474"/>
                <a:gd name="T10" fmla="*/ 0 w 598"/>
                <a:gd name="T11" fmla="*/ 0 h 474"/>
                <a:gd name="T12" fmla="*/ 0 w 598"/>
                <a:gd name="T13" fmla="*/ 0 h 474"/>
                <a:gd name="T14" fmla="*/ 0 w 598"/>
                <a:gd name="T15" fmla="*/ 0 h 474"/>
                <a:gd name="T16" fmla="*/ 0 w 598"/>
                <a:gd name="T17" fmla="*/ 0 h 474"/>
                <a:gd name="T18" fmla="*/ 0 w 598"/>
                <a:gd name="T19" fmla="*/ 0 h 474"/>
                <a:gd name="T20" fmla="*/ 0 w 598"/>
                <a:gd name="T21" fmla="*/ 0 h 474"/>
                <a:gd name="T22" fmla="*/ 0 w 598"/>
                <a:gd name="T23" fmla="*/ 0 h 474"/>
                <a:gd name="T24" fmla="*/ 0 w 598"/>
                <a:gd name="T25" fmla="*/ 0 h 474"/>
                <a:gd name="T26" fmla="*/ 0 w 598"/>
                <a:gd name="T27" fmla="*/ 0 h 474"/>
                <a:gd name="T28" fmla="*/ 0 w 598"/>
                <a:gd name="T29" fmla="*/ 0 h 474"/>
                <a:gd name="T30" fmla="*/ 0 w 598"/>
                <a:gd name="T31" fmla="*/ 0 h 474"/>
                <a:gd name="T32" fmla="*/ 0 w 598"/>
                <a:gd name="T33" fmla="*/ 0 h 474"/>
                <a:gd name="T34" fmla="*/ 0 w 598"/>
                <a:gd name="T35" fmla="*/ 0 h 474"/>
                <a:gd name="T36" fmla="*/ 0 w 598"/>
                <a:gd name="T37" fmla="*/ 0 h 474"/>
                <a:gd name="T38" fmla="*/ 0 w 598"/>
                <a:gd name="T39" fmla="*/ 0 h 474"/>
                <a:gd name="T40" fmla="*/ 0 w 598"/>
                <a:gd name="T41" fmla="*/ 0 h 474"/>
                <a:gd name="T42" fmla="*/ 0 w 598"/>
                <a:gd name="T43" fmla="*/ 0 h 474"/>
                <a:gd name="T44" fmla="*/ 0 w 598"/>
                <a:gd name="T45" fmla="*/ 0 h 474"/>
                <a:gd name="T46" fmla="*/ 0 w 598"/>
                <a:gd name="T47" fmla="*/ 0 h 474"/>
                <a:gd name="T48" fmla="*/ 0 w 598"/>
                <a:gd name="T49" fmla="*/ 0 h 474"/>
                <a:gd name="T50" fmla="*/ 0 w 598"/>
                <a:gd name="T51" fmla="*/ 0 h 474"/>
                <a:gd name="T52" fmla="*/ 0 w 598"/>
                <a:gd name="T53" fmla="*/ 0 h 474"/>
                <a:gd name="T54" fmla="*/ 0 w 598"/>
                <a:gd name="T55" fmla="*/ 0 h 474"/>
                <a:gd name="T56" fmla="*/ 0 w 598"/>
                <a:gd name="T57" fmla="*/ 0 h 47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598"/>
                <a:gd name="T88" fmla="*/ 0 h 474"/>
                <a:gd name="T89" fmla="*/ 598 w 598"/>
                <a:gd name="T90" fmla="*/ 474 h 474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598" h="474">
                  <a:moveTo>
                    <a:pt x="183" y="162"/>
                  </a:moveTo>
                  <a:cubicBezTo>
                    <a:pt x="257" y="150"/>
                    <a:pt x="217" y="163"/>
                    <a:pt x="265" y="139"/>
                  </a:cubicBezTo>
                  <a:cubicBezTo>
                    <a:pt x="285" y="115"/>
                    <a:pt x="317" y="122"/>
                    <a:pt x="337" y="99"/>
                  </a:cubicBezTo>
                  <a:cubicBezTo>
                    <a:pt x="378" y="95"/>
                    <a:pt x="413" y="101"/>
                    <a:pt x="428" y="66"/>
                  </a:cubicBezTo>
                  <a:cubicBezTo>
                    <a:pt x="449" y="60"/>
                    <a:pt x="481" y="63"/>
                    <a:pt x="505" y="51"/>
                  </a:cubicBezTo>
                  <a:cubicBezTo>
                    <a:pt x="513" y="35"/>
                    <a:pt x="535" y="16"/>
                    <a:pt x="543" y="0"/>
                  </a:cubicBezTo>
                  <a:cubicBezTo>
                    <a:pt x="560" y="18"/>
                    <a:pt x="576" y="51"/>
                    <a:pt x="591" y="74"/>
                  </a:cubicBezTo>
                  <a:cubicBezTo>
                    <a:pt x="595" y="82"/>
                    <a:pt x="598" y="88"/>
                    <a:pt x="590" y="96"/>
                  </a:cubicBezTo>
                  <a:cubicBezTo>
                    <a:pt x="573" y="102"/>
                    <a:pt x="565" y="123"/>
                    <a:pt x="565" y="123"/>
                  </a:cubicBezTo>
                  <a:cubicBezTo>
                    <a:pt x="551" y="153"/>
                    <a:pt x="529" y="163"/>
                    <a:pt x="529" y="163"/>
                  </a:cubicBezTo>
                  <a:cubicBezTo>
                    <a:pt x="512" y="179"/>
                    <a:pt x="494" y="189"/>
                    <a:pt x="468" y="188"/>
                  </a:cubicBezTo>
                  <a:cubicBezTo>
                    <a:pt x="450" y="218"/>
                    <a:pt x="466" y="268"/>
                    <a:pt x="474" y="288"/>
                  </a:cubicBezTo>
                  <a:cubicBezTo>
                    <a:pt x="462" y="314"/>
                    <a:pt x="412" y="321"/>
                    <a:pt x="399" y="345"/>
                  </a:cubicBezTo>
                  <a:cubicBezTo>
                    <a:pt x="391" y="369"/>
                    <a:pt x="431" y="422"/>
                    <a:pt x="395" y="432"/>
                  </a:cubicBezTo>
                  <a:cubicBezTo>
                    <a:pt x="383" y="450"/>
                    <a:pt x="366" y="449"/>
                    <a:pt x="366" y="449"/>
                  </a:cubicBezTo>
                  <a:cubicBezTo>
                    <a:pt x="336" y="453"/>
                    <a:pt x="338" y="422"/>
                    <a:pt x="338" y="422"/>
                  </a:cubicBezTo>
                  <a:cubicBezTo>
                    <a:pt x="326" y="426"/>
                    <a:pt x="278" y="439"/>
                    <a:pt x="266" y="431"/>
                  </a:cubicBezTo>
                  <a:cubicBezTo>
                    <a:pt x="269" y="404"/>
                    <a:pt x="264" y="398"/>
                    <a:pt x="255" y="375"/>
                  </a:cubicBezTo>
                  <a:cubicBezTo>
                    <a:pt x="251" y="398"/>
                    <a:pt x="236" y="410"/>
                    <a:pt x="228" y="423"/>
                  </a:cubicBezTo>
                  <a:cubicBezTo>
                    <a:pt x="220" y="436"/>
                    <a:pt x="216" y="449"/>
                    <a:pt x="205" y="451"/>
                  </a:cubicBezTo>
                  <a:cubicBezTo>
                    <a:pt x="165" y="447"/>
                    <a:pt x="170" y="450"/>
                    <a:pt x="161" y="437"/>
                  </a:cubicBezTo>
                  <a:cubicBezTo>
                    <a:pt x="96" y="441"/>
                    <a:pt x="88" y="466"/>
                    <a:pt x="60" y="474"/>
                  </a:cubicBezTo>
                  <a:cubicBezTo>
                    <a:pt x="60" y="473"/>
                    <a:pt x="36" y="468"/>
                    <a:pt x="36" y="468"/>
                  </a:cubicBezTo>
                  <a:cubicBezTo>
                    <a:pt x="17" y="450"/>
                    <a:pt x="33" y="379"/>
                    <a:pt x="29" y="351"/>
                  </a:cubicBezTo>
                  <a:cubicBezTo>
                    <a:pt x="45" y="318"/>
                    <a:pt x="47" y="296"/>
                    <a:pt x="11" y="288"/>
                  </a:cubicBezTo>
                  <a:cubicBezTo>
                    <a:pt x="15" y="269"/>
                    <a:pt x="23" y="280"/>
                    <a:pt x="35" y="252"/>
                  </a:cubicBezTo>
                  <a:cubicBezTo>
                    <a:pt x="19" y="236"/>
                    <a:pt x="16" y="239"/>
                    <a:pt x="0" y="227"/>
                  </a:cubicBezTo>
                  <a:cubicBezTo>
                    <a:pt x="16" y="203"/>
                    <a:pt x="41" y="162"/>
                    <a:pt x="29" y="139"/>
                  </a:cubicBezTo>
                  <a:cubicBezTo>
                    <a:pt x="61" y="131"/>
                    <a:pt x="147" y="161"/>
                    <a:pt x="183" y="162"/>
                  </a:cubicBez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  <p:sp>
          <p:nvSpPr>
            <p:cNvPr id="38" name="Freeform 97"/>
            <p:cNvSpPr>
              <a:spLocks noChangeAspect="1"/>
            </p:cNvSpPr>
            <p:nvPr/>
          </p:nvSpPr>
          <p:spPr bwMode="auto">
            <a:xfrm>
              <a:off x="2853" y="3035"/>
              <a:ext cx="322" cy="222"/>
            </a:xfrm>
            <a:custGeom>
              <a:avLst/>
              <a:gdLst>
                <a:gd name="T0" fmla="*/ 0 w 1273"/>
                <a:gd name="T1" fmla="*/ 0 h 878"/>
                <a:gd name="T2" fmla="*/ 0 w 1273"/>
                <a:gd name="T3" fmla="*/ 0 h 878"/>
                <a:gd name="T4" fmla="*/ 0 w 1273"/>
                <a:gd name="T5" fmla="*/ 0 h 878"/>
                <a:gd name="T6" fmla="*/ 0 w 1273"/>
                <a:gd name="T7" fmla="*/ 0 h 878"/>
                <a:gd name="T8" fmla="*/ 0 w 1273"/>
                <a:gd name="T9" fmla="*/ 0 h 878"/>
                <a:gd name="T10" fmla="*/ 0 w 1273"/>
                <a:gd name="T11" fmla="*/ 0 h 878"/>
                <a:gd name="T12" fmla="*/ 0 w 1273"/>
                <a:gd name="T13" fmla="*/ 0 h 878"/>
                <a:gd name="T14" fmla="*/ 0 w 1273"/>
                <a:gd name="T15" fmla="*/ 0 h 878"/>
                <a:gd name="T16" fmla="*/ 0 w 1273"/>
                <a:gd name="T17" fmla="*/ 0 h 878"/>
                <a:gd name="T18" fmla="*/ 0 w 1273"/>
                <a:gd name="T19" fmla="*/ 0 h 878"/>
                <a:gd name="T20" fmla="*/ 0 w 1273"/>
                <a:gd name="T21" fmla="*/ 0 h 878"/>
                <a:gd name="T22" fmla="*/ 0 w 1273"/>
                <a:gd name="T23" fmla="*/ 0 h 878"/>
                <a:gd name="T24" fmla="*/ 0 w 1273"/>
                <a:gd name="T25" fmla="*/ 0 h 878"/>
                <a:gd name="T26" fmla="*/ 0 w 1273"/>
                <a:gd name="T27" fmla="*/ 0 h 878"/>
                <a:gd name="T28" fmla="*/ 0 w 1273"/>
                <a:gd name="T29" fmla="*/ 0 h 878"/>
                <a:gd name="T30" fmla="*/ 0 w 1273"/>
                <a:gd name="T31" fmla="*/ 0 h 878"/>
                <a:gd name="T32" fmla="*/ 0 w 1273"/>
                <a:gd name="T33" fmla="*/ 0 h 878"/>
                <a:gd name="T34" fmla="*/ 0 w 1273"/>
                <a:gd name="T35" fmla="*/ 0 h 878"/>
                <a:gd name="T36" fmla="*/ 0 w 1273"/>
                <a:gd name="T37" fmla="*/ 0 h 878"/>
                <a:gd name="T38" fmla="*/ 0 w 1273"/>
                <a:gd name="T39" fmla="*/ 0 h 878"/>
                <a:gd name="T40" fmla="*/ 0 w 1273"/>
                <a:gd name="T41" fmla="*/ 0 h 878"/>
                <a:gd name="T42" fmla="*/ 0 w 1273"/>
                <a:gd name="T43" fmla="*/ 0 h 878"/>
                <a:gd name="T44" fmla="*/ 0 w 1273"/>
                <a:gd name="T45" fmla="*/ 0 h 878"/>
                <a:gd name="T46" fmla="*/ 0 w 1273"/>
                <a:gd name="T47" fmla="*/ 0 h 878"/>
                <a:gd name="T48" fmla="*/ 0 w 1273"/>
                <a:gd name="T49" fmla="*/ 0 h 878"/>
                <a:gd name="T50" fmla="*/ 0 w 1273"/>
                <a:gd name="T51" fmla="*/ 0 h 878"/>
                <a:gd name="T52" fmla="*/ 0 w 1273"/>
                <a:gd name="T53" fmla="*/ 0 h 878"/>
                <a:gd name="T54" fmla="*/ 0 w 1273"/>
                <a:gd name="T55" fmla="*/ 0 h 878"/>
                <a:gd name="T56" fmla="*/ 0 w 1273"/>
                <a:gd name="T57" fmla="*/ 0 h 878"/>
                <a:gd name="T58" fmla="*/ 0 w 1273"/>
                <a:gd name="T59" fmla="*/ 0 h 878"/>
                <a:gd name="T60" fmla="*/ 0 w 1273"/>
                <a:gd name="T61" fmla="*/ 0 h 878"/>
                <a:gd name="T62" fmla="*/ 0 w 1273"/>
                <a:gd name="T63" fmla="*/ 0 h 878"/>
                <a:gd name="T64" fmla="*/ 0 w 1273"/>
                <a:gd name="T65" fmla="*/ 0 h 878"/>
                <a:gd name="T66" fmla="*/ 0 w 1273"/>
                <a:gd name="T67" fmla="*/ 0 h 878"/>
                <a:gd name="T68" fmla="*/ 0 w 1273"/>
                <a:gd name="T69" fmla="*/ 0 h 878"/>
                <a:gd name="T70" fmla="*/ 0 w 1273"/>
                <a:gd name="T71" fmla="*/ 0 h 878"/>
                <a:gd name="T72" fmla="*/ 0 w 1273"/>
                <a:gd name="T73" fmla="*/ 0 h 878"/>
                <a:gd name="T74" fmla="*/ 0 w 1273"/>
                <a:gd name="T75" fmla="*/ 0 h 878"/>
                <a:gd name="T76" fmla="*/ 0 w 1273"/>
                <a:gd name="T77" fmla="*/ 0 h 878"/>
                <a:gd name="T78" fmla="*/ 0 w 1273"/>
                <a:gd name="T79" fmla="*/ 0 h 878"/>
                <a:gd name="T80" fmla="*/ 0 w 1273"/>
                <a:gd name="T81" fmla="*/ 0 h 878"/>
                <a:gd name="T82" fmla="*/ 0 w 1273"/>
                <a:gd name="T83" fmla="*/ 0 h 878"/>
                <a:gd name="T84" fmla="*/ 0 w 1273"/>
                <a:gd name="T85" fmla="*/ 0 h 878"/>
                <a:gd name="T86" fmla="*/ 0 w 1273"/>
                <a:gd name="T87" fmla="*/ 0 h 878"/>
                <a:gd name="T88" fmla="*/ 0 w 1273"/>
                <a:gd name="T89" fmla="*/ 0 h 878"/>
                <a:gd name="T90" fmla="*/ 0 w 1273"/>
                <a:gd name="T91" fmla="*/ 0 h 878"/>
                <a:gd name="T92" fmla="*/ 0 w 1273"/>
                <a:gd name="T93" fmla="*/ 0 h 878"/>
                <a:gd name="T94" fmla="*/ 0 w 1273"/>
                <a:gd name="T95" fmla="*/ 0 h 878"/>
                <a:gd name="T96" fmla="*/ 0 w 1273"/>
                <a:gd name="T97" fmla="*/ 0 h 878"/>
                <a:gd name="T98" fmla="*/ 0 w 1273"/>
                <a:gd name="T99" fmla="*/ 0 h 878"/>
                <a:gd name="T100" fmla="*/ 0 w 1273"/>
                <a:gd name="T101" fmla="*/ 0 h 878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273"/>
                <a:gd name="T154" fmla="*/ 0 h 878"/>
                <a:gd name="T155" fmla="*/ 1273 w 1273"/>
                <a:gd name="T156" fmla="*/ 878 h 878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273" h="878">
                  <a:moveTo>
                    <a:pt x="833" y="727"/>
                  </a:moveTo>
                  <a:cubicBezTo>
                    <a:pt x="861" y="723"/>
                    <a:pt x="881" y="719"/>
                    <a:pt x="905" y="703"/>
                  </a:cubicBezTo>
                  <a:cubicBezTo>
                    <a:pt x="917" y="687"/>
                    <a:pt x="937" y="683"/>
                    <a:pt x="957" y="675"/>
                  </a:cubicBezTo>
                  <a:cubicBezTo>
                    <a:pt x="969" y="668"/>
                    <a:pt x="966" y="674"/>
                    <a:pt x="977" y="659"/>
                  </a:cubicBezTo>
                  <a:cubicBezTo>
                    <a:pt x="993" y="639"/>
                    <a:pt x="997" y="603"/>
                    <a:pt x="1021" y="587"/>
                  </a:cubicBezTo>
                  <a:cubicBezTo>
                    <a:pt x="1025" y="571"/>
                    <a:pt x="1033" y="551"/>
                    <a:pt x="1037" y="535"/>
                  </a:cubicBezTo>
                  <a:cubicBezTo>
                    <a:pt x="1041" y="527"/>
                    <a:pt x="1045" y="511"/>
                    <a:pt x="1045" y="511"/>
                  </a:cubicBezTo>
                  <a:cubicBezTo>
                    <a:pt x="1049" y="483"/>
                    <a:pt x="1053" y="459"/>
                    <a:pt x="1073" y="439"/>
                  </a:cubicBezTo>
                  <a:cubicBezTo>
                    <a:pt x="1077" y="423"/>
                    <a:pt x="1081" y="403"/>
                    <a:pt x="1093" y="387"/>
                  </a:cubicBezTo>
                  <a:cubicBezTo>
                    <a:pt x="1101" y="343"/>
                    <a:pt x="1129" y="215"/>
                    <a:pt x="1169" y="187"/>
                  </a:cubicBezTo>
                  <a:cubicBezTo>
                    <a:pt x="1201" y="172"/>
                    <a:pt x="1207" y="178"/>
                    <a:pt x="1216" y="162"/>
                  </a:cubicBezTo>
                  <a:cubicBezTo>
                    <a:pt x="1249" y="148"/>
                    <a:pt x="1257" y="144"/>
                    <a:pt x="1273" y="131"/>
                  </a:cubicBezTo>
                  <a:cubicBezTo>
                    <a:pt x="1269" y="31"/>
                    <a:pt x="1225" y="59"/>
                    <a:pt x="1145" y="51"/>
                  </a:cubicBezTo>
                  <a:cubicBezTo>
                    <a:pt x="1129" y="35"/>
                    <a:pt x="1136" y="24"/>
                    <a:pt x="1116" y="16"/>
                  </a:cubicBezTo>
                  <a:cubicBezTo>
                    <a:pt x="1101" y="16"/>
                    <a:pt x="1074" y="29"/>
                    <a:pt x="1053" y="27"/>
                  </a:cubicBezTo>
                  <a:cubicBezTo>
                    <a:pt x="1032" y="25"/>
                    <a:pt x="1013" y="4"/>
                    <a:pt x="988" y="1"/>
                  </a:cubicBezTo>
                  <a:cubicBezTo>
                    <a:pt x="954" y="0"/>
                    <a:pt x="931" y="8"/>
                    <a:pt x="903" y="9"/>
                  </a:cubicBezTo>
                  <a:cubicBezTo>
                    <a:pt x="875" y="10"/>
                    <a:pt x="844" y="1"/>
                    <a:pt x="822" y="10"/>
                  </a:cubicBezTo>
                  <a:cubicBezTo>
                    <a:pt x="802" y="22"/>
                    <a:pt x="788" y="47"/>
                    <a:pt x="772" y="63"/>
                  </a:cubicBezTo>
                  <a:cubicBezTo>
                    <a:pt x="768" y="95"/>
                    <a:pt x="771" y="136"/>
                    <a:pt x="732" y="129"/>
                  </a:cubicBezTo>
                  <a:cubicBezTo>
                    <a:pt x="716" y="129"/>
                    <a:pt x="701" y="139"/>
                    <a:pt x="685" y="135"/>
                  </a:cubicBezTo>
                  <a:cubicBezTo>
                    <a:pt x="673" y="131"/>
                    <a:pt x="649" y="123"/>
                    <a:pt x="649" y="123"/>
                  </a:cubicBezTo>
                  <a:cubicBezTo>
                    <a:pt x="610" y="180"/>
                    <a:pt x="615" y="172"/>
                    <a:pt x="529" y="175"/>
                  </a:cubicBezTo>
                  <a:cubicBezTo>
                    <a:pt x="499" y="181"/>
                    <a:pt x="499" y="208"/>
                    <a:pt x="506" y="227"/>
                  </a:cubicBezTo>
                  <a:cubicBezTo>
                    <a:pt x="504" y="333"/>
                    <a:pt x="441" y="282"/>
                    <a:pt x="271" y="309"/>
                  </a:cubicBezTo>
                  <a:cubicBezTo>
                    <a:pt x="264" y="300"/>
                    <a:pt x="254" y="296"/>
                    <a:pt x="246" y="289"/>
                  </a:cubicBezTo>
                  <a:cubicBezTo>
                    <a:pt x="238" y="282"/>
                    <a:pt x="255" y="277"/>
                    <a:pt x="222" y="267"/>
                  </a:cubicBezTo>
                  <a:cubicBezTo>
                    <a:pt x="205" y="252"/>
                    <a:pt x="182" y="251"/>
                    <a:pt x="182" y="251"/>
                  </a:cubicBezTo>
                  <a:cubicBezTo>
                    <a:pt x="171" y="248"/>
                    <a:pt x="145" y="232"/>
                    <a:pt x="135" y="232"/>
                  </a:cubicBezTo>
                  <a:cubicBezTo>
                    <a:pt x="128" y="247"/>
                    <a:pt x="181" y="270"/>
                    <a:pt x="142" y="342"/>
                  </a:cubicBezTo>
                  <a:cubicBezTo>
                    <a:pt x="90" y="346"/>
                    <a:pt x="60" y="346"/>
                    <a:pt x="25" y="348"/>
                  </a:cubicBezTo>
                  <a:cubicBezTo>
                    <a:pt x="0" y="351"/>
                    <a:pt x="40" y="355"/>
                    <a:pt x="48" y="360"/>
                  </a:cubicBezTo>
                  <a:cubicBezTo>
                    <a:pt x="58" y="370"/>
                    <a:pt x="76" y="375"/>
                    <a:pt x="88" y="412"/>
                  </a:cubicBezTo>
                  <a:cubicBezTo>
                    <a:pt x="66" y="418"/>
                    <a:pt x="64" y="454"/>
                    <a:pt x="52" y="462"/>
                  </a:cubicBezTo>
                  <a:cubicBezTo>
                    <a:pt x="70" y="544"/>
                    <a:pt x="58" y="570"/>
                    <a:pt x="7" y="589"/>
                  </a:cubicBezTo>
                  <a:cubicBezTo>
                    <a:pt x="19" y="609"/>
                    <a:pt x="27" y="619"/>
                    <a:pt x="38" y="639"/>
                  </a:cubicBezTo>
                  <a:cubicBezTo>
                    <a:pt x="42" y="651"/>
                    <a:pt x="57" y="672"/>
                    <a:pt x="55" y="687"/>
                  </a:cubicBezTo>
                  <a:cubicBezTo>
                    <a:pt x="70" y="693"/>
                    <a:pt x="78" y="703"/>
                    <a:pt x="78" y="703"/>
                  </a:cubicBezTo>
                  <a:cubicBezTo>
                    <a:pt x="99" y="708"/>
                    <a:pt x="103" y="721"/>
                    <a:pt x="112" y="735"/>
                  </a:cubicBezTo>
                  <a:cubicBezTo>
                    <a:pt x="130" y="742"/>
                    <a:pt x="158" y="751"/>
                    <a:pt x="182" y="759"/>
                  </a:cubicBezTo>
                  <a:cubicBezTo>
                    <a:pt x="203" y="773"/>
                    <a:pt x="235" y="784"/>
                    <a:pt x="237" y="804"/>
                  </a:cubicBezTo>
                  <a:cubicBezTo>
                    <a:pt x="264" y="807"/>
                    <a:pt x="271" y="820"/>
                    <a:pt x="283" y="829"/>
                  </a:cubicBezTo>
                  <a:cubicBezTo>
                    <a:pt x="305" y="845"/>
                    <a:pt x="289" y="853"/>
                    <a:pt x="310" y="859"/>
                  </a:cubicBezTo>
                  <a:cubicBezTo>
                    <a:pt x="331" y="865"/>
                    <a:pt x="384" y="866"/>
                    <a:pt x="411" y="868"/>
                  </a:cubicBezTo>
                  <a:cubicBezTo>
                    <a:pt x="447" y="873"/>
                    <a:pt x="453" y="878"/>
                    <a:pt x="471" y="874"/>
                  </a:cubicBezTo>
                  <a:cubicBezTo>
                    <a:pt x="475" y="870"/>
                    <a:pt x="512" y="856"/>
                    <a:pt x="516" y="852"/>
                  </a:cubicBezTo>
                  <a:cubicBezTo>
                    <a:pt x="524" y="844"/>
                    <a:pt x="529" y="843"/>
                    <a:pt x="542" y="835"/>
                  </a:cubicBezTo>
                  <a:cubicBezTo>
                    <a:pt x="555" y="827"/>
                    <a:pt x="578" y="811"/>
                    <a:pt x="594" y="803"/>
                  </a:cubicBezTo>
                  <a:cubicBezTo>
                    <a:pt x="614" y="775"/>
                    <a:pt x="614" y="783"/>
                    <a:pt x="645" y="779"/>
                  </a:cubicBezTo>
                  <a:cubicBezTo>
                    <a:pt x="665" y="759"/>
                    <a:pt x="681" y="731"/>
                    <a:pt x="709" y="723"/>
                  </a:cubicBezTo>
                  <a:cubicBezTo>
                    <a:pt x="749" y="727"/>
                    <a:pt x="789" y="723"/>
                    <a:pt x="833" y="727"/>
                  </a:cubicBez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  <p:sp>
          <p:nvSpPr>
            <p:cNvPr id="39" name="Freeform 98"/>
            <p:cNvSpPr>
              <a:spLocks noChangeAspect="1"/>
            </p:cNvSpPr>
            <p:nvPr/>
          </p:nvSpPr>
          <p:spPr bwMode="auto">
            <a:xfrm>
              <a:off x="2721" y="2595"/>
              <a:ext cx="473" cy="402"/>
            </a:xfrm>
            <a:custGeom>
              <a:avLst/>
              <a:gdLst>
                <a:gd name="T0" fmla="*/ 0 w 1874"/>
                <a:gd name="T1" fmla="*/ 0 h 1593"/>
                <a:gd name="T2" fmla="*/ 0 w 1874"/>
                <a:gd name="T3" fmla="*/ 0 h 1593"/>
                <a:gd name="T4" fmla="*/ 0 w 1874"/>
                <a:gd name="T5" fmla="*/ 0 h 1593"/>
                <a:gd name="T6" fmla="*/ 0 w 1874"/>
                <a:gd name="T7" fmla="*/ 0 h 1593"/>
                <a:gd name="T8" fmla="*/ 0 w 1874"/>
                <a:gd name="T9" fmla="*/ 0 h 1593"/>
                <a:gd name="T10" fmla="*/ 0 w 1874"/>
                <a:gd name="T11" fmla="*/ 0 h 1593"/>
                <a:gd name="T12" fmla="*/ 0 w 1874"/>
                <a:gd name="T13" fmla="*/ 0 h 1593"/>
                <a:gd name="T14" fmla="*/ 0 w 1874"/>
                <a:gd name="T15" fmla="*/ 0 h 1593"/>
                <a:gd name="T16" fmla="*/ 0 w 1874"/>
                <a:gd name="T17" fmla="*/ 0 h 1593"/>
                <a:gd name="T18" fmla="*/ 0 w 1874"/>
                <a:gd name="T19" fmla="*/ 0 h 1593"/>
                <a:gd name="T20" fmla="*/ 0 w 1874"/>
                <a:gd name="T21" fmla="*/ 0 h 1593"/>
                <a:gd name="T22" fmla="*/ 0 w 1874"/>
                <a:gd name="T23" fmla="*/ 0 h 1593"/>
                <a:gd name="T24" fmla="*/ 0 w 1874"/>
                <a:gd name="T25" fmla="*/ 0 h 1593"/>
                <a:gd name="T26" fmla="*/ 0 w 1874"/>
                <a:gd name="T27" fmla="*/ 0 h 1593"/>
                <a:gd name="T28" fmla="*/ 0 w 1874"/>
                <a:gd name="T29" fmla="*/ 0 h 1593"/>
                <a:gd name="T30" fmla="*/ 0 w 1874"/>
                <a:gd name="T31" fmla="*/ 0 h 1593"/>
                <a:gd name="T32" fmla="*/ 0 w 1874"/>
                <a:gd name="T33" fmla="*/ 0 h 1593"/>
                <a:gd name="T34" fmla="*/ 0 w 1874"/>
                <a:gd name="T35" fmla="*/ 0 h 1593"/>
                <a:gd name="T36" fmla="*/ 0 w 1874"/>
                <a:gd name="T37" fmla="*/ 0 h 1593"/>
                <a:gd name="T38" fmla="*/ 0 w 1874"/>
                <a:gd name="T39" fmla="*/ 0 h 1593"/>
                <a:gd name="T40" fmla="*/ 0 w 1874"/>
                <a:gd name="T41" fmla="*/ 0 h 1593"/>
                <a:gd name="T42" fmla="*/ 0 w 1874"/>
                <a:gd name="T43" fmla="*/ 0 h 1593"/>
                <a:gd name="T44" fmla="*/ 0 w 1874"/>
                <a:gd name="T45" fmla="*/ 0 h 1593"/>
                <a:gd name="T46" fmla="*/ 0 w 1874"/>
                <a:gd name="T47" fmla="*/ 0 h 1593"/>
                <a:gd name="T48" fmla="*/ 0 w 1874"/>
                <a:gd name="T49" fmla="*/ 0 h 1593"/>
                <a:gd name="T50" fmla="*/ 0 w 1874"/>
                <a:gd name="T51" fmla="*/ 0 h 1593"/>
                <a:gd name="T52" fmla="*/ 0 w 1874"/>
                <a:gd name="T53" fmla="*/ 0 h 1593"/>
                <a:gd name="T54" fmla="*/ 0 w 1874"/>
                <a:gd name="T55" fmla="*/ 0 h 1593"/>
                <a:gd name="T56" fmla="*/ 0 w 1874"/>
                <a:gd name="T57" fmla="*/ 0 h 1593"/>
                <a:gd name="T58" fmla="*/ 0 w 1874"/>
                <a:gd name="T59" fmla="*/ 0 h 1593"/>
                <a:gd name="T60" fmla="*/ 0 w 1874"/>
                <a:gd name="T61" fmla="*/ 0 h 1593"/>
                <a:gd name="T62" fmla="*/ 0 w 1874"/>
                <a:gd name="T63" fmla="*/ 0 h 1593"/>
                <a:gd name="T64" fmla="*/ 0 w 1874"/>
                <a:gd name="T65" fmla="*/ 0 h 1593"/>
                <a:gd name="T66" fmla="*/ 0 w 1874"/>
                <a:gd name="T67" fmla="*/ 0 h 1593"/>
                <a:gd name="T68" fmla="*/ 0 w 1874"/>
                <a:gd name="T69" fmla="*/ 0 h 1593"/>
                <a:gd name="T70" fmla="*/ 0 w 1874"/>
                <a:gd name="T71" fmla="*/ 0 h 1593"/>
                <a:gd name="T72" fmla="*/ 0 w 1874"/>
                <a:gd name="T73" fmla="*/ 0 h 1593"/>
                <a:gd name="T74" fmla="*/ 0 w 1874"/>
                <a:gd name="T75" fmla="*/ 0 h 1593"/>
                <a:gd name="T76" fmla="*/ 0 w 1874"/>
                <a:gd name="T77" fmla="*/ 0 h 1593"/>
                <a:gd name="T78" fmla="*/ 0 w 1874"/>
                <a:gd name="T79" fmla="*/ 0 h 1593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874"/>
                <a:gd name="T121" fmla="*/ 0 h 1593"/>
                <a:gd name="T122" fmla="*/ 1874 w 1874"/>
                <a:gd name="T123" fmla="*/ 1593 h 1593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874" h="1593">
                  <a:moveTo>
                    <a:pt x="927" y="76"/>
                  </a:moveTo>
                  <a:cubicBezTo>
                    <a:pt x="911" y="80"/>
                    <a:pt x="911" y="92"/>
                    <a:pt x="891" y="96"/>
                  </a:cubicBezTo>
                  <a:cubicBezTo>
                    <a:pt x="883" y="100"/>
                    <a:pt x="867" y="104"/>
                    <a:pt x="867" y="104"/>
                  </a:cubicBezTo>
                  <a:cubicBezTo>
                    <a:pt x="843" y="140"/>
                    <a:pt x="799" y="112"/>
                    <a:pt x="767" y="100"/>
                  </a:cubicBezTo>
                  <a:cubicBezTo>
                    <a:pt x="759" y="80"/>
                    <a:pt x="751" y="44"/>
                    <a:pt x="735" y="28"/>
                  </a:cubicBezTo>
                  <a:cubicBezTo>
                    <a:pt x="723" y="16"/>
                    <a:pt x="687" y="0"/>
                    <a:pt x="687" y="0"/>
                  </a:cubicBezTo>
                  <a:cubicBezTo>
                    <a:pt x="543" y="0"/>
                    <a:pt x="595" y="16"/>
                    <a:pt x="507" y="44"/>
                  </a:cubicBezTo>
                  <a:cubicBezTo>
                    <a:pt x="499" y="68"/>
                    <a:pt x="451" y="108"/>
                    <a:pt x="423" y="112"/>
                  </a:cubicBezTo>
                  <a:cubicBezTo>
                    <a:pt x="403" y="116"/>
                    <a:pt x="363" y="128"/>
                    <a:pt x="363" y="128"/>
                  </a:cubicBezTo>
                  <a:cubicBezTo>
                    <a:pt x="355" y="144"/>
                    <a:pt x="323" y="168"/>
                    <a:pt x="323" y="168"/>
                  </a:cubicBezTo>
                  <a:cubicBezTo>
                    <a:pt x="307" y="192"/>
                    <a:pt x="295" y="192"/>
                    <a:pt x="267" y="200"/>
                  </a:cubicBezTo>
                  <a:cubicBezTo>
                    <a:pt x="255" y="216"/>
                    <a:pt x="247" y="212"/>
                    <a:pt x="231" y="224"/>
                  </a:cubicBezTo>
                  <a:cubicBezTo>
                    <a:pt x="219" y="260"/>
                    <a:pt x="175" y="260"/>
                    <a:pt x="143" y="264"/>
                  </a:cubicBezTo>
                  <a:cubicBezTo>
                    <a:pt x="115" y="272"/>
                    <a:pt x="123" y="276"/>
                    <a:pt x="99" y="292"/>
                  </a:cubicBezTo>
                  <a:cubicBezTo>
                    <a:pt x="91" y="308"/>
                    <a:pt x="67" y="328"/>
                    <a:pt x="51" y="332"/>
                  </a:cubicBezTo>
                  <a:cubicBezTo>
                    <a:pt x="47" y="348"/>
                    <a:pt x="35" y="380"/>
                    <a:pt x="35" y="380"/>
                  </a:cubicBezTo>
                  <a:cubicBezTo>
                    <a:pt x="43" y="404"/>
                    <a:pt x="56" y="405"/>
                    <a:pt x="60" y="433"/>
                  </a:cubicBezTo>
                  <a:cubicBezTo>
                    <a:pt x="60" y="453"/>
                    <a:pt x="49" y="557"/>
                    <a:pt x="36" y="595"/>
                  </a:cubicBezTo>
                  <a:cubicBezTo>
                    <a:pt x="0" y="608"/>
                    <a:pt x="22" y="637"/>
                    <a:pt x="59" y="648"/>
                  </a:cubicBezTo>
                  <a:cubicBezTo>
                    <a:pt x="75" y="668"/>
                    <a:pt x="108" y="679"/>
                    <a:pt x="123" y="716"/>
                  </a:cubicBezTo>
                  <a:cubicBezTo>
                    <a:pt x="120" y="736"/>
                    <a:pt x="104" y="764"/>
                    <a:pt x="100" y="788"/>
                  </a:cubicBezTo>
                  <a:cubicBezTo>
                    <a:pt x="114" y="815"/>
                    <a:pt x="122" y="825"/>
                    <a:pt x="130" y="853"/>
                  </a:cubicBezTo>
                  <a:cubicBezTo>
                    <a:pt x="126" y="885"/>
                    <a:pt x="131" y="890"/>
                    <a:pt x="123" y="914"/>
                  </a:cubicBezTo>
                  <a:cubicBezTo>
                    <a:pt x="132" y="935"/>
                    <a:pt x="121" y="948"/>
                    <a:pt x="129" y="968"/>
                  </a:cubicBezTo>
                  <a:cubicBezTo>
                    <a:pt x="133" y="1016"/>
                    <a:pt x="143" y="1012"/>
                    <a:pt x="191" y="1016"/>
                  </a:cubicBezTo>
                  <a:cubicBezTo>
                    <a:pt x="199" y="1020"/>
                    <a:pt x="216" y="1011"/>
                    <a:pt x="216" y="1019"/>
                  </a:cubicBezTo>
                  <a:cubicBezTo>
                    <a:pt x="216" y="1027"/>
                    <a:pt x="220" y="1037"/>
                    <a:pt x="207" y="1048"/>
                  </a:cubicBezTo>
                  <a:cubicBezTo>
                    <a:pt x="195" y="1057"/>
                    <a:pt x="190" y="1070"/>
                    <a:pt x="190" y="1070"/>
                  </a:cubicBezTo>
                  <a:cubicBezTo>
                    <a:pt x="194" y="1106"/>
                    <a:pt x="196" y="1100"/>
                    <a:pt x="213" y="1114"/>
                  </a:cubicBezTo>
                  <a:cubicBezTo>
                    <a:pt x="221" y="1126"/>
                    <a:pt x="214" y="1157"/>
                    <a:pt x="220" y="1166"/>
                  </a:cubicBezTo>
                  <a:cubicBezTo>
                    <a:pt x="226" y="1175"/>
                    <a:pt x="231" y="1162"/>
                    <a:pt x="252" y="1171"/>
                  </a:cubicBezTo>
                  <a:cubicBezTo>
                    <a:pt x="273" y="1180"/>
                    <a:pt x="304" y="1216"/>
                    <a:pt x="349" y="1223"/>
                  </a:cubicBezTo>
                  <a:cubicBezTo>
                    <a:pt x="385" y="1233"/>
                    <a:pt x="450" y="1215"/>
                    <a:pt x="471" y="1232"/>
                  </a:cubicBezTo>
                  <a:cubicBezTo>
                    <a:pt x="499" y="1276"/>
                    <a:pt x="431" y="1300"/>
                    <a:pt x="475" y="1328"/>
                  </a:cubicBezTo>
                  <a:cubicBezTo>
                    <a:pt x="489" y="1355"/>
                    <a:pt x="505" y="1352"/>
                    <a:pt x="528" y="1390"/>
                  </a:cubicBezTo>
                  <a:cubicBezTo>
                    <a:pt x="540" y="1396"/>
                    <a:pt x="552" y="1386"/>
                    <a:pt x="558" y="1375"/>
                  </a:cubicBezTo>
                  <a:cubicBezTo>
                    <a:pt x="564" y="1364"/>
                    <a:pt x="594" y="1355"/>
                    <a:pt x="567" y="1324"/>
                  </a:cubicBezTo>
                  <a:cubicBezTo>
                    <a:pt x="589" y="1310"/>
                    <a:pt x="592" y="1313"/>
                    <a:pt x="607" y="1312"/>
                  </a:cubicBezTo>
                  <a:cubicBezTo>
                    <a:pt x="635" y="1316"/>
                    <a:pt x="635" y="1330"/>
                    <a:pt x="663" y="1334"/>
                  </a:cubicBezTo>
                  <a:cubicBezTo>
                    <a:pt x="671" y="1338"/>
                    <a:pt x="689" y="1320"/>
                    <a:pt x="697" y="1324"/>
                  </a:cubicBezTo>
                  <a:cubicBezTo>
                    <a:pt x="709" y="1321"/>
                    <a:pt x="724" y="1336"/>
                    <a:pt x="724" y="1336"/>
                  </a:cubicBezTo>
                  <a:cubicBezTo>
                    <a:pt x="732" y="1344"/>
                    <a:pt x="696" y="1363"/>
                    <a:pt x="718" y="1391"/>
                  </a:cubicBezTo>
                  <a:cubicBezTo>
                    <a:pt x="763" y="1405"/>
                    <a:pt x="828" y="1397"/>
                    <a:pt x="875" y="1408"/>
                  </a:cubicBezTo>
                  <a:cubicBezTo>
                    <a:pt x="903" y="1448"/>
                    <a:pt x="910" y="1469"/>
                    <a:pt x="943" y="1486"/>
                  </a:cubicBezTo>
                  <a:cubicBezTo>
                    <a:pt x="951" y="1502"/>
                    <a:pt x="958" y="1508"/>
                    <a:pt x="974" y="1516"/>
                  </a:cubicBezTo>
                  <a:cubicBezTo>
                    <a:pt x="978" y="1532"/>
                    <a:pt x="1000" y="1540"/>
                    <a:pt x="1014" y="1549"/>
                  </a:cubicBezTo>
                  <a:cubicBezTo>
                    <a:pt x="1048" y="1522"/>
                    <a:pt x="1035" y="1523"/>
                    <a:pt x="1059" y="1487"/>
                  </a:cubicBezTo>
                  <a:cubicBezTo>
                    <a:pt x="1072" y="1487"/>
                    <a:pt x="1080" y="1511"/>
                    <a:pt x="1118" y="1536"/>
                  </a:cubicBezTo>
                  <a:cubicBezTo>
                    <a:pt x="1140" y="1552"/>
                    <a:pt x="1145" y="1569"/>
                    <a:pt x="1165" y="1577"/>
                  </a:cubicBezTo>
                  <a:cubicBezTo>
                    <a:pt x="1181" y="1593"/>
                    <a:pt x="1168" y="1577"/>
                    <a:pt x="1206" y="1580"/>
                  </a:cubicBezTo>
                  <a:cubicBezTo>
                    <a:pt x="1218" y="1547"/>
                    <a:pt x="1215" y="1522"/>
                    <a:pt x="1308" y="1516"/>
                  </a:cubicBezTo>
                  <a:cubicBezTo>
                    <a:pt x="1328" y="1520"/>
                    <a:pt x="1351" y="1535"/>
                    <a:pt x="1351" y="1535"/>
                  </a:cubicBezTo>
                  <a:cubicBezTo>
                    <a:pt x="1366" y="1516"/>
                    <a:pt x="1396" y="1502"/>
                    <a:pt x="1478" y="1480"/>
                  </a:cubicBezTo>
                  <a:cubicBezTo>
                    <a:pt x="1502" y="1484"/>
                    <a:pt x="1519" y="1487"/>
                    <a:pt x="1543" y="1495"/>
                  </a:cubicBezTo>
                  <a:cubicBezTo>
                    <a:pt x="1579" y="1513"/>
                    <a:pt x="1626" y="1519"/>
                    <a:pt x="1682" y="1540"/>
                  </a:cubicBezTo>
                  <a:cubicBezTo>
                    <a:pt x="1694" y="1540"/>
                    <a:pt x="1710" y="1548"/>
                    <a:pt x="1714" y="1536"/>
                  </a:cubicBezTo>
                  <a:cubicBezTo>
                    <a:pt x="1718" y="1520"/>
                    <a:pt x="1694" y="1456"/>
                    <a:pt x="1682" y="1436"/>
                  </a:cubicBezTo>
                  <a:cubicBezTo>
                    <a:pt x="1674" y="1396"/>
                    <a:pt x="1674" y="1380"/>
                    <a:pt x="1706" y="1360"/>
                  </a:cubicBezTo>
                  <a:cubicBezTo>
                    <a:pt x="1714" y="1348"/>
                    <a:pt x="1722" y="1324"/>
                    <a:pt x="1722" y="1324"/>
                  </a:cubicBezTo>
                  <a:cubicBezTo>
                    <a:pt x="1726" y="1284"/>
                    <a:pt x="1726" y="1236"/>
                    <a:pt x="1770" y="1220"/>
                  </a:cubicBezTo>
                  <a:cubicBezTo>
                    <a:pt x="1802" y="1172"/>
                    <a:pt x="1842" y="1144"/>
                    <a:pt x="1874" y="1096"/>
                  </a:cubicBezTo>
                  <a:cubicBezTo>
                    <a:pt x="1874" y="1032"/>
                    <a:pt x="1874" y="1016"/>
                    <a:pt x="1862" y="980"/>
                  </a:cubicBezTo>
                  <a:cubicBezTo>
                    <a:pt x="1870" y="952"/>
                    <a:pt x="1846" y="944"/>
                    <a:pt x="1822" y="940"/>
                  </a:cubicBezTo>
                  <a:cubicBezTo>
                    <a:pt x="1814" y="916"/>
                    <a:pt x="1810" y="912"/>
                    <a:pt x="1790" y="896"/>
                  </a:cubicBezTo>
                  <a:cubicBezTo>
                    <a:pt x="1778" y="888"/>
                    <a:pt x="1754" y="872"/>
                    <a:pt x="1754" y="872"/>
                  </a:cubicBezTo>
                  <a:cubicBezTo>
                    <a:pt x="1742" y="812"/>
                    <a:pt x="1722" y="780"/>
                    <a:pt x="1714" y="744"/>
                  </a:cubicBezTo>
                  <a:cubicBezTo>
                    <a:pt x="1726" y="644"/>
                    <a:pt x="1726" y="632"/>
                    <a:pt x="1630" y="624"/>
                  </a:cubicBezTo>
                  <a:cubicBezTo>
                    <a:pt x="1630" y="600"/>
                    <a:pt x="1610" y="564"/>
                    <a:pt x="1634" y="548"/>
                  </a:cubicBezTo>
                  <a:cubicBezTo>
                    <a:pt x="1654" y="520"/>
                    <a:pt x="1666" y="496"/>
                    <a:pt x="1702" y="484"/>
                  </a:cubicBezTo>
                  <a:cubicBezTo>
                    <a:pt x="1710" y="476"/>
                    <a:pt x="1722" y="448"/>
                    <a:pt x="1722" y="448"/>
                  </a:cubicBezTo>
                  <a:cubicBezTo>
                    <a:pt x="1722" y="440"/>
                    <a:pt x="1722" y="412"/>
                    <a:pt x="1714" y="400"/>
                  </a:cubicBezTo>
                  <a:cubicBezTo>
                    <a:pt x="1710" y="392"/>
                    <a:pt x="1698" y="376"/>
                    <a:pt x="1698" y="376"/>
                  </a:cubicBezTo>
                  <a:cubicBezTo>
                    <a:pt x="1694" y="368"/>
                    <a:pt x="1690" y="356"/>
                    <a:pt x="1674" y="328"/>
                  </a:cubicBezTo>
                  <a:cubicBezTo>
                    <a:pt x="1662" y="300"/>
                    <a:pt x="1634" y="252"/>
                    <a:pt x="1618" y="216"/>
                  </a:cubicBezTo>
                  <a:cubicBezTo>
                    <a:pt x="1602" y="192"/>
                    <a:pt x="1614" y="108"/>
                    <a:pt x="1586" y="100"/>
                  </a:cubicBezTo>
                  <a:cubicBezTo>
                    <a:pt x="1582" y="76"/>
                    <a:pt x="1554" y="52"/>
                    <a:pt x="1530" y="44"/>
                  </a:cubicBezTo>
                  <a:cubicBezTo>
                    <a:pt x="1510" y="20"/>
                    <a:pt x="1502" y="24"/>
                    <a:pt x="1466" y="20"/>
                  </a:cubicBezTo>
                  <a:cubicBezTo>
                    <a:pt x="1446" y="16"/>
                    <a:pt x="1414" y="16"/>
                    <a:pt x="1394" y="20"/>
                  </a:cubicBezTo>
                  <a:cubicBezTo>
                    <a:pt x="1354" y="40"/>
                    <a:pt x="1318" y="52"/>
                    <a:pt x="1286" y="56"/>
                  </a:cubicBezTo>
                  <a:cubicBezTo>
                    <a:pt x="1234" y="64"/>
                    <a:pt x="1150" y="76"/>
                    <a:pt x="1090" y="80"/>
                  </a:cubicBezTo>
                  <a:cubicBezTo>
                    <a:pt x="1030" y="84"/>
                    <a:pt x="994" y="80"/>
                    <a:pt x="927" y="76"/>
                  </a:cubicBez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  <p:sp>
          <p:nvSpPr>
            <p:cNvPr id="40" name="Freeform 99"/>
            <p:cNvSpPr>
              <a:spLocks noChangeAspect="1"/>
            </p:cNvSpPr>
            <p:nvPr/>
          </p:nvSpPr>
          <p:spPr bwMode="auto">
            <a:xfrm>
              <a:off x="2645" y="2889"/>
              <a:ext cx="321" cy="178"/>
            </a:xfrm>
            <a:custGeom>
              <a:avLst/>
              <a:gdLst>
                <a:gd name="T0" fmla="*/ 0 w 1271"/>
                <a:gd name="T1" fmla="*/ 0 h 703"/>
                <a:gd name="T2" fmla="*/ 0 w 1271"/>
                <a:gd name="T3" fmla="*/ 0 h 703"/>
                <a:gd name="T4" fmla="*/ 0 w 1271"/>
                <a:gd name="T5" fmla="*/ 0 h 703"/>
                <a:gd name="T6" fmla="*/ 0 w 1271"/>
                <a:gd name="T7" fmla="*/ 0 h 703"/>
                <a:gd name="T8" fmla="*/ 0 w 1271"/>
                <a:gd name="T9" fmla="*/ 0 h 703"/>
                <a:gd name="T10" fmla="*/ 0 w 1271"/>
                <a:gd name="T11" fmla="*/ 0 h 703"/>
                <a:gd name="T12" fmla="*/ 0 w 1271"/>
                <a:gd name="T13" fmla="*/ 0 h 703"/>
                <a:gd name="T14" fmla="*/ 0 w 1271"/>
                <a:gd name="T15" fmla="*/ 0 h 703"/>
                <a:gd name="T16" fmla="*/ 0 w 1271"/>
                <a:gd name="T17" fmla="*/ 0 h 703"/>
                <a:gd name="T18" fmla="*/ 0 w 1271"/>
                <a:gd name="T19" fmla="*/ 0 h 703"/>
                <a:gd name="T20" fmla="*/ 0 w 1271"/>
                <a:gd name="T21" fmla="*/ 0 h 703"/>
                <a:gd name="T22" fmla="*/ 0 w 1271"/>
                <a:gd name="T23" fmla="*/ 0 h 703"/>
                <a:gd name="T24" fmla="*/ 0 w 1271"/>
                <a:gd name="T25" fmla="*/ 0 h 703"/>
                <a:gd name="T26" fmla="*/ 0 w 1271"/>
                <a:gd name="T27" fmla="*/ 0 h 703"/>
                <a:gd name="T28" fmla="*/ 0 w 1271"/>
                <a:gd name="T29" fmla="*/ 0 h 703"/>
                <a:gd name="T30" fmla="*/ 0 w 1271"/>
                <a:gd name="T31" fmla="*/ 0 h 703"/>
                <a:gd name="T32" fmla="*/ 0 w 1271"/>
                <a:gd name="T33" fmla="*/ 0 h 703"/>
                <a:gd name="T34" fmla="*/ 0 w 1271"/>
                <a:gd name="T35" fmla="*/ 0 h 703"/>
                <a:gd name="T36" fmla="*/ 0 w 1271"/>
                <a:gd name="T37" fmla="*/ 0 h 703"/>
                <a:gd name="T38" fmla="*/ 0 w 1271"/>
                <a:gd name="T39" fmla="*/ 0 h 703"/>
                <a:gd name="T40" fmla="*/ 0 w 1271"/>
                <a:gd name="T41" fmla="*/ 0 h 703"/>
                <a:gd name="T42" fmla="*/ 0 w 1271"/>
                <a:gd name="T43" fmla="*/ 0 h 703"/>
                <a:gd name="T44" fmla="*/ 0 w 1271"/>
                <a:gd name="T45" fmla="*/ 0 h 703"/>
                <a:gd name="T46" fmla="*/ 0 w 1271"/>
                <a:gd name="T47" fmla="*/ 0 h 703"/>
                <a:gd name="T48" fmla="*/ 0 w 1271"/>
                <a:gd name="T49" fmla="*/ 0 h 703"/>
                <a:gd name="T50" fmla="*/ 0 w 1271"/>
                <a:gd name="T51" fmla="*/ 0 h 703"/>
                <a:gd name="T52" fmla="*/ 0 w 1271"/>
                <a:gd name="T53" fmla="*/ 0 h 703"/>
                <a:gd name="T54" fmla="*/ 0 w 1271"/>
                <a:gd name="T55" fmla="*/ 0 h 703"/>
                <a:gd name="T56" fmla="*/ 0 w 1271"/>
                <a:gd name="T57" fmla="*/ 0 h 703"/>
                <a:gd name="T58" fmla="*/ 0 w 1271"/>
                <a:gd name="T59" fmla="*/ 0 h 703"/>
                <a:gd name="T60" fmla="*/ 0 w 1271"/>
                <a:gd name="T61" fmla="*/ 0 h 703"/>
                <a:gd name="T62" fmla="*/ 0 w 1271"/>
                <a:gd name="T63" fmla="*/ 0 h 703"/>
                <a:gd name="T64" fmla="*/ 0 w 1271"/>
                <a:gd name="T65" fmla="*/ 0 h 703"/>
                <a:gd name="T66" fmla="*/ 0 w 1271"/>
                <a:gd name="T67" fmla="*/ 0 h 703"/>
                <a:gd name="T68" fmla="*/ 0 w 1271"/>
                <a:gd name="T69" fmla="*/ 0 h 703"/>
                <a:gd name="T70" fmla="*/ 0 w 1271"/>
                <a:gd name="T71" fmla="*/ 0 h 703"/>
                <a:gd name="T72" fmla="*/ 0 w 1271"/>
                <a:gd name="T73" fmla="*/ 0 h 703"/>
                <a:gd name="T74" fmla="*/ 0 w 1271"/>
                <a:gd name="T75" fmla="*/ 0 h 703"/>
                <a:gd name="T76" fmla="*/ 0 w 1271"/>
                <a:gd name="T77" fmla="*/ 0 h 703"/>
                <a:gd name="T78" fmla="*/ 0 w 1271"/>
                <a:gd name="T79" fmla="*/ 0 h 703"/>
                <a:gd name="T80" fmla="*/ 0 w 1271"/>
                <a:gd name="T81" fmla="*/ 0 h 703"/>
                <a:gd name="T82" fmla="*/ 0 w 1271"/>
                <a:gd name="T83" fmla="*/ 0 h 703"/>
                <a:gd name="T84" fmla="*/ 0 w 1271"/>
                <a:gd name="T85" fmla="*/ 0 h 703"/>
                <a:gd name="T86" fmla="*/ 0 w 1271"/>
                <a:gd name="T87" fmla="*/ 0 h 703"/>
                <a:gd name="T88" fmla="*/ 0 w 1271"/>
                <a:gd name="T89" fmla="*/ 0 h 703"/>
                <a:gd name="T90" fmla="*/ 0 w 1271"/>
                <a:gd name="T91" fmla="*/ 0 h 703"/>
                <a:gd name="T92" fmla="*/ 0 w 1271"/>
                <a:gd name="T93" fmla="*/ 0 h 703"/>
                <a:gd name="T94" fmla="*/ 0 w 1271"/>
                <a:gd name="T95" fmla="*/ 0 h 703"/>
                <a:gd name="T96" fmla="*/ 0 w 1271"/>
                <a:gd name="T97" fmla="*/ 0 h 703"/>
                <a:gd name="T98" fmla="*/ 0 w 1271"/>
                <a:gd name="T99" fmla="*/ 0 h 703"/>
                <a:gd name="T100" fmla="*/ 0 w 1271"/>
                <a:gd name="T101" fmla="*/ 0 h 703"/>
                <a:gd name="T102" fmla="*/ 0 w 1271"/>
                <a:gd name="T103" fmla="*/ 0 h 703"/>
                <a:gd name="T104" fmla="*/ 0 w 1271"/>
                <a:gd name="T105" fmla="*/ 0 h 703"/>
                <a:gd name="T106" fmla="*/ 0 w 1271"/>
                <a:gd name="T107" fmla="*/ 0 h 703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271"/>
                <a:gd name="T163" fmla="*/ 0 h 703"/>
                <a:gd name="T164" fmla="*/ 1271 w 1271"/>
                <a:gd name="T165" fmla="*/ 703 h 703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271" h="703">
                  <a:moveTo>
                    <a:pt x="939" y="620"/>
                  </a:moveTo>
                  <a:cubicBezTo>
                    <a:pt x="947" y="613"/>
                    <a:pt x="939" y="597"/>
                    <a:pt x="954" y="592"/>
                  </a:cubicBezTo>
                  <a:cubicBezTo>
                    <a:pt x="969" y="587"/>
                    <a:pt x="1007" y="598"/>
                    <a:pt x="1032" y="589"/>
                  </a:cubicBezTo>
                  <a:cubicBezTo>
                    <a:pt x="1064" y="581"/>
                    <a:pt x="1084" y="547"/>
                    <a:pt x="1104" y="539"/>
                  </a:cubicBezTo>
                  <a:cubicBezTo>
                    <a:pt x="1111" y="526"/>
                    <a:pt x="1103" y="521"/>
                    <a:pt x="1114" y="503"/>
                  </a:cubicBezTo>
                  <a:cubicBezTo>
                    <a:pt x="1135" y="490"/>
                    <a:pt x="1143" y="452"/>
                    <a:pt x="1171" y="431"/>
                  </a:cubicBezTo>
                  <a:cubicBezTo>
                    <a:pt x="1183" y="391"/>
                    <a:pt x="1206" y="371"/>
                    <a:pt x="1239" y="359"/>
                  </a:cubicBezTo>
                  <a:cubicBezTo>
                    <a:pt x="1270" y="340"/>
                    <a:pt x="1271" y="360"/>
                    <a:pt x="1251" y="340"/>
                  </a:cubicBezTo>
                  <a:cubicBezTo>
                    <a:pt x="1243" y="320"/>
                    <a:pt x="1235" y="312"/>
                    <a:pt x="1215" y="304"/>
                  </a:cubicBezTo>
                  <a:cubicBezTo>
                    <a:pt x="1207" y="288"/>
                    <a:pt x="1191" y="256"/>
                    <a:pt x="1175" y="248"/>
                  </a:cubicBezTo>
                  <a:cubicBezTo>
                    <a:pt x="1135" y="224"/>
                    <a:pt x="1083" y="248"/>
                    <a:pt x="1019" y="228"/>
                  </a:cubicBezTo>
                  <a:cubicBezTo>
                    <a:pt x="1015" y="220"/>
                    <a:pt x="1003" y="208"/>
                    <a:pt x="1007" y="200"/>
                  </a:cubicBezTo>
                  <a:cubicBezTo>
                    <a:pt x="1011" y="192"/>
                    <a:pt x="1023" y="176"/>
                    <a:pt x="1023" y="176"/>
                  </a:cubicBezTo>
                  <a:cubicBezTo>
                    <a:pt x="1015" y="144"/>
                    <a:pt x="987" y="164"/>
                    <a:pt x="963" y="172"/>
                  </a:cubicBezTo>
                  <a:cubicBezTo>
                    <a:pt x="947" y="164"/>
                    <a:pt x="931" y="160"/>
                    <a:pt x="915" y="148"/>
                  </a:cubicBezTo>
                  <a:cubicBezTo>
                    <a:pt x="899" y="148"/>
                    <a:pt x="875" y="152"/>
                    <a:pt x="867" y="160"/>
                  </a:cubicBezTo>
                  <a:cubicBezTo>
                    <a:pt x="887" y="188"/>
                    <a:pt x="875" y="196"/>
                    <a:pt x="855" y="208"/>
                  </a:cubicBezTo>
                  <a:cubicBezTo>
                    <a:pt x="851" y="224"/>
                    <a:pt x="843" y="228"/>
                    <a:pt x="827" y="224"/>
                  </a:cubicBezTo>
                  <a:cubicBezTo>
                    <a:pt x="815" y="208"/>
                    <a:pt x="799" y="188"/>
                    <a:pt x="779" y="176"/>
                  </a:cubicBezTo>
                  <a:cubicBezTo>
                    <a:pt x="775" y="164"/>
                    <a:pt x="759" y="140"/>
                    <a:pt x="759" y="140"/>
                  </a:cubicBezTo>
                  <a:cubicBezTo>
                    <a:pt x="803" y="40"/>
                    <a:pt x="751" y="68"/>
                    <a:pt x="679" y="64"/>
                  </a:cubicBezTo>
                  <a:cubicBezTo>
                    <a:pt x="651" y="56"/>
                    <a:pt x="611" y="52"/>
                    <a:pt x="587" y="32"/>
                  </a:cubicBezTo>
                  <a:cubicBezTo>
                    <a:pt x="575" y="24"/>
                    <a:pt x="551" y="4"/>
                    <a:pt x="551" y="4"/>
                  </a:cubicBezTo>
                  <a:cubicBezTo>
                    <a:pt x="540" y="0"/>
                    <a:pt x="534" y="6"/>
                    <a:pt x="522" y="10"/>
                  </a:cubicBezTo>
                  <a:cubicBezTo>
                    <a:pt x="510" y="14"/>
                    <a:pt x="491" y="25"/>
                    <a:pt x="479" y="28"/>
                  </a:cubicBezTo>
                  <a:cubicBezTo>
                    <a:pt x="475" y="32"/>
                    <a:pt x="447" y="31"/>
                    <a:pt x="447" y="31"/>
                  </a:cubicBezTo>
                  <a:cubicBezTo>
                    <a:pt x="427" y="23"/>
                    <a:pt x="408" y="25"/>
                    <a:pt x="388" y="17"/>
                  </a:cubicBezTo>
                  <a:cubicBezTo>
                    <a:pt x="364" y="43"/>
                    <a:pt x="369" y="29"/>
                    <a:pt x="339" y="76"/>
                  </a:cubicBezTo>
                  <a:cubicBezTo>
                    <a:pt x="285" y="88"/>
                    <a:pt x="301" y="89"/>
                    <a:pt x="289" y="100"/>
                  </a:cubicBezTo>
                  <a:cubicBezTo>
                    <a:pt x="263" y="111"/>
                    <a:pt x="222" y="125"/>
                    <a:pt x="183" y="142"/>
                  </a:cubicBezTo>
                  <a:cubicBezTo>
                    <a:pt x="153" y="158"/>
                    <a:pt x="123" y="182"/>
                    <a:pt x="102" y="193"/>
                  </a:cubicBezTo>
                  <a:cubicBezTo>
                    <a:pt x="81" y="204"/>
                    <a:pt x="70" y="194"/>
                    <a:pt x="58" y="211"/>
                  </a:cubicBezTo>
                  <a:cubicBezTo>
                    <a:pt x="18" y="223"/>
                    <a:pt x="13" y="221"/>
                    <a:pt x="0" y="250"/>
                  </a:cubicBezTo>
                  <a:cubicBezTo>
                    <a:pt x="4" y="286"/>
                    <a:pt x="10" y="283"/>
                    <a:pt x="34" y="299"/>
                  </a:cubicBezTo>
                  <a:cubicBezTo>
                    <a:pt x="60" y="314"/>
                    <a:pt x="55" y="328"/>
                    <a:pt x="63" y="352"/>
                  </a:cubicBezTo>
                  <a:cubicBezTo>
                    <a:pt x="59" y="380"/>
                    <a:pt x="60" y="407"/>
                    <a:pt x="83" y="428"/>
                  </a:cubicBezTo>
                  <a:cubicBezTo>
                    <a:pt x="99" y="454"/>
                    <a:pt x="126" y="473"/>
                    <a:pt x="142" y="485"/>
                  </a:cubicBezTo>
                  <a:cubicBezTo>
                    <a:pt x="162" y="513"/>
                    <a:pt x="178" y="529"/>
                    <a:pt x="207" y="541"/>
                  </a:cubicBezTo>
                  <a:cubicBezTo>
                    <a:pt x="223" y="553"/>
                    <a:pt x="212" y="554"/>
                    <a:pt x="228" y="566"/>
                  </a:cubicBezTo>
                  <a:cubicBezTo>
                    <a:pt x="236" y="573"/>
                    <a:pt x="244" y="580"/>
                    <a:pt x="253" y="593"/>
                  </a:cubicBezTo>
                  <a:cubicBezTo>
                    <a:pt x="265" y="598"/>
                    <a:pt x="285" y="590"/>
                    <a:pt x="301" y="604"/>
                  </a:cubicBezTo>
                  <a:cubicBezTo>
                    <a:pt x="325" y="628"/>
                    <a:pt x="325" y="673"/>
                    <a:pt x="346" y="688"/>
                  </a:cubicBezTo>
                  <a:cubicBezTo>
                    <a:pt x="373" y="680"/>
                    <a:pt x="391" y="696"/>
                    <a:pt x="411" y="700"/>
                  </a:cubicBezTo>
                  <a:cubicBezTo>
                    <a:pt x="439" y="703"/>
                    <a:pt x="453" y="691"/>
                    <a:pt x="486" y="695"/>
                  </a:cubicBezTo>
                  <a:cubicBezTo>
                    <a:pt x="494" y="691"/>
                    <a:pt x="508" y="685"/>
                    <a:pt x="508" y="685"/>
                  </a:cubicBezTo>
                  <a:cubicBezTo>
                    <a:pt x="513" y="659"/>
                    <a:pt x="514" y="619"/>
                    <a:pt x="534" y="599"/>
                  </a:cubicBezTo>
                  <a:cubicBezTo>
                    <a:pt x="534" y="587"/>
                    <a:pt x="552" y="578"/>
                    <a:pt x="564" y="574"/>
                  </a:cubicBezTo>
                  <a:cubicBezTo>
                    <a:pt x="580" y="566"/>
                    <a:pt x="600" y="576"/>
                    <a:pt x="616" y="580"/>
                  </a:cubicBezTo>
                  <a:cubicBezTo>
                    <a:pt x="640" y="584"/>
                    <a:pt x="655" y="588"/>
                    <a:pt x="679" y="588"/>
                  </a:cubicBezTo>
                  <a:cubicBezTo>
                    <a:pt x="708" y="593"/>
                    <a:pt x="735" y="593"/>
                    <a:pt x="731" y="608"/>
                  </a:cubicBezTo>
                  <a:cubicBezTo>
                    <a:pt x="747" y="612"/>
                    <a:pt x="759" y="628"/>
                    <a:pt x="783" y="632"/>
                  </a:cubicBezTo>
                  <a:cubicBezTo>
                    <a:pt x="803" y="636"/>
                    <a:pt x="832" y="635"/>
                    <a:pt x="855" y="636"/>
                  </a:cubicBezTo>
                  <a:cubicBezTo>
                    <a:pt x="880" y="640"/>
                    <a:pt x="891" y="641"/>
                    <a:pt x="919" y="637"/>
                  </a:cubicBezTo>
                  <a:cubicBezTo>
                    <a:pt x="935" y="629"/>
                    <a:pt x="931" y="620"/>
                    <a:pt x="939" y="620"/>
                  </a:cubicBez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  <p:sp>
          <p:nvSpPr>
            <p:cNvPr id="41" name="Freeform 100"/>
            <p:cNvSpPr>
              <a:spLocks noChangeAspect="1"/>
            </p:cNvSpPr>
            <p:nvPr/>
          </p:nvSpPr>
          <p:spPr bwMode="auto">
            <a:xfrm>
              <a:off x="2520" y="3034"/>
              <a:ext cx="373" cy="192"/>
            </a:xfrm>
            <a:custGeom>
              <a:avLst/>
              <a:gdLst>
                <a:gd name="T0" fmla="*/ 0 w 1474"/>
                <a:gd name="T1" fmla="*/ 0 h 764"/>
                <a:gd name="T2" fmla="*/ 0 w 1474"/>
                <a:gd name="T3" fmla="*/ 0 h 764"/>
                <a:gd name="T4" fmla="*/ 0 w 1474"/>
                <a:gd name="T5" fmla="*/ 0 h 764"/>
                <a:gd name="T6" fmla="*/ 0 w 1474"/>
                <a:gd name="T7" fmla="*/ 0 h 764"/>
                <a:gd name="T8" fmla="*/ 0 w 1474"/>
                <a:gd name="T9" fmla="*/ 0 h 764"/>
                <a:gd name="T10" fmla="*/ 0 w 1474"/>
                <a:gd name="T11" fmla="*/ 0 h 764"/>
                <a:gd name="T12" fmla="*/ 0 w 1474"/>
                <a:gd name="T13" fmla="*/ 0 h 764"/>
                <a:gd name="T14" fmla="*/ 0 w 1474"/>
                <a:gd name="T15" fmla="*/ 0 h 764"/>
                <a:gd name="T16" fmla="*/ 0 w 1474"/>
                <a:gd name="T17" fmla="*/ 0 h 764"/>
                <a:gd name="T18" fmla="*/ 0 w 1474"/>
                <a:gd name="T19" fmla="*/ 0 h 764"/>
                <a:gd name="T20" fmla="*/ 0 w 1474"/>
                <a:gd name="T21" fmla="*/ 0 h 764"/>
                <a:gd name="T22" fmla="*/ 0 w 1474"/>
                <a:gd name="T23" fmla="*/ 0 h 764"/>
                <a:gd name="T24" fmla="*/ 0 w 1474"/>
                <a:gd name="T25" fmla="*/ 0 h 764"/>
                <a:gd name="T26" fmla="*/ 0 w 1474"/>
                <a:gd name="T27" fmla="*/ 0 h 764"/>
                <a:gd name="T28" fmla="*/ 0 w 1474"/>
                <a:gd name="T29" fmla="*/ 0 h 764"/>
                <a:gd name="T30" fmla="*/ 0 w 1474"/>
                <a:gd name="T31" fmla="*/ 0 h 764"/>
                <a:gd name="T32" fmla="*/ 0 w 1474"/>
                <a:gd name="T33" fmla="*/ 0 h 764"/>
                <a:gd name="T34" fmla="*/ 0 w 1474"/>
                <a:gd name="T35" fmla="*/ 0 h 764"/>
                <a:gd name="T36" fmla="*/ 0 w 1474"/>
                <a:gd name="T37" fmla="*/ 0 h 764"/>
                <a:gd name="T38" fmla="*/ 0 w 1474"/>
                <a:gd name="T39" fmla="*/ 0 h 764"/>
                <a:gd name="T40" fmla="*/ 0 w 1474"/>
                <a:gd name="T41" fmla="*/ 0 h 764"/>
                <a:gd name="T42" fmla="*/ 0 w 1474"/>
                <a:gd name="T43" fmla="*/ 0 h 764"/>
                <a:gd name="T44" fmla="*/ 0 w 1474"/>
                <a:gd name="T45" fmla="*/ 0 h 764"/>
                <a:gd name="T46" fmla="*/ 0 w 1474"/>
                <a:gd name="T47" fmla="*/ 0 h 764"/>
                <a:gd name="T48" fmla="*/ 0 w 1474"/>
                <a:gd name="T49" fmla="*/ 0 h 764"/>
                <a:gd name="T50" fmla="*/ 0 w 1474"/>
                <a:gd name="T51" fmla="*/ 0 h 764"/>
                <a:gd name="T52" fmla="*/ 0 w 1474"/>
                <a:gd name="T53" fmla="*/ 0 h 764"/>
                <a:gd name="T54" fmla="*/ 0 w 1474"/>
                <a:gd name="T55" fmla="*/ 0 h 764"/>
                <a:gd name="T56" fmla="*/ 0 w 1474"/>
                <a:gd name="T57" fmla="*/ 0 h 764"/>
                <a:gd name="T58" fmla="*/ 0 w 1474"/>
                <a:gd name="T59" fmla="*/ 0 h 764"/>
                <a:gd name="T60" fmla="*/ 0 w 1474"/>
                <a:gd name="T61" fmla="*/ 0 h 764"/>
                <a:gd name="T62" fmla="*/ 0 w 1474"/>
                <a:gd name="T63" fmla="*/ 0 h 764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474"/>
                <a:gd name="T97" fmla="*/ 0 h 764"/>
                <a:gd name="T98" fmla="*/ 1474 w 1474"/>
                <a:gd name="T99" fmla="*/ 764 h 764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474" h="764">
                  <a:moveTo>
                    <a:pt x="26" y="452"/>
                  </a:moveTo>
                  <a:cubicBezTo>
                    <a:pt x="39" y="438"/>
                    <a:pt x="59" y="467"/>
                    <a:pt x="72" y="471"/>
                  </a:cubicBezTo>
                  <a:cubicBezTo>
                    <a:pt x="85" y="475"/>
                    <a:pt x="98" y="472"/>
                    <a:pt x="107" y="477"/>
                  </a:cubicBezTo>
                  <a:cubicBezTo>
                    <a:pt x="115" y="489"/>
                    <a:pt x="125" y="501"/>
                    <a:pt x="125" y="501"/>
                  </a:cubicBezTo>
                  <a:cubicBezTo>
                    <a:pt x="129" y="517"/>
                    <a:pt x="142" y="510"/>
                    <a:pt x="150" y="522"/>
                  </a:cubicBezTo>
                  <a:cubicBezTo>
                    <a:pt x="201" y="522"/>
                    <a:pt x="192" y="498"/>
                    <a:pt x="200" y="474"/>
                  </a:cubicBezTo>
                  <a:cubicBezTo>
                    <a:pt x="212" y="466"/>
                    <a:pt x="214" y="468"/>
                    <a:pt x="230" y="464"/>
                  </a:cubicBezTo>
                  <a:cubicBezTo>
                    <a:pt x="262" y="476"/>
                    <a:pt x="294" y="500"/>
                    <a:pt x="321" y="497"/>
                  </a:cubicBezTo>
                  <a:cubicBezTo>
                    <a:pt x="345" y="489"/>
                    <a:pt x="354" y="483"/>
                    <a:pt x="374" y="479"/>
                  </a:cubicBezTo>
                  <a:cubicBezTo>
                    <a:pt x="383" y="462"/>
                    <a:pt x="396" y="440"/>
                    <a:pt x="420" y="428"/>
                  </a:cubicBezTo>
                  <a:cubicBezTo>
                    <a:pt x="444" y="416"/>
                    <a:pt x="493" y="408"/>
                    <a:pt x="519" y="407"/>
                  </a:cubicBezTo>
                  <a:cubicBezTo>
                    <a:pt x="545" y="406"/>
                    <a:pt x="537" y="402"/>
                    <a:pt x="574" y="420"/>
                  </a:cubicBezTo>
                  <a:cubicBezTo>
                    <a:pt x="594" y="410"/>
                    <a:pt x="591" y="407"/>
                    <a:pt x="602" y="407"/>
                  </a:cubicBezTo>
                  <a:cubicBezTo>
                    <a:pt x="613" y="407"/>
                    <a:pt x="625" y="412"/>
                    <a:pt x="639" y="420"/>
                  </a:cubicBezTo>
                  <a:cubicBezTo>
                    <a:pt x="656" y="425"/>
                    <a:pt x="674" y="450"/>
                    <a:pt x="684" y="455"/>
                  </a:cubicBezTo>
                  <a:cubicBezTo>
                    <a:pt x="694" y="460"/>
                    <a:pt x="696" y="455"/>
                    <a:pt x="699" y="450"/>
                  </a:cubicBezTo>
                  <a:cubicBezTo>
                    <a:pt x="695" y="438"/>
                    <a:pt x="709" y="438"/>
                    <a:pt x="701" y="426"/>
                  </a:cubicBezTo>
                  <a:cubicBezTo>
                    <a:pt x="696" y="408"/>
                    <a:pt x="671" y="401"/>
                    <a:pt x="671" y="401"/>
                  </a:cubicBezTo>
                  <a:cubicBezTo>
                    <a:pt x="678" y="315"/>
                    <a:pt x="647" y="294"/>
                    <a:pt x="623" y="270"/>
                  </a:cubicBezTo>
                  <a:cubicBezTo>
                    <a:pt x="659" y="263"/>
                    <a:pt x="662" y="244"/>
                    <a:pt x="680" y="234"/>
                  </a:cubicBezTo>
                  <a:cubicBezTo>
                    <a:pt x="698" y="224"/>
                    <a:pt x="715" y="223"/>
                    <a:pt x="729" y="209"/>
                  </a:cubicBezTo>
                  <a:cubicBezTo>
                    <a:pt x="743" y="188"/>
                    <a:pt x="740" y="168"/>
                    <a:pt x="761" y="149"/>
                  </a:cubicBezTo>
                  <a:cubicBezTo>
                    <a:pt x="774" y="136"/>
                    <a:pt x="799" y="137"/>
                    <a:pt x="810" y="132"/>
                  </a:cubicBezTo>
                  <a:cubicBezTo>
                    <a:pt x="821" y="127"/>
                    <a:pt x="812" y="117"/>
                    <a:pt x="827" y="116"/>
                  </a:cubicBezTo>
                  <a:cubicBezTo>
                    <a:pt x="843" y="108"/>
                    <a:pt x="874" y="116"/>
                    <a:pt x="898" y="128"/>
                  </a:cubicBezTo>
                  <a:cubicBezTo>
                    <a:pt x="922" y="124"/>
                    <a:pt x="950" y="124"/>
                    <a:pt x="974" y="120"/>
                  </a:cubicBezTo>
                  <a:cubicBezTo>
                    <a:pt x="982" y="120"/>
                    <a:pt x="998" y="112"/>
                    <a:pt x="998" y="112"/>
                  </a:cubicBezTo>
                  <a:cubicBezTo>
                    <a:pt x="1010" y="60"/>
                    <a:pt x="1010" y="28"/>
                    <a:pt x="1054" y="0"/>
                  </a:cubicBezTo>
                  <a:cubicBezTo>
                    <a:pt x="1110" y="8"/>
                    <a:pt x="1162" y="20"/>
                    <a:pt x="1218" y="24"/>
                  </a:cubicBezTo>
                  <a:cubicBezTo>
                    <a:pt x="1258" y="84"/>
                    <a:pt x="1342" y="60"/>
                    <a:pt x="1410" y="64"/>
                  </a:cubicBezTo>
                  <a:cubicBezTo>
                    <a:pt x="1443" y="74"/>
                    <a:pt x="1426" y="35"/>
                    <a:pt x="1433" y="50"/>
                  </a:cubicBezTo>
                  <a:cubicBezTo>
                    <a:pt x="1435" y="59"/>
                    <a:pt x="1419" y="98"/>
                    <a:pt x="1421" y="116"/>
                  </a:cubicBezTo>
                  <a:cubicBezTo>
                    <a:pt x="1423" y="134"/>
                    <a:pt x="1434" y="130"/>
                    <a:pt x="1443" y="158"/>
                  </a:cubicBezTo>
                  <a:cubicBezTo>
                    <a:pt x="1427" y="210"/>
                    <a:pt x="1446" y="240"/>
                    <a:pt x="1474" y="284"/>
                  </a:cubicBezTo>
                  <a:cubicBezTo>
                    <a:pt x="1462" y="356"/>
                    <a:pt x="1470" y="348"/>
                    <a:pt x="1394" y="352"/>
                  </a:cubicBezTo>
                  <a:cubicBezTo>
                    <a:pt x="1374" y="344"/>
                    <a:pt x="1358" y="352"/>
                    <a:pt x="1338" y="356"/>
                  </a:cubicBezTo>
                  <a:cubicBezTo>
                    <a:pt x="1358" y="360"/>
                    <a:pt x="1374" y="372"/>
                    <a:pt x="1390" y="384"/>
                  </a:cubicBezTo>
                  <a:cubicBezTo>
                    <a:pt x="1402" y="424"/>
                    <a:pt x="1414" y="416"/>
                    <a:pt x="1390" y="424"/>
                  </a:cubicBezTo>
                  <a:cubicBezTo>
                    <a:pt x="1386" y="440"/>
                    <a:pt x="1378" y="452"/>
                    <a:pt x="1370" y="468"/>
                  </a:cubicBezTo>
                  <a:cubicBezTo>
                    <a:pt x="1378" y="528"/>
                    <a:pt x="1390" y="572"/>
                    <a:pt x="1322" y="588"/>
                  </a:cubicBezTo>
                  <a:cubicBezTo>
                    <a:pt x="1310" y="620"/>
                    <a:pt x="1322" y="608"/>
                    <a:pt x="1298" y="624"/>
                  </a:cubicBezTo>
                  <a:cubicBezTo>
                    <a:pt x="1286" y="660"/>
                    <a:pt x="1262" y="652"/>
                    <a:pt x="1222" y="660"/>
                  </a:cubicBezTo>
                  <a:cubicBezTo>
                    <a:pt x="1214" y="660"/>
                    <a:pt x="1202" y="664"/>
                    <a:pt x="1202" y="664"/>
                  </a:cubicBezTo>
                  <a:cubicBezTo>
                    <a:pt x="1198" y="684"/>
                    <a:pt x="1194" y="684"/>
                    <a:pt x="1174" y="692"/>
                  </a:cubicBezTo>
                  <a:cubicBezTo>
                    <a:pt x="1146" y="688"/>
                    <a:pt x="1134" y="696"/>
                    <a:pt x="1106" y="704"/>
                  </a:cubicBezTo>
                  <a:cubicBezTo>
                    <a:pt x="1094" y="720"/>
                    <a:pt x="1086" y="712"/>
                    <a:pt x="1066" y="720"/>
                  </a:cubicBezTo>
                  <a:cubicBezTo>
                    <a:pt x="1050" y="736"/>
                    <a:pt x="1018" y="748"/>
                    <a:pt x="998" y="756"/>
                  </a:cubicBezTo>
                  <a:cubicBezTo>
                    <a:pt x="926" y="764"/>
                    <a:pt x="895" y="741"/>
                    <a:pt x="807" y="737"/>
                  </a:cubicBezTo>
                  <a:cubicBezTo>
                    <a:pt x="763" y="721"/>
                    <a:pt x="672" y="723"/>
                    <a:pt x="626" y="712"/>
                  </a:cubicBezTo>
                  <a:cubicBezTo>
                    <a:pt x="606" y="704"/>
                    <a:pt x="598" y="696"/>
                    <a:pt x="578" y="688"/>
                  </a:cubicBezTo>
                  <a:cubicBezTo>
                    <a:pt x="574" y="688"/>
                    <a:pt x="564" y="677"/>
                    <a:pt x="564" y="677"/>
                  </a:cubicBezTo>
                  <a:cubicBezTo>
                    <a:pt x="549" y="657"/>
                    <a:pt x="548" y="632"/>
                    <a:pt x="530" y="620"/>
                  </a:cubicBezTo>
                  <a:cubicBezTo>
                    <a:pt x="519" y="605"/>
                    <a:pt x="522" y="604"/>
                    <a:pt x="500" y="594"/>
                  </a:cubicBezTo>
                  <a:cubicBezTo>
                    <a:pt x="476" y="595"/>
                    <a:pt x="438" y="608"/>
                    <a:pt x="438" y="608"/>
                  </a:cubicBezTo>
                  <a:cubicBezTo>
                    <a:pt x="399" y="614"/>
                    <a:pt x="377" y="620"/>
                    <a:pt x="334" y="616"/>
                  </a:cubicBezTo>
                  <a:cubicBezTo>
                    <a:pt x="326" y="630"/>
                    <a:pt x="333" y="621"/>
                    <a:pt x="310" y="656"/>
                  </a:cubicBezTo>
                  <a:cubicBezTo>
                    <a:pt x="306" y="664"/>
                    <a:pt x="303" y="668"/>
                    <a:pt x="303" y="668"/>
                  </a:cubicBezTo>
                  <a:cubicBezTo>
                    <a:pt x="240" y="663"/>
                    <a:pt x="235" y="654"/>
                    <a:pt x="214" y="650"/>
                  </a:cubicBezTo>
                  <a:cubicBezTo>
                    <a:pt x="193" y="646"/>
                    <a:pt x="190" y="647"/>
                    <a:pt x="178" y="644"/>
                  </a:cubicBezTo>
                  <a:cubicBezTo>
                    <a:pt x="173" y="626"/>
                    <a:pt x="166" y="616"/>
                    <a:pt x="142" y="632"/>
                  </a:cubicBezTo>
                  <a:cubicBezTo>
                    <a:pt x="134" y="648"/>
                    <a:pt x="107" y="650"/>
                    <a:pt x="93" y="659"/>
                  </a:cubicBezTo>
                  <a:cubicBezTo>
                    <a:pt x="81" y="650"/>
                    <a:pt x="79" y="647"/>
                    <a:pt x="71" y="627"/>
                  </a:cubicBezTo>
                  <a:cubicBezTo>
                    <a:pt x="67" y="611"/>
                    <a:pt x="38" y="596"/>
                    <a:pt x="26" y="588"/>
                  </a:cubicBezTo>
                  <a:cubicBezTo>
                    <a:pt x="11" y="582"/>
                    <a:pt x="4" y="568"/>
                    <a:pt x="0" y="552"/>
                  </a:cubicBezTo>
                  <a:cubicBezTo>
                    <a:pt x="16" y="508"/>
                    <a:pt x="38" y="521"/>
                    <a:pt x="26" y="452"/>
                  </a:cubicBez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  <p:sp>
          <p:nvSpPr>
            <p:cNvPr id="42" name="Freeform 101"/>
            <p:cNvSpPr>
              <a:spLocks noChangeAspect="1"/>
            </p:cNvSpPr>
            <p:nvPr/>
          </p:nvSpPr>
          <p:spPr bwMode="auto">
            <a:xfrm>
              <a:off x="2339" y="3127"/>
              <a:ext cx="234" cy="153"/>
            </a:xfrm>
            <a:custGeom>
              <a:avLst/>
              <a:gdLst>
                <a:gd name="T0" fmla="*/ 0 w 925"/>
                <a:gd name="T1" fmla="*/ 0 h 605"/>
                <a:gd name="T2" fmla="*/ 0 w 925"/>
                <a:gd name="T3" fmla="*/ 0 h 605"/>
                <a:gd name="T4" fmla="*/ 0 w 925"/>
                <a:gd name="T5" fmla="*/ 0 h 605"/>
                <a:gd name="T6" fmla="*/ 0 w 925"/>
                <a:gd name="T7" fmla="*/ 0 h 605"/>
                <a:gd name="T8" fmla="*/ 0 w 925"/>
                <a:gd name="T9" fmla="*/ 0 h 605"/>
                <a:gd name="T10" fmla="*/ 0 w 925"/>
                <a:gd name="T11" fmla="*/ 0 h 605"/>
                <a:gd name="T12" fmla="*/ 0 w 925"/>
                <a:gd name="T13" fmla="*/ 0 h 605"/>
                <a:gd name="T14" fmla="*/ 0 w 925"/>
                <a:gd name="T15" fmla="*/ 0 h 605"/>
                <a:gd name="T16" fmla="*/ 0 w 925"/>
                <a:gd name="T17" fmla="*/ 0 h 605"/>
                <a:gd name="T18" fmla="*/ 0 w 925"/>
                <a:gd name="T19" fmla="*/ 0 h 605"/>
                <a:gd name="T20" fmla="*/ 0 w 925"/>
                <a:gd name="T21" fmla="*/ 0 h 605"/>
                <a:gd name="T22" fmla="*/ 0 w 925"/>
                <a:gd name="T23" fmla="*/ 0 h 605"/>
                <a:gd name="T24" fmla="*/ 0 w 925"/>
                <a:gd name="T25" fmla="*/ 0 h 605"/>
                <a:gd name="T26" fmla="*/ 0 w 925"/>
                <a:gd name="T27" fmla="*/ 0 h 605"/>
                <a:gd name="T28" fmla="*/ 0 w 925"/>
                <a:gd name="T29" fmla="*/ 0 h 605"/>
                <a:gd name="T30" fmla="*/ 0 w 925"/>
                <a:gd name="T31" fmla="*/ 0 h 605"/>
                <a:gd name="T32" fmla="*/ 0 w 925"/>
                <a:gd name="T33" fmla="*/ 0 h 605"/>
                <a:gd name="T34" fmla="*/ 0 w 925"/>
                <a:gd name="T35" fmla="*/ 0 h 605"/>
                <a:gd name="T36" fmla="*/ 0 w 925"/>
                <a:gd name="T37" fmla="*/ 0 h 605"/>
                <a:gd name="T38" fmla="*/ 0 w 925"/>
                <a:gd name="T39" fmla="*/ 0 h 605"/>
                <a:gd name="T40" fmla="*/ 0 w 925"/>
                <a:gd name="T41" fmla="*/ 0 h 605"/>
                <a:gd name="T42" fmla="*/ 0 w 925"/>
                <a:gd name="T43" fmla="*/ 0 h 605"/>
                <a:gd name="T44" fmla="*/ 0 w 925"/>
                <a:gd name="T45" fmla="*/ 0 h 605"/>
                <a:gd name="T46" fmla="*/ 0 w 925"/>
                <a:gd name="T47" fmla="*/ 0 h 605"/>
                <a:gd name="T48" fmla="*/ 0 w 925"/>
                <a:gd name="T49" fmla="*/ 0 h 605"/>
                <a:gd name="T50" fmla="*/ 0 w 925"/>
                <a:gd name="T51" fmla="*/ 0 h 605"/>
                <a:gd name="T52" fmla="*/ 0 w 925"/>
                <a:gd name="T53" fmla="*/ 0 h 605"/>
                <a:gd name="T54" fmla="*/ 0 w 925"/>
                <a:gd name="T55" fmla="*/ 0 h 605"/>
                <a:gd name="T56" fmla="*/ 0 w 925"/>
                <a:gd name="T57" fmla="*/ 0 h 605"/>
                <a:gd name="T58" fmla="*/ 0 w 925"/>
                <a:gd name="T59" fmla="*/ 0 h 605"/>
                <a:gd name="T60" fmla="*/ 0 w 925"/>
                <a:gd name="T61" fmla="*/ 0 h 605"/>
                <a:gd name="T62" fmla="*/ 0 w 925"/>
                <a:gd name="T63" fmla="*/ 0 h 605"/>
                <a:gd name="T64" fmla="*/ 0 w 925"/>
                <a:gd name="T65" fmla="*/ 0 h 605"/>
                <a:gd name="T66" fmla="*/ 0 w 925"/>
                <a:gd name="T67" fmla="*/ 0 h 605"/>
                <a:gd name="T68" fmla="*/ 0 w 925"/>
                <a:gd name="T69" fmla="*/ 0 h 605"/>
                <a:gd name="T70" fmla="*/ 0 w 925"/>
                <a:gd name="T71" fmla="*/ 0 h 605"/>
                <a:gd name="T72" fmla="*/ 0 w 925"/>
                <a:gd name="T73" fmla="*/ 0 h 605"/>
                <a:gd name="T74" fmla="*/ 0 w 925"/>
                <a:gd name="T75" fmla="*/ 0 h 605"/>
                <a:gd name="T76" fmla="*/ 0 w 925"/>
                <a:gd name="T77" fmla="*/ 0 h 605"/>
                <a:gd name="T78" fmla="*/ 0 w 925"/>
                <a:gd name="T79" fmla="*/ 0 h 605"/>
                <a:gd name="T80" fmla="*/ 0 w 925"/>
                <a:gd name="T81" fmla="*/ 0 h 605"/>
                <a:gd name="T82" fmla="*/ 0 w 925"/>
                <a:gd name="T83" fmla="*/ 0 h 605"/>
                <a:gd name="T84" fmla="*/ 0 w 925"/>
                <a:gd name="T85" fmla="*/ 0 h 605"/>
                <a:gd name="T86" fmla="*/ 0 w 925"/>
                <a:gd name="T87" fmla="*/ 0 h 605"/>
                <a:gd name="T88" fmla="*/ 0 w 925"/>
                <a:gd name="T89" fmla="*/ 0 h 605"/>
                <a:gd name="T90" fmla="*/ 0 w 925"/>
                <a:gd name="T91" fmla="*/ 0 h 605"/>
                <a:gd name="T92" fmla="*/ 0 w 925"/>
                <a:gd name="T93" fmla="*/ 0 h 605"/>
                <a:gd name="T94" fmla="*/ 0 w 925"/>
                <a:gd name="T95" fmla="*/ 0 h 605"/>
                <a:gd name="T96" fmla="*/ 0 w 925"/>
                <a:gd name="T97" fmla="*/ 0 h 605"/>
                <a:gd name="T98" fmla="*/ 0 w 925"/>
                <a:gd name="T99" fmla="*/ 0 h 605"/>
                <a:gd name="T100" fmla="*/ 0 w 925"/>
                <a:gd name="T101" fmla="*/ 0 h 605"/>
                <a:gd name="T102" fmla="*/ 0 w 925"/>
                <a:gd name="T103" fmla="*/ 0 h 605"/>
                <a:gd name="T104" fmla="*/ 0 w 925"/>
                <a:gd name="T105" fmla="*/ 0 h 605"/>
                <a:gd name="T106" fmla="*/ 0 w 925"/>
                <a:gd name="T107" fmla="*/ 0 h 605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925"/>
                <a:gd name="T163" fmla="*/ 0 h 605"/>
                <a:gd name="T164" fmla="*/ 925 w 925"/>
                <a:gd name="T165" fmla="*/ 605 h 605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925" h="605">
                  <a:moveTo>
                    <a:pt x="328" y="78"/>
                  </a:moveTo>
                  <a:cubicBezTo>
                    <a:pt x="372" y="86"/>
                    <a:pt x="378" y="74"/>
                    <a:pt x="428" y="82"/>
                  </a:cubicBezTo>
                  <a:cubicBezTo>
                    <a:pt x="460" y="74"/>
                    <a:pt x="481" y="81"/>
                    <a:pt x="513" y="69"/>
                  </a:cubicBezTo>
                  <a:cubicBezTo>
                    <a:pt x="517" y="61"/>
                    <a:pt x="543" y="52"/>
                    <a:pt x="535" y="48"/>
                  </a:cubicBezTo>
                  <a:cubicBezTo>
                    <a:pt x="523" y="44"/>
                    <a:pt x="500" y="30"/>
                    <a:pt x="500" y="30"/>
                  </a:cubicBezTo>
                  <a:cubicBezTo>
                    <a:pt x="480" y="2"/>
                    <a:pt x="505" y="0"/>
                    <a:pt x="528" y="10"/>
                  </a:cubicBezTo>
                  <a:cubicBezTo>
                    <a:pt x="544" y="14"/>
                    <a:pt x="555" y="18"/>
                    <a:pt x="567" y="26"/>
                  </a:cubicBezTo>
                  <a:cubicBezTo>
                    <a:pt x="568" y="50"/>
                    <a:pt x="592" y="59"/>
                    <a:pt x="596" y="62"/>
                  </a:cubicBezTo>
                  <a:cubicBezTo>
                    <a:pt x="606" y="66"/>
                    <a:pt x="618" y="44"/>
                    <a:pt x="633" y="42"/>
                  </a:cubicBezTo>
                  <a:cubicBezTo>
                    <a:pt x="648" y="40"/>
                    <a:pt x="655" y="53"/>
                    <a:pt x="685" y="50"/>
                  </a:cubicBezTo>
                  <a:cubicBezTo>
                    <a:pt x="709" y="58"/>
                    <a:pt x="724" y="72"/>
                    <a:pt x="744" y="80"/>
                  </a:cubicBezTo>
                  <a:cubicBezTo>
                    <a:pt x="756" y="113"/>
                    <a:pt x="740" y="154"/>
                    <a:pt x="720" y="182"/>
                  </a:cubicBezTo>
                  <a:cubicBezTo>
                    <a:pt x="728" y="210"/>
                    <a:pt x="724" y="218"/>
                    <a:pt x="752" y="226"/>
                  </a:cubicBezTo>
                  <a:cubicBezTo>
                    <a:pt x="780" y="246"/>
                    <a:pt x="768" y="234"/>
                    <a:pt x="788" y="254"/>
                  </a:cubicBezTo>
                  <a:cubicBezTo>
                    <a:pt x="792" y="270"/>
                    <a:pt x="800" y="282"/>
                    <a:pt x="808" y="294"/>
                  </a:cubicBezTo>
                  <a:cubicBezTo>
                    <a:pt x="828" y="290"/>
                    <a:pt x="860" y="266"/>
                    <a:pt x="880" y="258"/>
                  </a:cubicBezTo>
                  <a:cubicBezTo>
                    <a:pt x="896" y="253"/>
                    <a:pt x="891" y="277"/>
                    <a:pt x="898" y="281"/>
                  </a:cubicBezTo>
                  <a:cubicBezTo>
                    <a:pt x="905" y="285"/>
                    <a:pt x="923" y="279"/>
                    <a:pt x="924" y="282"/>
                  </a:cubicBezTo>
                  <a:cubicBezTo>
                    <a:pt x="925" y="285"/>
                    <a:pt x="909" y="289"/>
                    <a:pt x="903" y="300"/>
                  </a:cubicBezTo>
                  <a:cubicBezTo>
                    <a:pt x="897" y="311"/>
                    <a:pt x="899" y="338"/>
                    <a:pt x="888" y="350"/>
                  </a:cubicBezTo>
                  <a:cubicBezTo>
                    <a:pt x="871" y="384"/>
                    <a:pt x="869" y="373"/>
                    <a:pt x="838" y="374"/>
                  </a:cubicBezTo>
                  <a:cubicBezTo>
                    <a:pt x="837" y="393"/>
                    <a:pt x="834" y="392"/>
                    <a:pt x="823" y="419"/>
                  </a:cubicBezTo>
                  <a:cubicBezTo>
                    <a:pt x="816" y="430"/>
                    <a:pt x="806" y="426"/>
                    <a:pt x="792" y="434"/>
                  </a:cubicBezTo>
                  <a:cubicBezTo>
                    <a:pt x="754" y="450"/>
                    <a:pt x="766" y="447"/>
                    <a:pt x="744" y="470"/>
                  </a:cubicBezTo>
                  <a:cubicBezTo>
                    <a:pt x="739" y="452"/>
                    <a:pt x="747" y="440"/>
                    <a:pt x="709" y="435"/>
                  </a:cubicBezTo>
                  <a:cubicBezTo>
                    <a:pt x="705" y="415"/>
                    <a:pt x="693" y="417"/>
                    <a:pt x="693" y="417"/>
                  </a:cubicBezTo>
                  <a:cubicBezTo>
                    <a:pt x="663" y="422"/>
                    <a:pt x="669" y="433"/>
                    <a:pt x="655" y="453"/>
                  </a:cubicBezTo>
                  <a:cubicBezTo>
                    <a:pt x="641" y="473"/>
                    <a:pt x="622" y="509"/>
                    <a:pt x="610" y="534"/>
                  </a:cubicBezTo>
                  <a:cubicBezTo>
                    <a:pt x="598" y="557"/>
                    <a:pt x="604" y="545"/>
                    <a:pt x="583" y="605"/>
                  </a:cubicBezTo>
                  <a:cubicBezTo>
                    <a:pt x="567" y="576"/>
                    <a:pt x="559" y="543"/>
                    <a:pt x="555" y="515"/>
                  </a:cubicBezTo>
                  <a:cubicBezTo>
                    <a:pt x="543" y="485"/>
                    <a:pt x="538" y="494"/>
                    <a:pt x="528" y="495"/>
                  </a:cubicBezTo>
                  <a:cubicBezTo>
                    <a:pt x="523" y="489"/>
                    <a:pt x="530" y="485"/>
                    <a:pt x="525" y="476"/>
                  </a:cubicBezTo>
                  <a:cubicBezTo>
                    <a:pt x="513" y="456"/>
                    <a:pt x="522" y="453"/>
                    <a:pt x="496" y="438"/>
                  </a:cubicBezTo>
                  <a:cubicBezTo>
                    <a:pt x="488" y="434"/>
                    <a:pt x="472" y="454"/>
                    <a:pt x="464" y="458"/>
                  </a:cubicBezTo>
                  <a:cubicBezTo>
                    <a:pt x="452" y="466"/>
                    <a:pt x="436" y="473"/>
                    <a:pt x="432" y="498"/>
                  </a:cubicBezTo>
                  <a:cubicBezTo>
                    <a:pt x="424" y="510"/>
                    <a:pt x="423" y="536"/>
                    <a:pt x="411" y="540"/>
                  </a:cubicBezTo>
                  <a:cubicBezTo>
                    <a:pt x="403" y="544"/>
                    <a:pt x="360" y="546"/>
                    <a:pt x="360" y="546"/>
                  </a:cubicBezTo>
                  <a:cubicBezTo>
                    <a:pt x="324" y="542"/>
                    <a:pt x="326" y="544"/>
                    <a:pt x="286" y="548"/>
                  </a:cubicBezTo>
                  <a:cubicBezTo>
                    <a:pt x="267" y="557"/>
                    <a:pt x="264" y="562"/>
                    <a:pt x="248" y="566"/>
                  </a:cubicBezTo>
                  <a:cubicBezTo>
                    <a:pt x="235" y="566"/>
                    <a:pt x="208" y="557"/>
                    <a:pt x="198" y="552"/>
                  </a:cubicBezTo>
                  <a:cubicBezTo>
                    <a:pt x="188" y="547"/>
                    <a:pt x="193" y="547"/>
                    <a:pt x="188" y="534"/>
                  </a:cubicBezTo>
                  <a:cubicBezTo>
                    <a:pt x="175" y="494"/>
                    <a:pt x="172" y="506"/>
                    <a:pt x="168" y="473"/>
                  </a:cubicBezTo>
                  <a:cubicBezTo>
                    <a:pt x="157" y="447"/>
                    <a:pt x="178" y="441"/>
                    <a:pt x="128" y="422"/>
                  </a:cubicBezTo>
                  <a:cubicBezTo>
                    <a:pt x="93" y="428"/>
                    <a:pt x="81" y="432"/>
                    <a:pt x="44" y="438"/>
                  </a:cubicBezTo>
                  <a:cubicBezTo>
                    <a:pt x="30" y="450"/>
                    <a:pt x="16" y="468"/>
                    <a:pt x="0" y="494"/>
                  </a:cubicBezTo>
                  <a:cubicBezTo>
                    <a:pt x="1" y="435"/>
                    <a:pt x="15" y="440"/>
                    <a:pt x="24" y="414"/>
                  </a:cubicBezTo>
                  <a:cubicBezTo>
                    <a:pt x="46" y="389"/>
                    <a:pt x="24" y="370"/>
                    <a:pt x="36" y="351"/>
                  </a:cubicBezTo>
                  <a:cubicBezTo>
                    <a:pt x="48" y="332"/>
                    <a:pt x="66" y="313"/>
                    <a:pt x="94" y="299"/>
                  </a:cubicBezTo>
                  <a:cubicBezTo>
                    <a:pt x="111" y="278"/>
                    <a:pt x="116" y="269"/>
                    <a:pt x="136" y="245"/>
                  </a:cubicBezTo>
                  <a:cubicBezTo>
                    <a:pt x="150" y="209"/>
                    <a:pt x="168" y="198"/>
                    <a:pt x="184" y="174"/>
                  </a:cubicBezTo>
                  <a:cubicBezTo>
                    <a:pt x="188" y="162"/>
                    <a:pt x="194" y="146"/>
                    <a:pt x="198" y="134"/>
                  </a:cubicBezTo>
                  <a:cubicBezTo>
                    <a:pt x="217" y="95"/>
                    <a:pt x="196" y="119"/>
                    <a:pt x="225" y="81"/>
                  </a:cubicBezTo>
                  <a:cubicBezTo>
                    <a:pt x="229" y="89"/>
                    <a:pt x="268" y="83"/>
                    <a:pt x="276" y="87"/>
                  </a:cubicBezTo>
                  <a:cubicBezTo>
                    <a:pt x="288" y="87"/>
                    <a:pt x="327" y="101"/>
                    <a:pt x="328" y="78"/>
                  </a:cubicBez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  <p:grpSp>
          <p:nvGrpSpPr>
            <p:cNvPr id="43" name="Group 102"/>
            <p:cNvGrpSpPr>
              <a:grpSpLocks/>
            </p:cNvGrpSpPr>
            <p:nvPr/>
          </p:nvGrpSpPr>
          <p:grpSpPr bwMode="auto">
            <a:xfrm>
              <a:off x="1828" y="2873"/>
              <a:ext cx="695" cy="729"/>
              <a:chOff x="-144" y="5643"/>
              <a:chExt cx="2751" cy="2887"/>
            </a:xfrm>
            <a:grpFill/>
          </p:grpSpPr>
          <p:sp>
            <p:nvSpPr>
              <p:cNvPr id="65" name="Freeform 103"/>
              <p:cNvSpPr>
                <a:spLocks noChangeAspect="1"/>
              </p:cNvSpPr>
              <p:nvPr/>
            </p:nvSpPr>
            <p:spPr bwMode="auto">
              <a:xfrm>
                <a:off x="372" y="6943"/>
                <a:ext cx="68" cy="203"/>
              </a:xfrm>
              <a:custGeom>
                <a:avLst/>
                <a:gdLst>
                  <a:gd name="T0" fmla="*/ 2147483647 w 17"/>
                  <a:gd name="T1" fmla="*/ 2147483647 h 51"/>
                  <a:gd name="T2" fmla="*/ 2147483647 w 17"/>
                  <a:gd name="T3" fmla="*/ 2147483647 h 51"/>
                  <a:gd name="T4" fmla="*/ 2147483647 w 17"/>
                  <a:gd name="T5" fmla="*/ 2147483647 h 51"/>
                  <a:gd name="T6" fmla="*/ 2147483647 w 17"/>
                  <a:gd name="T7" fmla="*/ 2147483647 h 51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7"/>
                  <a:gd name="T13" fmla="*/ 0 h 51"/>
                  <a:gd name="T14" fmla="*/ 17 w 17"/>
                  <a:gd name="T15" fmla="*/ 51 h 51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7" h="51">
                    <a:moveTo>
                      <a:pt x="5" y="11"/>
                    </a:moveTo>
                    <a:cubicBezTo>
                      <a:pt x="8" y="14"/>
                      <a:pt x="9" y="17"/>
                      <a:pt x="11" y="20"/>
                    </a:cubicBezTo>
                    <a:cubicBezTo>
                      <a:pt x="12" y="26"/>
                      <a:pt x="17" y="51"/>
                      <a:pt x="9" y="40"/>
                    </a:cubicBezTo>
                    <a:cubicBezTo>
                      <a:pt x="8" y="35"/>
                      <a:pt x="0" y="0"/>
                      <a:pt x="5" y="11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66" name="Freeform 104"/>
              <p:cNvSpPr>
                <a:spLocks noChangeAspect="1"/>
              </p:cNvSpPr>
              <p:nvPr/>
            </p:nvSpPr>
            <p:spPr bwMode="auto">
              <a:xfrm>
                <a:off x="364" y="6911"/>
                <a:ext cx="76" cy="52"/>
              </a:xfrm>
              <a:custGeom>
                <a:avLst/>
                <a:gdLst>
                  <a:gd name="T0" fmla="*/ 0 w 19"/>
                  <a:gd name="T1" fmla="*/ 0 h 13"/>
                  <a:gd name="T2" fmla="*/ 2147483647 w 19"/>
                  <a:gd name="T3" fmla="*/ 2147483647 h 13"/>
                  <a:gd name="T4" fmla="*/ 0 w 19"/>
                  <a:gd name="T5" fmla="*/ 0 h 13"/>
                  <a:gd name="T6" fmla="*/ 0 60000 65536"/>
                  <a:gd name="T7" fmla="*/ 0 60000 65536"/>
                  <a:gd name="T8" fmla="*/ 0 60000 65536"/>
                  <a:gd name="T9" fmla="*/ 0 w 19"/>
                  <a:gd name="T10" fmla="*/ 0 h 13"/>
                  <a:gd name="T11" fmla="*/ 19 w 19"/>
                  <a:gd name="T12" fmla="*/ 13 h 13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9" h="13">
                    <a:moveTo>
                      <a:pt x="0" y="0"/>
                    </a:moveTo>
                    <a:cubicBezTo>
                      <a:pt x="7" y="3"/>
                      <a:pt x="10" y="11"/>
                      <a:pt x="16" y="13"/>
                    </a:cubicBezTo>
                    <a:cubicBezTo>
                      <a:pt x="19" y="2"/>
                      <a:pt x="9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67" name="Freeform 105"/>
              <p:cNvSpPr>
                <a:spLocks noChangeAspect="1"/>
              </p:cNvSpPr>
              <p:nvPr/>
            </p:nvSpPr>
            <p:spPr bwMode="auto">
              <a:xfrm>
                <a:off x="2347" y="8050"/>
                <a:ext cx="260" cy="480"/>
              </a:xfrm>
              <a:custGeom>
                <a:avLst/>
                <a:gdLst>
                  <a:gd name="T0" fmla="*/ 2147483647 w 65"/>
                  <a:gd name="T1" fmla="*/ 2147483647 h 120"/>
                  <a:gd name="T2" fmla="*/ 2147483647 w 65"/>
                  <a:gd name="T3" fmla="*/ 0 h 120"/>
                  <a:gd name="T4" fmla="*/ 2147483647 w 65"/>
                  <a:gd name="T5" fmla="*/ 2147483647 h 120"/>
                  <a:gd name="T6" fmla="*/ 2147483647 w 65"/>
                  <a:gd name="T7" fmla="*/ 2147483647 h 120"/>
                  <a:gd name="T8" fmla="*/ 2147483647 w 65"/>
                  <a:gd name="T9" fmla="*/ 2147483647 h 120"/>
                  <a:gd name="T10" fmla="*/ 2147483647 w 65"/>
                  <a:gd name="T11" fmla="*/ 2147483647 h 120"/>
                  <a:gd name="T12" fmla="*/ 2147483647 w 65"/>
                  <a:gd name="T13" fmla="*/ 2147483647 h 120"/>
                  <a:gd name="T14" fmla="*/ 2147483647 w 65"/>
                  <a:gd name="T15" fmla="*/ 2147483647 h 120"/>
                  <a:gd name="T16" fmla="*/ 2147483647 w 65"/>
                  <a:gd name="T17" fmla="*/ 2147483647 h 120"/>
                  <a:gd name="T18" fmla="*/ 2147483647 w 65"/>
                  <a:gd name="T19" fmla="*/ 2147483647 h 120"/>
                  <a:gd name="T20" fmla="*/ 2147483647 w 65"/>
                  <a:gd name="T21" fmla="*/ 2147483647 h 120"/>
                  <a:gd name="T22" fmla="*/ 2147483647 w 65"/>
                  <a:gd name="T23" fmla="*/ 2147483647 h 120"/>
                  <a:gd name="T24" fmla="*/ 2147483647 w 65"/>
                  <a:gd name="T25" fmla="*/ 2147483647 h 120"/>
                  <a:gd name="T26" fmla="*/ 2147483647 w 65"/>
                  <a:gd name="T27" fmla="*/ 2147483647 h 120"/>
                  <a:gd name="T28" fmla="*/ 2147483647 w 65"/>
                  <a:gd name="T29" fmla="*/ 2147483647 h 120"/>
                  <a:gd name="T30" fmla="*/ 2147483647 w 65"/>
                  <a:gd name="T31" fmla="*/ 2147483647 h 120"/>
                  <a:gd name="T32" fmla="*/ 2147483647 w 65"/>
                  <a:gd name="T33" fmla="*/ 2147483647 h 120"/>
                  <a:gd name="T34" fmla="*/ 2147483647 w 65"/>
                  <a:gd name="T35" fmla="*/ 2147483647 h 120"/>
                  <a:gd name="T36" fmla="*/ 2147483647 w 65"/>
                  <a:gd name="T37" fmla="*/ 2147483647 h 120"/>
                  <a:gd name="T38" fmla="*/ 2147483647 w 65"/>
                  <a:gd name="T39" fmla="*/ 2147483647 h 120"/>
                  <a:gd name="T40" fmla="*/ 2147483647 w 65"/>
                  <a:gd name="T41" fmla="*/ 2147483647 h 120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65"/>
                  <a:gd name="T64" fmla="*/ 0 h 120"/>
                  <a:gd name="T65" fmla="*/ 65 w 65"/>
                  <a:gd name="T66" fmla="*/ 120 h 120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65" h="120">
                    <a:moveTo>
                      <a:pt x="49" y="27"/>
                    </a:moveTo>
                    <a:cubicBezTo>
                      <a:pt x="53" y="16"/>
                      <a:pt x="45" y="4"/>
                      <a:pt x="57" y="0"/>
                    </a:cubicBezTo>
                    <a:cubicBezTo>
                      <a:pt x="59" y="6"/>
                      <a:pt x="56" y="19"/>
                      <a:pt x="56" y="25"/>
                    </a:cubicBezTo>
                    <a:cubicBezTo>
                      <a:pt x="57" y="31"/>
                      <a:pt x="56" y="33"/>
                      <a:pt x="61" y="36"/>
                    </a:cubicBezTo>
                    <a:cubicBezTo>
                      <a:pt x="63" y="48"/>
                      <a:pt x="65" y="61"/>
                      <a:pt x="60" y="72"/>
                    </a:cubicBezTo>
                    <a:cubicBezTo>
                      <a:pt x="58" y="76"/>
                      <a:pt x="56" y="81"/>
                      <a:pt x="55" y="85"/>
                    </a:cubicBezTo>
                    <a:cubicBezTo>
                      <a:pt x="55" y="86"/>
                      <a:pt x="54" y="88"/>
                      <a:pt x="54" y="88"/>
                    </a:cubicBezTo>
                    <a:cubicBezTo>
                      <a:pt x="55" y="94"/>
                      <a:pt x="56" y="98"/>
                      <a:pt x="51" y="103"/>
                    </a:cubicBezTo>
                    <a:cubicBezTo>
                      <a:pt x="49" y="109"/>
                      <a:pt x="47" y="115"/>
                      <a:pt x="44" y="120"/>
                    </a:cubicBezTo>
                    <a:cubicBezTo>
                      <a:pt x="36" y="119"/>
                      <a:pt x="32" y="111"/>
                      <a:pt x="24" y="106"/>
                    </a:cubicBezTo>
                    <a:cubicBezTo>
                      <a:pt x="23" y="105"/>
                      <a:pt x="22" y="104"/>
                      <a:pt x="22" y="103"/>
                    </a:cubicBezTo>
                    <a:cubicBezTo>
                      <a:pt x="22" y="102"/>
                      <a:pt x="23" y="100"/>
                      <a:pt x="24" y="99"/>
                    </a:cubicBezTo>
                    <a:cubicBezTo>
                      <a:pt x="27" y="91"/>
                      <a:pt x="27" y="93"/>
                      <a:pt x="19" y="94"/>
                    </a:cubicBezTo>
                    <a:cubicBezTo>
                      <a:pt x="9" y="92"/>
                      <a:pt x="17" y="84"/>
                      <a:pt x="19" y="78"/>
                    </a:cubicBezTo>
                    <a:cubicBezTo>
                      <a:pt x="17" y="77"/>
                      <a:pt x="14" y="81"/>
                      <a:pt x="13" y="79"/>
                    </a:cubicBezTo>
                    <a:cubicBezTo>
                      <a:pt x="11" y="75"/>
                      <a:pt x="18" y="67"/>
                      <a:pt x="18" y="67"/>
                    </a:cubicBezTo>
                    <a:cubicBezTo>
                      <a:pt x="6" y="63"/>
                      <a:pt x="0" y="66"/>
                      <a:pt x="10" y="52"/>
                    </a:cubicBezTo>
                    <a:cubicBezTo>
                      <a:pt x="8" y="42"/>
                      <a:pt x="9" y="40"/>
                      <a:pt x="18" y="34"/>
                    </a:cubicBezTo>
                    <a:cubicBezTo>
                      <a:pt x="20" y="31"/>
                      <a:pt x="33" y="24"/>
                      <a:pt x="37" y="23"/>
                    </a:cubicBezTo>
                    <a:cubicBezTo>
                      <a:pt x="41" y="23"/>
                      <a:pt x="45" y="23"/>
                      <a:pt x="49" y="24"/>
                    </a:cubicBezTo>
                    <a:cubicBezTo>
                      <a:pt x="50" y="24"/>
                      <a:pt x="50" y="27"/>
                      <a:pt x="49" y="27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68" name="Freeform 106"/>
              <p:cNvSpPr>
                <a:spLocks noChangeAspect="1"/>
              </p:cNvSpPr>
              <p:nvPr/>
            </p:nvSpPr>
            <p:spPr bwMode="auto">
              <a:xfrm>
                <a:off x="-144" y="5643"/>
                <a:ext cx="2501" cy="2523"/>
              </a:xfrm>
              <a:custGeom>
                <a:avLst/>
                <a:gdLst>
                  <a:gd name="T0" fmla="*/ 1303 w 2501"/>
                  <a:gd name="T1" fmla="*/ 28 h 2523"/>
                  <a:gd name="T2" fmla="*/ 1044 w 2501"/>
                  <a:gd name="T3" fmla="*/ 308 h 2523"/>
                  <a:gd name="T4" fmla="*/ 920 w 2501"/>
                  <a:gd name="T5" fmla="*/ 436 h 2523"/>
                  <a:gd name="T6" fmla="*/ 728 w 2501"/>
                  <a:gd name="T7" fmla="*/ 380 h 2523"/>
                  <a:gd name="T8" fmla="*/ 588 w 2501"/>
                  <a:gd name="T9" fmla="*/ 344 h 2523"/>
                  <a:gd name="T10" fmla="*/ 560 w 2501"/>
                  <a:gd name="T11" fmla="*/ 584 h 2523"/>
                  <a:gd name="T12" fmla="*/ 164 w 2501"/>
                  <a:gd name="T13" fmla="*/ 508 h 2523"/>
                  <a:gd name="T14" fmla="*/ 60 w 2501"/>
                  <a:gd name="T15" fmla="*/ 584 h 2523"/>
                  <a:gd name="T16" fmla="*/ 12 w 2501"/>
                  <a:gd name="T17" fmla="*/ 680 h 2523"/>
                  <a:gd name="T18" fmla="*/ 100 w 2501"/>
                  <a:gd name="T19" fmla="*/ 720 h 2523"/>
                  <a:gd name="T20" fmla="*/ 284 w 2501"/>
                  <a:gd name="T21" fmla="*/ 872 h 2523"/>
                  <a:gd name="T22" fmla="*/ 404 w 2501"/>
                  <a:gd name="T23" fmla="*/ 948 h 2523"/>
                  <a:gd name="T24" fmla="*/ 412 w 2501"/>
                  <a:gd name="T25" fmla="*/ 1032 h 2523"/>
                  <a:gd name="T26" fmla="*/ 500 w 2501"/>
                  <a:gd name="T27" fmla="*/ 1204 h 2523"/>
                  <a:gd name="T28" fmla="*/ 608 w 2501"/>
                  <a:gd name="T29" fmla="*/ 1315 h 2523"/>
                  <a:gd name="T30" fmla="*/ 644 w 2501"/>
                  <a:gd name="T31" fmla="*/ 1559 h 2523"/>
                  <a:gd name="T32" fmla="*/ 620 w 2501"/>
                  <a:gd name="T33" fmla="*/ 1607 h 2523"/>
                  <a:gd name="T34" fmla="*/ 504 w 2501"/>
                  <a:gd name="T35" fmla="*/ 1651 h 2523"/>
                  <a:gd name="T36" fmla="*/ 444 w 2501"/>
                  <a:gd name="T37" fmla="*/ 1919 h 2523"/>
                  <a:gd name="T38" fmla="*/ 381 w 2501"/>
                  <a:gd name="T39" fmla="*/ 2100 h 2523"/>
                  <a:gd name="T40" fmla="*/ 528 w 2501"/>
                  <a:gd name="T41" fmla="*/ 2251 h 2523"/>
                  <a:gd name="T42" fmla="*/ 788 w 2501"/>
                  <a:gd name="T43" fmla="*/ 2383 h 2523"/>
                  <a:gd name="T44" fmla="*/ 988 w 2501"/>
                  <a:gd name="T45" fmla="*/ 2407 h 2523"/>
                  <a:gd name="T46" fmla="*/ 1196 w 2501"/>
                  <a:gd name="T47" fmla="*/ 2502 h 2523"/>
                  <a:gd name="T48" fmla="*/ 1347 w 2501"/>
                  <a:gd name="T49" fmla="*/ 2335 h 2523"/>
                  <a:gd name="T50" fmla="*/ 1779 w 2501"/>
                  <a:gd name="T51" fmla="*/ 2283 h 2523"/>
                  <a:gd name="T52" fmla="*/ 2155 w 2501"/>
                  <a:gd name="T53" fmla="*/ 2299 h 2523"/>
                  <a:gd name="T54" fmla="*/ 2311 w 2501"/>
                  <a:gd name="T55" fmla="*/ 2183 h 2523"/>
                  <a:gd name="T56" fmla="*/ 2243 w 2501"/>
                  <a:gd name="T57" fmla="*/ 2071 h 2523"/>
                  <a:gd name="T58" fmla="*/ 2167 w 2501"/>
                  <a:gd name="T59" fmla="*/ 1855 h 2523"/>
                  <a:gd name="T60" fmla="*/ 2243 w 2501"/>
                  <a:gd name="T61" fmla="*/ 1733 h 2523"/>
                  <a:gd name="T62" fmla="*/ 2211 w 2501"/>
                  <a:gd name="T63" fmla="*/ 1581 h 2523"/>
                  <a:gd name="T64" fmla="*/ 2215 w 2501"/>
                  <a:gd name="T65" fmla="*/ 1543 h 2523"/>
                  <a:gd name="T66" fmla="*/ 2075 w 2501"/>
                  <a:gd name="T67" fmla="*/ 1439 h 2523"/>
                  <a:gd name="T68" fmla="*/ 2071 w 2501"/>
                  <a:gd name="T69" fmla="*/ 1339 h 2523"/>
                  <a:gd name="T70" fmla="*/ 2219 w 2501"/>
                  <a:gd name="T71" fmla="*/ 1156 h 2523"/>
                  <a:gd name="T72" fmla="*/ 2363 w 2501"/>
                  <a:gd name="T73" fmla="*/ 1082 h 2523"/>
                  <a:gd name="T74" fmla="*/ 2418 w 2501"/>
                  <a:gd name="T75" fmla="*/ 758 h 2523"/>
                  <a:gd name="T76" fmla="*/ 2307 w 2501"/>
                  <a:gd name="T77" fmla="*/ 608 h 2523"/>
                  <a:gd name="T78" fmla="*/ 2123 w 2501"/>
                  <a:gd name="T79" fmla="*/ 512 h 2523"/>
                  <a:gd name="T80" fmla="*/ 1947 w 2501"/>
                  <a:gd name="T81" fmla="*/ 452 h 2523"/>
                  <a:gd name="T82" fmla="*/ 1862 w 2501"/>
                  <a:gd name="T83" fmla="*/ 299 h 2523"/>
                  <a:gd name="T84" fmla="*/ 1665 w 2501"/>
                  <a:gd name="T85" fmla="*/ 234 h 2523"/>
                  <a:gd name="T86" fmla="*/ 1519 w 2501"/>
                  <a:gd name="T87" fmla="*/ 100 h 2523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2501"/>
                  <a:gd name="T133" fmla="*/ 0 h 2523"/>
                  <a:gd name="T134" fmla="*/ 2501 w 2501"/>
                  <a:gd name="T135" fmla="*/ 2523 h 2523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2501" h="2523">
                    <a:moveTo>
                      <a:pt x="1484" y="0"/>
                    </a:moveTo>
                    <a:cubicBezTo>
                      <a:pt x="1448" y="4"/>
                      <a:pt x="1407" y="8"/>
                      <a:pt x="1371" y="12"/>
                    </a:cubicBezTo>
                    <a:cubicBezTo>
                      <a:pt x="1347" y="16"/>
                      <a:pt x="1303" y="28"/>
                      <a:pt x="1303" y="28"/>
                    </a:cubicBezTo>
                    <a:cubicBezTo>
                      <a:pt x="1299" y="68"/>
                      <a:pt x="1307" y="108"/>
                      <a:pt x="1283" y="140"/>
                    </a:cubicBezTo>
                    <a:cubicBezTo>
                      <a:pt x="1275" y="168"/>
                      <a:pt x="1275" y="200"/>
                      <a:pt x="1259" y="224"/>
                    </a:cubicBezTo>
                    <a:cubicBezTo>
                      <a:pt x="1244" y="296"/>
                      <a:pt x="1100" y="300"/>
                      <a:pt x="1044" y="308"/>
                    </a:cubicBezTo>
                    <a:cubicBezTo>
                      <a:pt x="1016" y="320"/>
                      <a:pt x="980" y="340"/>
                      <a:pt x="968" y="372"/>
                    </a:cubicBezTo>
                    <a:cubicBezTo>
                      <a:pt x="972" y="392"/>
                      <a:pt x="976" y="400"/>
                      <a:pt x="992" y="416"/>
                    </a:cubicBezTo>
                    <a:cubicBezTo>
                      <a:pt x="988" y="436"/>
                      <a:pt x="944" y="432"/>
                      <a:pt x="920" y="436"/>
                    </a:cubicBezTo>
                    <a:cubicBezTo>
                      <a:pt x="792" y="428"/>
                      <a:pt x="880" y="448"/>
                      <a:pt x="816" y="428"/>
                    </a:cubicBezTo>
                    <a:cubicBezTo>
                      <a:pt x="796" y="424"/>
                      <a:pt x="756" y="412"/>
                      <a:pt x="756" y="412"/>
                    </a:cubicBezTo>
                    <a:cubicBezTo>
                      <a:pt x="740" y="404"/>
                      <a:pt x="740" y="392"/>
                      <a:pt x="728" y="380"/>
                    </a:cubicBezTo>
                    <a:cubicBezTo>
                      <a:pt x="720" y="348"/>
                      <a:pt x="716" y="292"/>
                      <a:pt x="680" y="284"/>
                    </a:cubicBezTo>
                    <a:cubicBezTo>
                      <a:pt x="664" y="284"/>
                      <a:pt x="644" y="280"/>
                      <a:pt x="628" y="288"/>
                    </a:cubicBezTo>
                    <a:cubicBezTo>
                      <a:pt x="612" y="296"/>
                      <a:pt x="604" y="332"/>
                      <a:pt x="588" y="344"/>
                    </a:cubicBezTo>
                    <a:cubicBezTo>
                      <a:pt x="584" y="360"/>
                      <a:pt x="584" y="368"/>
                      <a:pt x="600" y="372"/>
                    </a:cubicBezTo>
                    <a:cubicBezTo>
                      <a:pt x="608" y="428"/>
                      <a:pt x="624" y="484"/>
                      <a:pt x="632" y="540"/>
                    </a:cubicBezTo>
                    <a:cubicBezTo>
                      <a:pt x="652" y="620"/>
                      <a:pt x="624" y="604"/>
                      <a:pt x="560" y="584"/>
                    </a:cubicBezTo>
                    <a:cubicBezTo>
                      <a:pt x="508" y="588"/>
                      <a:pt x="460" y="588"/>
                      <a:pt x="412" y="576"/>
                    </a:cubicBezTo>
                    <a:cubicBezTo>
                      <a:pt x="404" y="564"/>
                      <a:pt x="352" y="492"/>
                      <a:pt x="344" y="488"/>
                    </a:cubicBezTo>
                    <a:cubicBezTo>
                      <a:pt x="300" y="444"/>
                      <a:pt x="220" y="504"/>
                      <a:pt x="164" y="508"/>
                    </a:cubicBezTo>
                    <a:cubicBezTo>
                      <a:pt x="112" y="512"/>
                      <a:pt x="60" y="512"/>
                      <a:pt x="8" y="512"/>
                    </a:cubicBezTo>
                    <a:cubicBezTo>
                      <a:pt x="12" y="528"/>
                      <a:pt x="20" y="568"/>
                      <a:pt x="36" y="576"/>
                    </a:cubicBezTo>
                    <a:cubicBezTo>
                      <a:pt x="44" y="580"/>
                      <a:pt x="60" y="584"/>
                      <a:pt x="60" y="584"/>
                    </a:cubicBezTo>
                    <a:cubicBezTo>
                      <a:pt x="68" y="592"/>
                      <a:pt x="68" y="612"/>
                      <a:pt x="56" y="620"/>
                    </a:cubicBezTo>
                    <a:cubicBezTo>
                      <a:pt x="48" y="624"/>
                      <a:pt x="32" y="628"/>
                      <a:pt x="32" y="628"/>
                    </a:cubicBezTo>
                    <a:cubicBezTo>
                      <a:pt x="20" y="656"/>
                      <a:pt x="24" y="640"/>
                      <a:pt x="12" y="680"/>
                    </a:cubicBezTo>
                    <a:cubicBezTo>
                      <a:pt x="8" y="688"/>
                      <a:pt x="4" y="704"/>
                      <a:pt x="4" y="704"/>
                    </a:cubicBezTo>
                    <a:cubicBezTo>
                      <a:pt x="8" y="716"/>
                      <a:pt x="0" y="732"/>
                      <a:pt x="20" y="732"/>
                    </a:cubicBezTo>
                    <a:cubicBezTo>
                      <a:pt x="36" y="732"/>
                      <a:pt x="100" y="720"/>
                      <a:pt x="100" y="720"/>
                    </a:cubicBezTo>
                    <a:cubicBezTo>
                      <a:pt x="136" y="728"/>
                      <a:pt x="124" y="760"/>
                      <a:pt x="164" y="768"/>
                    </a:cubicBezTo>
                    <a:cubicBezTo>
                      <a:pt x="188" y="784"/>
                      <a:pt x="192" y="792"/>
                      <a:pt x="224" y="800"/>
                    </a:cubicBezTo>
                    <a:cubicBezTo>
                      <a:pt x="292" y="788"/>
                      <a:pt x="252" y="844"/>
                      <a:pt x="284" y="872"/>
                    </a:cubicBezTo>
                    <a:cubicBezTo>
                      <a:pt x="304" y="888"/>
                      <a:pt x="320" y="908"/>
                      <a:pt x="344" y="912"/>
                    </a:cubicBezTo>
                    <a:cubicBezTo>
                      <a:pt x="356" y="920"/>
                      <a:pt x="368" y="912"/>
                      <a:pt x="380" y="920"/>
                    </a:cubicBezTo>
                    <a:cubicBezTo>
                      <a:pt x="384" y="936"/>
                      <a:pt x="388" y="944"/>
                      <a:pt x="404" y="948"/>
                    </a:cubicBezTo>
                    <a:cubicBezTo>
                      <a:pt x="412" y="976"/>
                      <a:pt x="452" y="980"/>
                      <a:pt x="476" y="984"/>
                    </a:cubicBezTo>
                    <a:cubicBezTo>
                      <a:pt x="508" y="1000"/>
                      <a:pt x="508" y="996"/>
                      <a:pt x="548" y="992"/>
                    </a:cubicBezTo>
                    <a:cubicBezTo>
                      <a:pt x="536" y="996"/>
                      <a:pt x="432" y="1012"/>
                      <a:pt x="412" y="1032"/>
                    </a:cubicBezTo>
                    <a:cubicBezTo>
                      <a:pt x="420" y="1064"/>
                      <a:pt x="412" y="1076"/>
                      <a:pt x="428" y="1104"/>
                    </a:cubicBezTo>
                    <a:cubicBezTo>
                      <a:pt x="432" y="1128"/>
                      <a:pt x="432" y="1144"/>
                      <a:pt x="452" y="1156"/>
                    </a:cubicBezTo>
                    <a:cubicBezTo>
                      <a:pt x="460" y="1172"/>
                      <a:pt x="484" y="1200"/>
                      <a:pt x="500" y="1204"/>
                    </a:cubicBezTo>
                    <a:cubicBezTo>
                      <a:pt x="516" y="1236"/>
                      <a:pt x="536" y="1240"/>
                      <a:pt x="560" y="1260"/>
                    </a:cubicBezTo>
                    <a:cubicBezTo>
                      <a:pt x="568" y="1267"/>
                      <a:pt x="584" y="1283"/>
                      <a:pt x="584" y="1283"/>
                    </a:cubicBezTo>
                    <a:cubicBezTo>
                      <a:pt x="588" y="1299"/>
                      <a:pt x="600" y="1295"/>
                      <a:pt x="608" y="1315"/>
                    </a:cubicBezTo>
                    <a:cubicBezTo>
                      <a:pt x="612" y="1371"/>
                      <a:pt x="600" y="1399"/>
                      <a:pt x="584" y="1447"/>
                    </a:cubicBezTo>
                    <a:cubicBezTo>
                      <a:pt x="588" y="1475"/>
                      <a:pt x="588" y="1511"/>
                      <a:pt x="620" y="1523"/>
                    </a:cubicBezTo>
                    <a:cubicBezTo>
                      <a:pt x="624" y="1539"/>
                      <a:pt x="632" y="1547"/>
                      <a:pt x="644" y="1559"/>
                    </a:cubicBezTo>
                    <a:cubicBezTo>
                      <a:pt x="652" y="1587"/>
                      <a:pt x="656" y="1611"/>
                      <a:pt x="660" y="1643"/>
                    </a:cubicBezTo>
                    <a:cubicBezTo>
                      <a:pt x="660" y="1655"/>
                      <a:pt x="668" y="1691"/>
                      <a:pt x="668" y="1679"/>
                    </a:cubicBezTo>
                    <a:cubicBezTo>
                      <a:pt x="668" y="1627"/>
                      <a:pt x="652" y="1627"/>
                      <a:pt x="620" y="1607"/>
                    </a:cubicBezTo>
                    <a:cubicBezTo>
                      <a:pt x="604" y="1583"/>
                      <a:pt x="604" y="1559"/>
                      <a:pt x="588" y="1535"/>
                    </a:cubicBezTo>
                    <a:cubicBezTo>
                      <a:pt x="556" y="1547"/>
                      <a:pt x="560" y="1575"/>
                      <a:pt x="536" y="1591"/>
                    </a:cubicBezTo>
                    <a:cubicBezTo>
                      <a:pt x="528" y="1611"/>
                      <a:pt x="512" y="1627"/>
                      <a:pt x="504" y="1651"/>
                    </a:cubicBezTo>
                    <a:cubicBezTo>
                      <a:pt x="500" y="1659"/>
                      <a:pt x="496" y="1711"/>
                      <a:pt x="504" y="1703"/>
                    </a:cubicBezTo>
                    <a:cubicBezTo>
                      <a:pt x="500" y="1727"/>
                      <a:pt x="492" y="1767"/>
                      <a:pt x="484" y="1807"/>
                    </a:cubicBezTo>
                    <a:cubicBezTo>
                      <a:pt x="464" y="1839"/>
                      <a:pt x="460" y="1883"/>
                      <a:pt x="444" y="1919"/>
                    </a:cubicBezTo>
                    <a:cubicBezTo>
                      <a:pt x="440" y="1947"/>
                      <a:pt x="440" y="2047"/>
                      <a:pt x="412" y="2059"/>
                    </a:cubicBezTo>
                    <a:cubicBezTo>
                      <a:pt x="396" y="2067"/>
                      <a:pt x="396" y="2076"/>
                      <a:pt x="384" y="2088"/>
                    </a:cubicBezTo>
                    <a:cubicBezTo>
                      <a:pt x="380" y="2097"/>
                      <a:pt x="383" y="2088"/>
                      <a:pt x="381" y="2100"/>
                    </a:cubicBezTo>
                    <a:cubicBezTo>
                      <a:pt x="389" y="2112"/>
                      <a:pt x="386" y="2127"/>
                      <a:pt x="389" y="2168"/>
                    </a:cubicBezTo>
                    <a:cubicBezTo>
                      <a:pt x="401" y="2192"/>
                      <a:pt x="438" y="2226"/>
                      <a:pt x="456" y="2252"/>
                    </a:cubicBezTo>
                    <a:cubicBezTo>
                      <a:pt x="510" y="2255"/>
                      <a:pt x="488" y="2247"/>
                      <a:pt x="528" y="2251"/>
                    </a:cubicBezTo>
                    <a:cubicBezTo>
                      <a:pt x="564" y="2291"/>
                      <a:pt x="611" y="2325"/>
                      <a:pt x="659" y="2349"/>
                    </a:cubicBezTo>
                    <a:cubicBezTo>
                      <a:pt x="693" y="2363"/>
                      <a:pt x="696" y="2355"/>
                      <a:pt x="720" y="2363"/>
                    </a:cubicBezTo>
                    <a:cubicBezTo>
                      <a:pt x="736" y="2367"/>
                      <a:pt x="768" y="2383"/>
                      <a:pt x="788" y="2383"/>
                    </a:cubicBezTo>
                    <a:cubicBezTo>
                      <a:pt x="808" y="2383"/>
                      <a:pt x="822" y="2382"/>
                      <a:pt x="836" y="2375"/>
                    </a:cubicBezTo>
                    <a:cubicBezTo>
                      <a:pt x="854" y="2354"/>
                      <a:pt x="851" y="2369"/>
                      <a:pt x="869" y="2343"/>
                    </a:cubicBezTo>
                    <a:cubicBezTo>
                      <a:pt x="901" y="2351"/>
                      <a:pt x="956" y="2391"/>
                      <a:pt x="988" y="2407"/>
                    </a:cubicBezTo>
                    <a:cubicBezTo>
                      <a:pt x="1004" y="2415"/>
                      <a:pt x="1067" y="2437"/>
                      <a:pt x="1083" y="2441"/>
                    </a:cubicBezTo>
                    <a:cubicBezTo>
                      <a:pt x="1095" y="2481"/>
                      <a:pt x="1097" y="2481"/>
                      <a:pt x="1101" y="2499"/>
                    </a:cubicBezTo>
                    <a:cubicBezTo>
                      <a:pt x="1133" y="2501"/>
                      <a:pt x="1172" y="2504"/>
                      <a:pt x="1196" y="2502"/>
                    </a:cubicBezTo>
                    <a:cubicBezTo>
                      <a:pt x="1224" y="2502"/>
                      <a:pt x="1247" y="2496"/>
                      <a:pt x="1274" y="2496"/>
                    </a:cubicBezTo>
                    <a:cubicBezTo>
                      <a:pt x="1294" y="2496"/>
                      <a:pt x="1346" y="2493"/>
                      <a:pt x="1346" y="2493"/>
                    </a:cubicBezTo>
                    <a:cubicBezTo>
                      <a:pt x="1362" y="2425"/>
                      <a:pt x="1335" y="2523"/>
                      <a:pt x="1347" y="2335"/>
                    </a:cubicBezTo>
                    <a:cubicBezTo>
                      <a:pt x="1351" y="2271"/>
                      <a:pt x="1459" y="2259"/>
                      <a:pt x="1507" y="2251"/>
                    </a:cubicBezTo>
                    <a:cubicBezTo>
                      <a:pt x="1575" y="2255"/>
                      <a:pt x="1611" y="2223"/>
                      <a:pt x="1679" y="2239"/>
                    </a:cubicBezTo>
                    <a:cubicBezTo>
                      <a:pt x="1699" y="2251"/>
                      <a:pt x="1755" y="2279"/>
                      <a:pt x="1779" y="2283"/>
                    </a:cubicBezTo>
                    <a:cubicBezTo>
                      <a:pt x="1851" y="2311"/>
                      <a:pt x="1919" y="2339"/>
                      <a:pt x="1999" y="2351"/>
                    </a:cubicBezTo>
                    <a:cubicBezTo>
                      <a:pt x="2039" y="2351"/>
                      <a:pt x="2079" y="2355"/>
                      <a:pt x="2115" y="2347"/>
                    </a:cubicBezTo>
                    <a:cubicBezTo>
                      <a:pt x="2119" y="2347"/>
                      <a:pt x="2139" y="2303"/>
                      <a:pt x="2155" y="2299"/>
                    </a:cubicBezTo>
                    <a:cubicBezTo>
                      <a:pt x="2171" y="2283"/>
                      <a:pt x="2171" y="2271"/>
                      <a:pt x="2191" y="2259"/>
                    </a:cubicBezTo>
                    <a:cubicBezTo>
                      <a:pt x="2207" y="2247"/>
                      <a:pt x="2219" y="2215"/>
                      <a:pt x="2239" y="2203"/>
                    </a:cubicBezTo>
                    <a:cubicBezTo>
                      <a:pt x="2259" y="2191"/>
                      <a:pt x="2295" y="2195"/>
                      <a:pt x="2311" y="2183"/>
                    </a:cubicBezTo>
                    <a:cubicBezTo>
                      <a:pt x="2318" y="2150"/>
                      <a:pt x="2333" y="2154"/>
                      <a:pt x="2347" y="2135"/>
                    </a:cubicBezTo>
                    <a:cubicBezTo>
                      <a:pt x="2357" y="2088"/>
                      <a:pt x="2354" y="2100"/>
                      <a:pt x="2345" y="2078"/>
                    </a:cubicBezTo>
                    <a:cubicBezTo>
                      <a:pt x="2304" y="2069"/>
                      <a:pt x="2295" y="2072"/>
                      <a:pt x="2243" y="2071"/>
                    </a:cubicBezTo>
                    <a:cubicBezTo>
                      <a:pt x="2231" y="2067"/>
                      <a:pt x="2198" y="2064"/>
                      <a:pt x="2183" y="1979"/>
                    </a:cubicBezTo>
                    <a:cubicBezTo>
                      <a:pt x="2187" y="1956"/>
                      <a:pt x="2201" y="1937"/>
                      <a:pt x="2220" y="1892"/>
                    </a:cubicBezTo>
                    <a:cubicBezTo>
                      <a:pt x="2219" y="1854"/>
                      <a:pt x="2223" y="1859"/>
                      <a:pt x="2167" y="1855"/>
                    </a:cubicBezTo>
                    <a:cubicBezTo>
                      <a:pt x="2127" y="1859"/>
                      <a:pt x="2142" y="1817"/>
                      <a:pt x="2121" y="1823"/>
                    </a:cubicBezTo>
                    <a:cubicBezTo>
                      <a:pt x="2117" y="1815"/>
                      <a:pt x="2116" y="1798"/>
                      <a:pt x="2124" y="1790"/>
                    </a:cubicBezTo>
                    <a:cubicBezTo>
                      <a:pt x="2186" y="1788"/>
                      <a:pt x="2222" y="1743"/>
                      <a:pt x="2243" y="1733"/>
                    </a:cubicBezTo>
                    <a:cubicBezTo>
                      <a:pt x="2229" y="1704"/>
                      <a:pt x="2225" y="1695"/>
                      <a:pt x="2213" y="1659"/>
                    </a:cubicBezTo>
                    <a:cubicBezTo>
                      <a:pt x="2209" y="1647"/>
                      <a:pt x="2203" y="1619"/>
                      <a:pt x="2203" y="1619"/>
                    </a:cubicBezTo>
                    <a:cubicBezTo>
                      <a:pt x="2201" y="1590"/>
                      <a:pt x="2210" y="1589"/>
                      <a:pt x="2211" y="1581"/>
                    </a:cubicBezTo>
                    <a:cubicBezTo>
                      <a:pt x="2212" y="1573"/>
                      <a:pt x="2205" y="1571"/>
                      <a:pt x="2207" y="1568"/>
                    </a:cubicBezTo>
                    <a:cubicBezTo>
                      <a:pt x="2209" y="1565"/>
                      <a:pt x="2225" y="1564"/>
                      <a:pt x="2226" y="1560"/>
                    </a:cubicBezTo>
                    <a:cubicBezTo>
                      <a:pt x="2227" y="1556"/>
                      <a:pt x="2220" y="1555"/>
                      <a:pt x="2215" y="1543"/>
                    </a:cubicBezTo>
                    <a:cubicBezTo>
                      <a:pt x="2211" y="1519"/>
                      <a:pt x="2207" y="1507"/>
                      <a:pt x="2195" y="1487"/>
                    </a:cubicBezTo>
                    <a:cubicBezTo>
                      <a:pt x="2191" y="1455"/>
                      <a:pt x="2195" y="1431"/>
                      <a:pt x="2159" y="1423"/>
                    </a:cubicBezTo>
                    <a:cubicBezTo>
                      <a:pt x="2127" y="1423"/>
                      <a:pt x="2107" y="1435"/>
                      <a:pt x="2075" y="1439"/>
                    </a:cubicBezTo>
                    <a:cubicBezTo>
                      <a:pt x="2055" y="1443"/>
                      <a:pt x="2043" y="1483"/>
                      <a:pt x="2023" y="1495"/>
                    </a:cubicBezTo>
                    <a:cubicBezTo>
                      <a:pt x="2027" y="1467"/>
                      <a:pt x="2043" y="1423"/>
                      <a:pt x="2059" y="1399"/>
                    </a:cubicBezTo>
                    <a:cubicBezTo>
                      <a:pt x="2071" y="1379"/>
                      <a:pt x="2051" y="1367"/>
                      <a:pt x="2071" y="1339"/>
                    </a:cubicBezTo>
                    <a:cubicBezTo>
                      <a:pt x="2083" y="1323"/>
                      <a:pt x="2107" y="1311"/>
                      <a:pt x="2123" y="1295"/>
                    </a:cubicBezTo>
                    <a:cubicBezTo>
                      <a:pt x="2139" y="1279"/>
                      <a:pt x="2155" y="1256"/>
                      <a:pt x="2171" y="1232"/>
                    </a:cubicBezTo>
                    <a:cubicBezTo>
                      <a:pt x="2187" y="1208"/>
                      <a:pt x="2207" y="1180"/>
                      <a:pt x="2219" y="1156"/>
                    </a:cubicBezTo>
                    <a:cubicBezTo>
                      <a:pt x="2231" y="1132"/>
                      <a:pt x="2231" y="1096"/>
                      <a:pt x="2251" y="1084"/>
                    </a:cubicBezTo>
                    <a:cubicBezTo>
                      <a:pt x="2303" y="1088"/>
                      <a:pt x="2311" y="1096"/>
                      <a:pt x="2347" y="1092"/>
                    </a:cubicBezTo>
                    <a:cubicBezTo>
                      <a:pt x="2358" y="1082"/>
                      <a:pt x="2357" y="1088"/>
                      <a:pt x="2363" y="1082"/>
                    </a:cubicBezTo>
                    <a:cubicBezTo>
                      <a:pt x="2358" y="1073"/>
                      <a:pt x="2343" y="1034"/>
                      <a:pt x="2351" y="993"/>
                    </a:cubicBezTo>
                    <a:cubicBezTo>
                      <a:pt x="2355" y="941"/>
                      <a:pt x="2390" y="899"/>
                      <a:pt x="2414" y="833"/>
                    </a:cubicBezTo>
                    <a:cubicBezTo>
                      <a:pt x="2422" y="805"/>
                      <a:pt x="2394" y="771"/>
                      <a:pt x="2418" y="758"/>
                    </a:cubicBezTo>
                    <a:cubicBezTo>
                      <a:pt x="2469" y="747"/>
                      <a:pt x="2472" y="734"/>
                      <a:pt x="2493" y="705"/>
                    </a:cubicBezTo>
                    <a:cubicBezTo>
                      <a:pt x="2501" y="673"/>
                      <a:pt x="2489" y="680"/>
                      <a:pt x="2431" y="656"/>
                    </a:cubicBezTo>
                    <a:cubicBezTo>
                      <a:pt x="2387" y="626"/>
                      <a:pt x="2346" y="599"/>
                      <a:pt x="2307" y="608"/>
                    </a:cubicBezTo>
                    <a:cubicBezTo>
                      <a:pt x="2275" y="600"/>
                      <a:pt x="2275" y="604"/>
                      <a:pt x="2239" y="600"/>
                    </a:cubicBezTo>
                    <a:cubicBezTo>
                      <a:pt x="2219" y="580"/>
                      <a:pt x="2208" y="567"/>
                      <a:pt x="2183" y="552"/>
                    </a:cubicBezTo>
                    <a:cubicBezTo>
                      <a:pt x="2160" y="509"/>
                      <a:pt x="2162" y="504"/>
                      <a:pt x="2123" y="512"/>
                    </a:cubicBezTo>
                    <a:cubicBezTo>
                      <a:pt x="2109" y="521"/>
                      <a:pt x="2082" y="528"/>
                      <a:pt x="2061" y="513"/>
                    </a:cubicBezTo>
                    <a:cubicBezTo>
                      <a:pt x="2037" y="513"/>
                      <a:pt x="2033" y="492"/>
                      <a:pt x="2010" y="510"/>
                    </a:cubicBezTo>
                    <a:cubicBezTo>
                      <a:pt x="1964" y="497"/>
                      <a:pt x="1970" y="459"/>
                      <a:pt x="1947" y="452"/>
                    </a:cubicBezTo>
                    <a:cubicBezTo>
                      <a:pt x="1932" y="425"/>
                      <a:pt x="1903" y="414"/>
                      <a:pt x="1875" y="408"/>
                    </a:cubicBezTo>
                    <a:cubicBezTo>
                      <a:pt x="1877" y="360"/>
                      <a:pt x="1878" y="360"/>
                      <a:pt x="1860" y="345"/>
                    </a:cubicBezTo>
                    <a:cubicBezTo>
                      <a:pt x="1875" y="315"/>
                      <a:pt x="1869" y="296"/>
                      <a:pt x="1862" y="299"/>
                    </a:cubicBezTo>
                    <a:cubicBezTo>
                      <a:pt x="1836" y="302"/>
                      <a:pt x="1839" y="344"/>
                      <a:pt x="1823" y="360"/>
                    </a:cubicBezTo>
                    <a:cubicBezTo>
                      <a:pt x="1748" y="371"/>
                      <a:pt x="1761" y="356"/>
                      <a:pt x="1747" y="308"/>
                    </a:cubicBezTo>
                    <a:cubicBezTo>
                      <a:pt x="1723" y="204"/>
                      <a:pt x="1715" y="252"/>
                      <a:pt x="1665" y="234"/>
                    </a:cubicBezTo>
                    <a:cubicBezTo>
                      <a:pt x="1645" y="202"/>
                      <a:pt x="1665" y="179"/>
                      <a:pt x="1596" y="173"/>
                    </a:cubicBezTo>
                    <a:cubicBezTo>
                      <a:pt x="1589" y="159"/>
                      <a:pt x="1591" y="136"/>
                      <a:pt x="1575" y="116"/>
                    </a:cubicBezTo>
                    <a:cubicBezTo>
                      <a:pt x="1567" y="96"/>
                      <a:pt x="1557" y="95"/>
                      <a:pt x="1519" y="100"/>
                    </a:cubicBezTo>
                    <a:cubicBezTo>
                      <a:pt x="1484" y="96"/>
                      <a:pt x="1484" y="40"/>
                      <a:pt x="1484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</p:grpSp>
        <p:sp>
          <p:nvSpPr>
            <p:cNvPr id="44" name="Freeform 107"/>
            <p:cNvSpPr>
              <a:spLocks noChangeAspect="1"/>
            </p:cNvSpPr>
            <p:nvPr/>
          </p:nvSpPr>
          <p:spPr bwMode="auto">
            <a:xfrm>
              <a:off x="2200" y="2848"/>
              <a:ext cx="174" cy="154"/>
            </a:xfrm>
            <a:custGeom>
              <a:avLst/>
              <a:gdLst>
                <a:gd name="T0" fmla="*/ 0 w 691"/>
                <a:gd name="T1" fmla="*/ 0 h 607"/>
                <a:gd name="T2" fmla="*/ 0 w 691"/>
                <a:gd name="T3" fmla="*/ 0 h 607"/>
                <a:gd name="T4" fmla="*/ 0 w 691"/>
                <a:gd name="T5" fmla="*/ 0 h 607"/>
                <a:gd name="T6" fmla="*/ 0 w 691"/>
                <a:gd name="T7" fmla="*/ 0 h 607"/>
                <a:gd name="T8" fmla="*/ 0 w 691"/>
                <a:gd name="T9" fmla="*/ 0 h 607"/>
                <a:gd name="T10" fmla="*/ 0 w 691"/>
                <a:gd name="T11" fmla="*/ 0 h 607"/>
                <a:gd name="T12" fmla="*/ 0 w 691"/>
                <a:gd name="T13" fmla="*/ 0 h 607"/>
                <a:gd name="T14" fmla="*/ 0 w 691"/>
                <a:gd name="T15" fmla="*/ 0 h 607"/>
                <a:gd name="T16" fmla="*/ 0 w 691"/>
                <a:gd name="T17" fmla="*/ 0 h 607"/>
                <a:gd name="T18" fmla="*/ 0 w 691"/>
                <a:gd name="T19" fmla="*/ 0 h 607"/>
                <a:gd name="T20" fmla="*/ 0 w 691"/>
                <a:gd name="T21" fmla="*/ 0 h 607"/>
                <a:gd name="T22" fmla="*/ 0 w 691"/>
                <a:gd name="T23" fmla="*/ 0 h 607"/>
                <a:gd name="T24" fmla="*/ 0 w 691"/>
                <a:gd name="T25" fmla="*/ 0 h 607"/>
                <a:gd name="T26" fmla="*/ 0 w 691"/>
                <a:gd name="T27" fmla="*/ 0 h 607"/>
                <a:gd name="T28" fmla="*/ 0 w 691"/>
                <a:gd name="T29" fmla="*/ 0 h 607"/>
                <a:gd name="T30" fmla="*/ 0 w 691"/>
                <a:gd name="T31" fmla="*/ 0 h 607"/>
                <a:gd name="T32" fmla="*/ 0 w 691"/>
                <a:gd name="T33" fmla="*/ 0 h 607"/>
                <a:gd name="T34" fmla="*/ 0 w 691"/>
                <a:gd name="T35" fmla="*/ 0 h 607"/>
                <a:gd name="T36" fmla="*/ 0 w 691"/>
                <a:gd name="T37" fmla="*/ 0 h 607"/>
                <a:gd name="T38" fmla="*/ 0 w 691"/>
                <a:gd name="T39" fmla="*/ 0 h 607"/>
                <a:gd name="T40" fmla="*/ 0 w 691"/>
                <a:gd name="T41" fmla="*/ 0 h 607"/>
                <a:gd name="T42" fmla="*/ 0 w 691"/>
                <a:gd name="T43" fmla="*/ 0 h 607"/>
                <a:gd name="T44" fmla="*/ 0 w 691"/>
                <a:gd name="T45" fmla="*/ 0 h 607"/>
                <a:gd name="T46" fmla="*/ 0 w 691"/>
                <a:gd name="T47" fmla="*/ 0 h 607"/>
                <a:gd name="T48" fmla="*/ 0 w 691"/>
                <a:gd name="T49" fmla="*/ 0 h 607"/>
                <a:gd name="T50" fmla="*/ 0 w 691"/>
                <a:gd name="T51" fmla="*/ 0 h 607"/>
                <a:gd name="T52" fmla="*/ 0 w 691"/>
                <a:gd name="T53" fmla="*/ 0 h 607"/>
                <a:gd name="T54" fmla="*/ 0 w 691"/>
                <a:gd name="T55" fmla="*/ 0 h 607"/>
                <a:gd name="T56" fmla="*/ 0 w 691"/>
                <a:gd name="T57" fmla="*/ 0 h 607"/>
                <a:gd name="T58" fmla="*/ 0 w 691"/>
                <a:gd name="T59" fmla="*/ 0 h 607"/>
                <a:gd name="T60" fmla="*/ 0 w 691"/>
                <a:gd name="T61" fmla="*/ 0 h 607"/>
                <a:gd name="T62" fmla="*/ 0 w 691"/>
                <a:gd name="T63" fmla="*/ 0 h 607"/>
                <a:gd name="T64" fmla="*/ 0 w 691"/>
                <a:gd name="T65" fmla="*/ 0 h 607"/>
                <a:gd name="T66" fmla="*/ 0 w 691"/>
                <a:gd name="T67" fmla="*/ 0 h 607"/>
                <a:gd name="T68" fmla="*/ 0 w 691"/>
                <a:gd name="T69" fmla="*/ 0 h 607"/>
                <a:gd name="T70" fmla="*/ 0 w 691"/>
                <a:gd name="T71" fmla="*/ 0 h 607"/>
                <a:gd name="T72" fmla="*/ 0 w 691"/>
                <a:gd name="T73" fmla="*/ 0 h 607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691"/>
                <a:gd name="T112" fmla="*/ 0 h 607"/>
                <a:gd name="T113" fmla="*/ 691 w 691"/>
                <a:gd name="T114" fmla="*/ 607 h 607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691" h="607">
                  <a:moveTo>
                    <a:pt x="181" y="0"/>
                  </a:moveTo>
                  <a:cubicBezTo>
                    <a:pt x="188" y="1"/>
                    <a:pt x="178" y="11"/>
                    <a:pt x="187" y="20"/>
                  </a:cubicBezTo>
                  <a:cubicBezTo>
                    <a:pt x="192" y="25"/>
                    <a:pt x="206" y="28"/>
                    <a:pt x="214" y="33"/>
                  </a:cubicBezTo>
                  <a:cubicBezTo>
                    <a:pt x="222" y="38"/>
                    <a:pt x="213" y="54"/>
                    <a:pt x="237" y="53"/>
                  </a:cubicBezTo>
                  <a:cubicBezTo>
                    <a:pt x="273" y="60"/>
                    <a:pt x="284" y="39"/>
                    <a:pt x="312" y="31"/>
                  </a:cubicBezTo>
                  <a:cubicBezTo>
                    <a:pt x="324" y="27"/>
                    <a:pt x="358" y="11"/>
                    <a:pt x="358" y="11"/>
                  </a:cubicBezTo>
                  <a:cubicBezTo>
                    <a:pt x="374" y="10"/>
                    <a:pt x="356" y="9"/>
                    <a:pt x="375" y="14"/>
                  </a:cubicBezTo>
                  <a:cubicBezTo>
                    <a:pt x="394" y="19"/>
                    <a:pt x="450" y="27"/>
                    <a:pt x="474" y="39"/>
                  </a:cubicBezTo>
                  <a:cubicBezTo>
                    <a:pt x="484" y="74"/>
                    <a:pt x="500" y="71"/>
                    <a:pt x="521" y="84"/>
                  </a:cubicBezTo>
                  <a:cubicBezTo>
                    <a:pt x="535" y="87"/>
                    <a:pt x="590" y="99"/>
                    <a:pt x="597" y="119"/>
                  </a:cubicBezTo>
                  <a:cubicBezTo>
                    <a:pt x="603" y="144"/>
                    <a:pt x="561" y="176"/>
                    <a:pt x="558" y="209"/>
                  </a:cubicBezTo>
                  <a:cubicBezTo>
                    <a:pt x="574" y="236"/>
                    <a:pt x="576" y="239"/>
                    <a:pt x="627" y="224"/>
                  </a:cubicBezTo>
                  <a:cubicBezTo>
                    <a:pt x="622" y="236"/>
                    <a:pt x="625" y="263"/>
                    <a:pt x="649" y="287"/>
                  </a:cubicBezTo>
                  <a:cubicBezTo>
                    <a:pt x="661" y="295"/>
                    <a:pt x="691" y="338"/>
                    <a:pt x="688" y="353"/>
                  </a:cubicBezTo>
                  <a:cubicBezTo>
                    <a:pt x="684" y="373"/>
                    <a:pt x="673" y="363"/>
                    <a:pt x="661" y="374"/>
                  </a:cubicBezTo>
                  <a:cubicBezTo>
                    <a:pt x="653" y="386"/>
                    <a:pt x="642" y="431"/>
                    <a:pt x="642" y="431"/>
                  </a:cubicBezTo>
                  <a:cubicBezTo>
                    <a:pt x="627" y="434"/>
                    <a:pt x="603" y="432"/>
                    <a:pt x="591" y="441"/>
                  </a:cubicBezTo>
                  <a:cubicBezTo>
                    <a:pt x="593" y="487"/>
                    <a:pt x="576" y="475"/>
                    <a:pt x="572" y="491"/>
                  </a:cubicBezTo>
                  <a:cubicBezTo>
                    <a:pt x="566" y="516"/>
                    <a:pt x="558" y="581"/>
                    <a:pt x="561" y="602"/>
                  </a:cubicBezTo>
                  <a:cubicBezTo>
                    <a:pt x="552" y="605"/>
                    <a:pt x="561" y="602"/>
                    <a:pt x="540" y="607"/>
                  </a:cubicBezTo>
                  <a:cubicBezTo>
                    <a:pt x="484" y="595"/>
                    <a:pt x="508" y="575"/>
                    <a:pt x="476" y="551"/>
                  </a:cubicBezTo>
                  <a:cubicBezTo>
                    <a:pt x="452" y="531"/>
                    <a:pt x="436" y="511"/>
                    <a:pt x="404" y="507"/>
                  </a:cubicBezTo>
                  <a:cubicBezTo>
                    <a:pt x="396" y="483"/>
                    <a:pt x="412" y="451"/>
                    <a:pt x="384" y="443"/>
                  </a:cubicBezTo>
                  <a:cubicBezTo>
                    <a:pt x="392" y="431"/>
                    <a:pt x="388" y="423"/>
                    <a:pt x="396" y="411"/>
                  </a:cubicBezTo>
                  <a:cubicBezTo>
                    <a:pt x="384" y="375"/>
                    <a:pt x="368" y="419"/>
                    <a:pt x="360" y="431"/>
                  </a:cubicBezTo>
                  <a:cubicBezTo>
                    <a:pt x="348" y="463"/>
                    <a:pt x="352" y="455"/>
                    <a:pt x="324" y="463"/>
                  </a:cubicBezTo>
                  <a:cubicBezTo>
                    <a:pt x="312" y="459"/>
                    <a:pt x="296" y="467"/>
                    <a:pt x="288" y="455"/>
                  </a:cubicBezTo>
                  <a:cubicBezTo>
                    <a:pt x="284" y="447"/>
                    <a:pt x="272" y="407"/>
                    <a:pt x="272" y="407"/>
                  </a:cubicBezTo>
                  <a:cubicBezTo>
                    <a:pt x="248" y="327"/>
                    <a:pt x="268" y="343"/>
                    <a:pt x="192" y="335"/>
                  </a:cubicBezTo>
                  <a:cubicBezTo>
                    <a:pt x="176" y="287"/>
                    <a:pt x="172" y="279"/>
                    <a:pt x="120" y="271"/>
                  </a:cubicBezTo>
                  <a:cubicBezTo>
                    <a:pt x="104" y="235"/>
                    <a:pt x="116" y="207"/>
                    <a:pt x="72" y="195"/>
                  </a:cubicBezTo>
                  <a:cubicBezTo>
                    <a:pt x="44" y="203"/>
                    <a:pt x="48" y="207"/>
                    <a:pt x="24" y="191"/>
                  </a:cubicBezTo>
                  <a:cubicBezTo>
                    <a:pt x="20" y="179"/>
                    <a:pt x="12" y="155"/>
                    <a:pt x="12" y="155"/>
                  </a:cubicBezTo>
                  <a:cubicBezTo>
                    <a:pt x="8" y="127"/>
                    <a:pt x="0" y="95"/>
                    <a:pt x="32" y="83"/>
                  </a:cubicBezTo>
                  <a:cubicBezTo>
                    <a:pt x="48" y="55"/>
                    <a:pt x="56" y="55"/>
                    <a:pt x="88" y="47"/>
                  </a:cubicBezTo>
                  <a:cubicBezTo>
                    <a:pt x="136" y="11"/>
                    <a:pt x="12" y="43"/>
                    <a:pt x="152" y="15"/>
                  </a:cubicBezTo>
                  <a:cubicBezTo>
                    <a:pt x="160" y="15"/>
                    <a:pt x="189" y="0"/>
                    <a:pt x="181" y="0"/>
                  </a:cubicBez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  <p:sp>
          <p:nvSpPr>
            <p:cNvPr id="45" name="Freeform 108"/>
            <p:cNvSpPr>
              <a:spLocks noChangeAspect="1"/>
            </p:cNvSpPr>
            <p:nvPr/>
          </p:nvSpPr>
          <p:spPr bwMode="auto">
            <a:xfrm>
              <a:off x="2339" y="2957"/>
              <a:ext cx="38" cy="50"/>
            </a:xfrm>
            <a:custGeom>
              <a:avLst/>
              <a:gdLst>
                <a:gd name="T0" fmla="*/ 0 w 153"/>
                <a:gd name="T1" fmla="*/ 0 h 200"/>
                <a:gd name="T2" fmla="*/ 0 w 153"/>
                <a:gd name="T3" fmla="*/ 0 h 200"/>
                <a:gd name="T4" fmla="*/ 0 w 153"/>
                <a:gd name="T5" fmla="*/ 0 h 200"/>
                <a:gd name="T6" fmla="*/ 0 w 153"/>
                <a:gd name="T7" fmla="*/ 0 h 200"/>
                <a:gd name="T8" fmla="*/ 0 w 153"/>
                <a:gd name="T9" fmla="*/ 0 h 200"/>
                <a:gd name="T10" fmla="*/ 0 w 153"/>
                <a:gd name="T11" fmla="*/ 0 h 200"/>
                <a:gd name="T12" fmla="*/ 0 w 153"/>
                <a:gd name="T13" fmla="*/ 0 h 200"/>
                <a:gd name="T14" fmla="*/ 0 w 153"/>
                <a:gd name="T15" fmla="*/ 0 h 200"/>
                <a:gd name="T16" fmla="*/ 0 w 153"/>
                <a:gd name="T17" fmla="*/ 0 h 20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53"/>
                <a:gd name="T28" fmla="*/ 0 h 200"/>
                <a:gd name="T29" fmla="*/ 153 w 153"/>
                <a:gd name="T30" fmla="*/ 200 h 20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53" h="200">
                  <a:moveTo>
                    <a:pt x="95" y="0"/>
                  </a:moveTo>
                  <a:cubicBezTo>
                    <a:pt x="0" y="3"/>
                    <a:pt x="71" y="24"/>
                    <a:pt x="23" y="56"/>
                  </a:cubicBezTo>
                  <a:cubicBezTo>
                    <a:pt x="15" y="96"/>
                    <a:pt x="15" y="116"/>
                    <a:pt x="11" y="168"/>
                  </a:cubicBezTo>
                  <a:cubicBezTo>
                    <a:pt x="22" y="186"/>
                    <a:pt x="33" y="181"/>
                    <a:pt x="51" y="184"/>
                  </a:cubicBezTo>
                  <a:cubicBezTo>
                    <a:pt x="63" y="200"/>
                    <a:pt x="111" y="171"/>
                    <a:pt x="130" y="178"/>
                  </a:cubicBezTo>
                  <a:cubicBezTo>
                    <a:pt x="125" y="160"/>
                    <a:pt x="132" y="150"/>
                    <a:pt x="147" y="120"/>
                  </a:cubicBezTo>
                  <a:cubicBezTo>
                    <a:pt x="153" y="88"/>
                    <a:pt x="151" y="79"/>
                    <a:pt x="127" y="63"/>
                  </a:cubicBezTo>
                  <a:cubicBezTo>
                    <a:pt x="105" y="42"/>
                    <a:pt x="115" y="48"/>
                    <a:pt x="95" y="28"/>
                  </a:cubicBezTo>
                  <a:cubicBezTo>
                    <a:pt x="91" y="8"/>
                    <a:pt x="91" y="16"/>
                    <a:pt x="95" y="0"/>
                  </a:cubicBez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  <p:grpSp>
          <p:nvGrpSpPr>
            <p:cNvPr id="46" name="Group 109"/>
            <p:cNvGrpSpPr>
              <a:grpSpLocks/>
            </p:cNvGrpSpPr>
            <p:nvPr/>
          </p:nvGrpSpPr>
          <p:grpSpPr bwMode="auto">
            <a:xfrm>
              <a:off x="2245" y="2705"/>
              <a:ext cx="177" cy="201"/>
              <a:chOff x="1507" y="4979"/>
              <a:chExt cx="706" cy="796"/>
            </a:xfrm>
            <a:grpFill/>
          </p:grpSpPr>
          <p:sp>
            <p:nvSpPr>
              <p:cNvPr id="60" name="Freeform 110"/>
              <p:cNvSpPr>
                <a:spLocks noChangeAspect="1"/>
              </p:cNvSpPr>
              <p:nvPr/>
            </p:nvSpPr>
            <p:spPr bwMode="auto">
              <a:xfrm>
                <a:off x="1759" y="5075"/>
                <a:ext cx="56" cy="44"/>
              </a:xfrm>
              <a:custGeom>
                <a:avLst/>
                <a:gdLst>
                  <a:gd name="T0" fmla="*/ 2147483647 w 14"/>
                  <a:gd name="T1" fmla="*/ 0 h 11"/>
                  <a:gd name="T2" fmla="*/ 2147483647 w 14"/>
                  <a:gd name="T3" fmla="*/ 2147483647 h 11"/>
                  <a:gd name="T4" fmla="*/ 2147483647 w 14"/>
                  <a:gd name="T5" fmla="*/ 2147483647 h 11"/>
                  <a:gd name="T6" fmla="*/ 2147483647 w 14"/>
                  <a:gd name="T7" fmla="*/ 0 h 11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4"/>
                  <a:gd name="T13" fmla="*/ 0 h 11"/>
                  <a:gd name="T14" fmla="*/ 14 w 14"/>
                  <a:gd name="T15" fmla="*/ 11 h 11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4" h="11">
                    <a:moveTo>
                      <a:pt x="5" y="0"/>
                    </a:moveTo>
                    <a:cubicBezTo>
                      <a:pt x="9" y="1"/>
                      <a:pt x="14" y="0"/>
                      <a:pt x="9" y="7"/>
                    </a:cubicBezTo>
                    <a:cubicBezTo>
                      <a:pt x="8" y="9"/>
                      <a:pt x="3" y="11"/>
                      <a:pt x="3" y="11"/>
                    </a:cubicBezTo>
                    <a:cubicBezTo>
                      <a:pt x="0" y="7"/>
                      <a:pt x="1" y="4"/>
                      <a:pt x="5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61" name="Freeform 111"/>
              <p:cNvSpPr>
                <a:spLocks noChangeAspect="1"/>
              </p:cNvSpPr>
              <p:nvPr/>
            </p:nvSpPr>
            <p:spPr bwMode="auto">
              <a:xfrm>
                <a:off x="1803" y="5019"/>
                <a:ext cx="32" cy="68"/>
              </a:xfrm>
              <a:custGeom>
                <a:avLst/>
                <a:gdLst>
                  <a:gd name="T0" fmla="*/ 0 w 8"/>
                  <a:gd name="T1" fmla="*/ 2147483647 h 17"/>
                  <a:gd name="T2" fmla="*/ 2147483647 w 8"/>
                  <a:gd name="T3" fmla="*/ 0 h 17"/>
                  <a:gd name="T4" fmla="*/ 0 w 8"/>
                  <a:gd name="T5" fmla="*/ 2147483647 h 17"/>
                  <a:gd name="T6" fmla="*/ 0 60000 65536"/>
                  <a:gd name="T7" fmla="*/ 0 60000 65536"/>
                  <a:gd name="T8" fmla="*/ 0 60000 65536"/>
                  <a:gd name="T9" fmla="*/ 0 w 8"/>
                  <a:gd name="T10" fmla="*/ 0 h 17"/>
                  <a:gd name="T11" fmla="*/ 8 w 8"/>
                  <a:gd name="T12" fmla="*/ 17 h 17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8" h="17">
                    <a:moveTo>
                      <a:pt x="0" y="8"/>
                    </a:moveTo>
                    <a:cubicBezTo>
                      <a:pt x="5" y="6"/>
                      <a:pt x="4" y="4"/>
                      <a:pt x="8" y="0"/>
                    </a:cubicBezTo>
                    <a:cubicBezTo>
                      <a:pt x="8" y="2"/>
                      <a:pt x="0" y="17"/>
                      <a:pt x="0" y="8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62" name="Freeform 112"/>
              <p:cNvSpPr>
                <a:spLocks noChangeAspect="1"/>
              </p:cNvSpPr>
              <p:nvPr/>
            </p:nvSpPr>
            <p:spPr bwMode="auto">
              <a:xfrm>
                <a:off x="1859" y="4991"/>
                <a:ext cx="48" cy="40"/>
              </a:xfrm>
              <a:custGeom>
                <a:avLst/>
                <a:gdLst>
                  <a:gd name="T0" fmla="*/ 0 w 12"/>
                  <a:gd name="T1" fmla="*/ 2147483647 h 10"/>
                  <a:gd name="T2" fmla="*/ 2147483647 w 12"/>
                  <a:gd name="T3" fmla="*/ 2147483647 h 10"/>
                  <a:gd name="T4" fmla="*/ 0 w 12"/>
                  <a:gd name="T5" fmla="*/ 2147483647 h 10"/>
                  <a:gd name="T6" fmla="*/ 0 60000 65536"/>
                  <a:gd name="T7" fmla="*/ 0 60000 65536"/>
                  <a:gd name="T8" fmla="*/ 0 60000 65536"/>
                  <a:gd name="T9" fmla="*/ 0 w 12"/>
                  <a:gd name="T10" fmla="*/ 0 h 10"/>
                  <a:gd name="T11" fmla="*/ 12 w 12"/>
                  <a:gd name="T12" fmla="*/ 10 h 10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2" h="10">
                    <a:moveTo>
                      <a:pt x="0" y="3"/>
                    </a:moveTo>
                    <a:cubicBezTo>
                      <a:pt x="8" y="0"/>
                      <a:pt x="4" y="1"/>
                      <a:pt x="12" y="2"/>
                    </a:cubicBezTo>
                    <a:cubicBezTo>
                      <a:pt x="10" y="9"/>
                      <a:pt x="0" y="10"/>
                      <a:pt x="0" y="3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63" name="Freeform 113"/>
              <p:cNvSpPr>
                <a:spLocks noChangeAspect="1"/>
              </p:cNvSpPr>
              <p:nvPr/>
            </p:nvSpPr>
            <p:spPr bwMode="auto">
              <a:xfrm>
                <a:off x="1919" y="4979"/>
                <a:ext cx="96" cy="28"/>
              </a:xfrm>
              <a:custGeom>
                <a:avLst/>
                <a:gdLst>
                  <a:gd name="T0" fmla="*/ 2147483647 w 24"/>
                  <a:gd name="T1" fmla="*/ 2147483647 h 7"/>
                  <a:gd name="T2" fmla="*/ 2147483647 w 24"/>
                  <a:gd name="T3" fmla="*/ 2147483647 h 7"/>
                  <a:gd name="T4" fmla="*/ 2147483647 w 24"/>
                  <a:gd name="T5" fmla="*/ 2147483647 h 7"/>
                  <a:gd name="T6" fmla="*/ 0 60000 65536"/>
                  <a:gd name="T7" fmla="*/ 0 60000 65536"/>
                  <a:gd name="T8" fmla="*/ 0 60000 65536"/>
                  <a:gd name="T9" fmla="*/ 0 w 24"/>
                  <a:gd name="T10" fmla="*/ 0 h 7"/>
                  <a:gd name="T11" fmla="*/ 24 w 24"/>
                  <a:gd name="T12" fmla="*/ 7 h 7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4" h="7">
                    <a:moveTo>
                      <a:pt x="1" y="4"/>
                    </a:moveTo>
                    <a:cubicBezTo>
                      <a:pt x="22" y="3"/>
                      <a:pt x="24" y="3"/>
                      <a:pt x="12" y="7"/>
                    </a:cubicBezTo>
                    <a:cubicBezTo>
                      <a:pt x="6" y="6"/>
                      <a:pt x="0" y="0"/>
                      <a:pt x="1" y="4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64" name="Freeform 114"/>
              <p:cNvSpPr>
                <a:spLocks noChangeAspect="1"/>
              </p:cNvSpPr>
              <p:nvPr/>
            </p:nvSpPr>
            <p:spPr bwMode="auto">
              <a:xfrm>
                <a:off x="1507" y="5019"/>
                <a:ext cx="706" cy="756"/>
              </a:xfrm>
              <a:custGeom>
                <a:avLst/>
                <a:gdLst>
                  <a:gd name="T0" fmla="*/ 694 w 706"/>
                  <a:gd name="T1" fmla="*/ 39 h 756"/>
                  <a:gd name="T2" fmla="*/ 624 w 706"/>
                  <a:gd name="T3" fmla="*/ 0 h 756"/>
                  <a:gd name="T4" fmla="*/ 508 w 706"/>
                  <a:gd name="T5" fmla="*/ 12 h 756"/>
                  <a:gd name="T6" fmla="*/ 432 w 706"/>
                  <a:gd name="T7" fmla="*/ 28 h 756"/>
                  <a:gd name="T8" fmla="*/ 376 w 706"/>
                  <a:gd name="T9" fmla="*/ 60 h 756"/>
                  <a:gd name="T10" fmla="*/ 328 w 706"/>
                  <a:gd name="T11" fmla="*/ 92 h 756"/>
                  <a:gd name="T12" fmla="*/ 304 w 706"/>
                  <a:gd name="T13" fmla="*/ 100 h 756"/>
                  <a:gd name="T14" fmla="*/ 244 w 706"/>
                  <a:gd name="T15" fmla="*/ 156 h 756"/>
                  <a:gd name="T16" fmla="*/ 364 w 706"/>
                  <a:gd name="T17" fmla="*/ 240 h 756"/>
                  <a:gd name="T18" fmla="*/ 324 w 706"/>
                  <a:gd name="T19" fmla="*/ 272 h 756"/>
                  <a:gd name="T20" fmla="*/ 220 w 706"/>
                  <a:gd name="T21" fmla="*/ 268 h 756"/>
                  <a:gd name="T22" fmla="*/ 168 w 706"/>
                  <a:gd name="T23" fmla="*/ 316 h 756"/>
                  <a:gd name="T24" fmla="*/ 112 w 706"/>
                  <a:gd name="T25" fmla="*/ 392 h 756"/>
                  <a:gd name="T26" fmla="*/ 76 w 706"/>
                  <a:gd name="T27" fmla="*/ 420 h 756"/>
                  <a:gd name="T28" fmla="*/ 12 w 706"/>
                  <a:gd name="T29" fmla="*/ 504 h 756"/>
                  <a:gd name="T30" fmla="*/ 36 w 706"/>
                  <a:gd name="T31" fmla="*/ 560 h 756"/>
                  <a:gd name="T32" fmla="*/ 76 w 706"/>
                  <a:gd name="T33" fmla="*/ 580 h 756"/>
                  <a:gd name="T34" fmla="*/ 196 w 706"/>
                  <a:gd name="T35" fmla="*/ 536 h 756"/>
                  <a:gd name="T36" fmla="*/ 300 w 706"/>
                  <a:gd name="T37" fmla="*/ 564 h 756"/>
                  <a:gd name="T38" fmla="*/ 364 w 706"/>
                  <a:gd name="T39" fmla="*/ 612 h 756"/>
                  <a:gd name="T40" fmla="*/ 400 w 706"/>
                  <a:gd name="T41" fmla="*/ 628 h 756"/>
                  <a:gd name="T42" fmla="*/ 424 w 706"/>
                  <a:gd name="T43" fmla="*/ 644 h 756"/>
                  <a:gd name="T44" fmla="*/ 392 w 706"/>
                  <a:gd name="T45" fmla="*/ 704 h 756"/>
                  <a:gd name="T46" fmla="*/ 408 w 706"/>
                  <a:gd name="T47" fmla="*/ 756 h 756"/>
                  <a:gd name="T48" fmla="*/ 464 w 706"/>
                  <a:gd name="T49" fmla="*/ 732 h 756"/>
                  <a:gd name="T50" fmla="*/ 460 w 706"/>
                  <a:gd name="T51" fmla="*/ 720 h 756"/>
                  <a:gd name="T52" fmla="*/ 440 w 706"/>
                  <a:gd name="T53" fmla="*/ 692 h 756"/>
                  <a:gd name="T54" fmla="*/ 466 w 706"/>
                  <a:gd name="T55" fmla="*/ 669 h 756"/>
                  <a:gd name="T56" fmla="*/ 484 w 706"/>
                  <a:gd name="T57" fmla="*/ 624 h 756"/>
                  <a:gd name="T58" fmla="*/ 496 w 706"/>
                  <a:gd name="T59" fmla="*/ 588 h 756"/>
                  <a:gd name="T60" fmla="*/ 484 w 706"/>
                  <a:gd name="T61" fmla="*/ 524 h 756"/>
                  <a:gd name="T62" fmla="*/ 482 w 706"/>
                  <a:gd name="T63" fmla="*/ 471 h 756"/>
                  <a:gd name="T64" fmla="*/ 464 w 706"/>
                  <a:gd name="T65" fmla="*/ 474 h 756"/>
                  <a:gd name="T66" fmla="*/ 529 w 706"/>
                  <a:gd name="T67" fmla="*/ 452 h 756"/>
                  <a:gd name="T68" fmla="*/ 610 w 706"/>
                  <a:gd name="T69" fmla="*/ 431 h 756"/>
                  <a:gd name="T70" fmla="*/ 616 w 706"/>
                  <a:gd name="T71" fmla="*/ 371 h 756"/>
                  <a:gd name="T72" fmla="*/ 652 w 706"/>
                  <a:gd name="T73" fmla="*/ 356 h 756"/>
                  <a:gd name="T74" fmla="*/ 625 w 706"/>
                  <a:gd name="T75" fmla="*/ 273 h 756"/>
                  <a:gd name="T76" fmla="*/ 593 w 706"/>
                  <a:gd name="T77" fmla="*/ 231 h 756"/>
                  <a:gd name="T78" fmla="*/ 628 w 706"/>
                  <a:gd name="T79" fmla="*/ 215 h 756"/>
                  <a:gd name="T80" fmla="*/ 646 w 706"/>
                  <a:gd name="T81" fmla="*/ 242 h 756"/>
                  <a:gd name="T82" fmla="*/ 665 w 706"/>
                  <a:gd name="T83" fmla="*/ 197 h 756"/>
                  <a:gd name="T84" fmla="*/ 694 w 706"/>
                  <a:gd name="T85" fmla="*/ 39 h 75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706"/>
                  <a:gd name="T130" fmla="*/ 0 h 756"/>
                  <a:gd name="T131" fmla="*/ 706 w 706"/>
                  <a:gd name="T132" fmla="*/ 756 h 756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706" h="756">
                    <a:moveTo>
                      <a:pt x="694" y="39"/>
                    </a:moveTo>
                    <a:cubicBezTo>
                      <a:pt x="682" y="7"/>
                      <a:pt x="652" y="20"/>
                      <a:pt x="624" y="0"/>
                    </a:cubicBezTo>
                    <a:cubicBezTo>
                      <a:pt x="584" y="4"/>
                      <a:pt x="548" y="8"/>
                      <a:pt x="508" y="12"/>
                    </a:cubicBezTo>
                    <a:cubicBezTo>
                      <a:pt x="480" y="20"/>
                      <a:pt x="460" y="24"/>
                      <a:pt x="432" y="28"/>
                    </a:cubicBezTo>
                    <a:cubicBezTo>
                      <a:pt x="412" y="36"/>
                      <a:pt x="376" y="60"/>
                      <a:pt x="376" y="60"/>
                    </a:cubicBezTo>
                    <a:cubicBezTo>
                      <a:pt x="364" y="76"/>
                      <a:pt x="344" y="80"/>
                      <a:pt x="328" y="92"/>
                    </a:cubicBezTo>
                    <a:cubicBezTo>
                      <a:pt x="320" y="96"/>
                      <a:pt x="304" y="100"/>
                      <a:pt x="304" y="100"/>
                    </a:cubicBezTo>
                    <a:cubicBezTo>
                      <a:pt x="284" y="124"/>
                      <a:pt x="268" y="140"/>
                      <a:pt x="244" y="156"/>
                    </a:cubicBezTo>
                    <a:cubicBezTo>
                      <a:pt x="252" y="228"/>
                      <a:pt x="300" y="228"/>
                      <a:pt x="364" y="240"/>
                    </a:cubicBezTo>
                    <a:cubicBezTo>
                      <a:pt x="356" y="260"/>
                      <a:pt x="340" y="268"/>
                      <a:pt x="324" y="272"/>
                    </a:cubicBezTo>
                    <a:cubicBezTo>
                      <a:pt x="280" y="268"/>
                      <a:pt x="264" y="264"/>
                      <a:pt x="220" y="268"/>
                    </a:cubicBezTo>
                    <a:cubicBezTo>
                      <a:pt x="200" y="276"/>
                      <a:pt x="176" y="296"/>
                      <a:pt x="168" y="316"/>
                    </a:cubicBezTo>
                    <a:cubicBezTo>
                      <a:pt x="164" y="332"/>
                      <a:pt x="132" y="384"/>
                      <a:pt x="112" y="392"/>
                    </a:cubicBezTo>
                    <a:cubicBezTo>
                      <a:pt x="104" y="408"/>
                      <a:pt x="92" y="412"/>
                      <a:pt x="76" y="420"/>
                    </a:cubicBezTo>
                    <a:cubicBezTo>
                      <a:pt x="68" y="440"/>
                      <a:pt x="32" y="496"/>
                      <a:pt x="12" y="504"/>
                    </a:cubicBezTo>
                    <a:cubicBezTo>
                      <a:pt x="0" y="540"/>
                      <a:pt x="12" y="544"/>
                      <a:pt x="36" y="560"/>
                    </a:cubicBezTo>
                    <a:cubicBezTo>
                      <a:pt x="44" y="580"/>
                      <a:pt x="56" y="576"/>
                      <a:pt x="76" y="580"/>
                    </a:cubicBezTo>
                    <a:cubicBezTo>
                      <a:pt x="128" y="572"/>
                      <a:pt x="148" y="540"/>
                      <a:pt x="196" y="536"/>
                    </a:cubicBezTo>
                    <a:cubicBezTo>
                      <a:pt x="228" y="548"/>
                      <a:pt x="264" y="556"/>
                      <a:pt x="300" y="564"/>
                    </a:cubicBezTo>
                    <a:cubicBezTo>
                      <a:pt x="312" y="600"/>
                      <a:pt x="324" y="608"/>
                      <a:pt x="364" y="612"/>
                    </a:cubicBezTo>
                    <a:cubicBezTo>
                      <a:pt x="376" y="620"/>
                      <a:pt x="388" y="620"/>
                      <a:pt x="400" y="628"/>
                    </a:cubicBezTo>
                    <a:cubicBezTo>
                      <a:pt x="408" y="632"/>
                      <a:pt x="424" y="644"/>
                      <a:pt x="424" y="644"/>
                    </a:cubicBezTo>
                    <a:cubicBezTo>
                      <a:pt x="416" y="668"/>
                      <a:pt x="412" y="688"/>
                      <a:pt x="392" y="704"/>
                    </a:cubicBezTo>
                    <a:cubicBezTo>
                      <a:pt x="384" y="728"/>
                      <a:pt x="380" y="748"/>
                      <a:pt x="408" y="756"/>
                    </a:cubicBezTo>
                    <a:cubicBezTo>
                      <a:pt x="436" y="752"/>
                      <a:pt x="452" y="756"/>
                      <a:pt x="464" y="732"/>
                    </a:cubicBezTo>
                    <a:cubicBezTo>
                      <a:pt x="464" y="728"/>
                      <a:pt x="464" y="724"/>
                      <a:pt x="460" y="720"/>
                    </a:cubicBezTo>
                    <a:cubicBezTo>
                      <a:pt x="456" y="713"/>
                      <a:pt x="439" y="700"/>
                      <a:pt x="440" y="692"/>
                    </a:cubicBezTo>
                    <a:cubicBezTo>
                      <a:pt x="452" y="683"/>
                      <a:pt x="454" y="681"/>
                      <a:pt x="466" y="669"/>
                    </a:cubicBezTo>
                    <a:cubicBezTo>
                      <a:pt x="470" y="653"/>
                      <a:pt x="481" y="645"/>
                      <a:pt x="484" y="624"/>
                    </a:cubicBezTo>
                    <a:cubicBezTo>
                      <a:pt x="488" y="612"/>
                      <a:pt x="490" y="597"/>
                      <a:pt x="496" y="588"/>
                    </a:cubicBezTo>
                    <a:cubicBezTo>
                      <a:pt x="497" y="570"/>
                      <a:pt x="486" y="543"/>
                      <a:pt x="484" y="524"/>
                    </a:cubicBezTo>
                    <a:cubicBezTo>
                      <a:pt x="482" y="505"/>
                      <a:pt x="485" y="479"/>
                      <a:pt x="482" y="471"/>
                    </a:cubicBezTo>
                    <a:cubicBezTo>
                      <a:pt x="479" y="463"/>
                      <a:pt x="456" y="477"/>
                      <a:pt x="464" y="474"/>
                    </a:cubicBezTo>
                    <a:cubicBezTo>
                      <a:pt x="473" y="440"/>
                      <a:pt x="485" y="453"/>
                      <a:pt x="529" y="452"/>
                    </a:cubicBezTo>
                    <a:cubicBezTo>
                      <a:pt x="569" y="446"/>
                      <a:pt x="583" y="443"/>
                      <a:pt x="610" y="431"/>
                    </a:cubicBezTo>
                    <a:cubicBezTo>
                      <a:pt x="622" y="395"/>
                      <a:pt x="577" y="395"/>
                      <a:pt x="616" y="371"/>
                    </a:cubicBezTo>
                    <a:cubicBezTo>
                      <a:pt x="628" y="363"/>
                      <a:pt x="640" y="368"/>
                      <a:pt x="652" y="356"/>
                    </a:cubicBezTo>
                    <a:cubicBezTo>
                      <a:pt x="685" y="318"/>
                      <a:pt x="654" y="255"/>
                      <a:pt x="625" y="273"/>
                    </a:cubicBezTo>
                    <a:cubicBezTo>
                      <a:pt x="603" y="263"/>
                      <a:pt x="593" y="241"/>
                      <a:pt x="593" y="231"/>
                    </a:cubicBezTo>
                    <a:cubicBezTo>
                      <a:pt x="593" y="221"/>
                      <a:pt x="619" y="213"/>
                      <a:pt x="628" y="215"/>
                    </a:cubicBezTo>
                    <a:cubicBezTo>
                      <a:pt x="638" y="230"/>
                      <a:pt x="634" y="230"/>
                      <a:pt x="646" y="242"/>
                    </a:cubicBezTo>
                    <a:cubicBezTo>
                      <a:pt x="653" y="239"/>
                      <a:pt x="657" y="231"/>
                      <a:pt x="665" y="197"/>
                    </a:cubicBezTo>
                    <a:cubicBezTo>
                      <a:pt x="673" y="163"/>
                      <a:pt x="706" y="167"/>
                      <a:pt x="694" y="39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</p:grpSp>
        <p:grpSp>
          <p:nvGrpSpPr>
            <p:cNvPr id="47" name="Group 115"/>
            <p:cNvGrpSpPr>
              <a:grpSpLocks/>
            </p:cNvGrpSpPr>
            <p:nvPr/>
          </p:nvGrpSpPr>
          <p:grpSpPr bwMode="auto">
            <a:xfrm>
              <a:off x="1776" y="2141"/>
              <a:ext cx="402" cy="752"/>
              <a:chOff x="-347" y="2747"/>
              <a:chExt cx="1590" cy="2976"/>
            </a:xfrm>
            <a:grpFill/>
          </p:grpSpPr>
          <p:sp>
            <p:nvSpPr>
              <p:cNvPr id="49" name="Freeform 116"/>
              <p:cNvSpPr>
                <a:spLocks noChangeAspect="1"/>
              </p:cNvSpPr>
              <p:nvPr/>
            </p:nvSpPr>
            <p:spPr bwMode="auto">
              <a:xfrm>
                <a:off x="1007" y="2747"/>
                <a:ext cx="144" cy="288"/>
              </a:xfrm>
              <a:custGeom>
                <a:avLst/>
                <a:gdLst>
                  <a:gd name="T0" fmla="*/ 2147483647 w 36"/>
                  <a:gd name="T1" fmla="*/ 2147483647 h 72"/>
                  <a:gd name="T2" fmla="*/ 2147483647 w 36"/>
                  <a:gd name="T3" fmla="*/ 2147483647 h 72"/>
                  <a:gd name="T4" fmla="*/ 2147483647 w 36"/>
                  <a:gd name="T5" fmla="*/ 2147483647 h 72"/>
                  <a:gd name="T6" fmla="*/ 2147483647 w 36"/>
                  <a:gd name="T7" fmla="*/ 2147483647 h 72"/>
                  <a:gd name="T8" fmla="*/ 0 w 36"/>
                  <a:gd name="T9" fmla="*/ 2147483647 h 72"/>
                  <a:gd name="T10" fmla="*/ 2147483647 w 36"/>
                  <a:gd name="T11" fmla="*/ 2147483647 h 72"/>
                  <a:gd name="T12" fmla="*/ 2147483647 w 36"/>
                  <a:gd name="T13" fmla="*/ 2147483647 h 72"/>
                  <a:gd name="T14" fmla="*/ 2147483647 w 36"/>
                  <a:gd name="T15" fmla="*/ 2147483647 h 72"/>
                  <a:gd name="T16" fmla="*/ 2147483647 w 36"/>
                  <a:gd name="T17" fmla="*/ 2147483647 h 72"/>
                  <a:gd name="T18" fmla="*/ 2147483647 w 36"/>
                  <a:gd name="T19" fmla="*/ 2147483647 h 72"/>
                  <a:gd name="T20" fmla="*/ 2147483647 w 36"/>
                  <a:gd name="T21" fmla="*/ 2147483647 h 72"/>
                  <a:gd name="T22" fmla="*/ 2147483647 w 36"/>
                  <a:gd name="T23" fmla="*/ 2147483647 h 72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36"/>
                  <a:gd name="T37" fmla="*/ 0 h 72"/>
                  <a:gd name="T38" fmla="*/ 36 w 36"/>
                  <a:gd name="T39" fmla="*/ 72 h 72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36" h="72">
                    <a:moveTo>
                      <a:pt x="32" y="4"/>
                    </a:moveTo>
                    <a:cubicBezTo>
                      <a:pt x="24" y="5"/>
                      <a:pt x="26" y="8"/>
                      <a:pt x="20" y="11"/>
                    </a:cubicBezTo>
                    <a:cubicBezTo>
                      <a:pt x="16" y="16"/>
                      <a:pt x="11" y="17"/>
                      <a:pt x="7" y="22"/>
                    </a:cubicBezTo>
                    <a:cubicBezTo>
                      <a:pt x="5" y="24"/>
                      <a:pt x="3" y="28"/>
                      <a:pt x="3" y="28"/>
                    </a:cubicBezTo>
                    <a:cubicBezTo>
                      <a:pt x="2" y="33"/>
                      <a:pt x="2" y="38"/>
                      <a:pt x="0" y="43"/>
                    </a:cubicBezTo>
                    <a:cubicBezTo>
                      <a:pt x="2" y="53"/>
                      <a:pt x="1" y="63"/>
                      <a:pt x="7" y="72"/>
                    </a:cubicBezTo>
                    <a:cubicBezTo>
                      <a:pt x="10" y="68"/>
                      <a:pt x="12" y="66"/>
                      <a:pt x="17" y="63"/>
                    </a:cubicBezTo>
                    <a:cubicBezTo>
                      <a:pt x="18" y="60"/>
                      <a:pt x="20" y="57"/>
                      <a:pt x="21" y="54"/>
                    </a:cubicBezTo>
                    <a:cubicBezTo>
                      <a:pt x="22" y="42"/>
                      <a:pt x="20" y="30"/>
                      <a:pt x="30" y="23"/>
                    </a:cubicBezTo>
                    <a:cubicBezTo>
                      <a:pt x="32" y="19"/>
                      <a:pt x="34" y="14"/>
                      <a:pt x="36" y="9"/>
                    </a:cubicBezTo>
                    <a:cubicBezTo>
                      <a:pt x="33" y="0"/>
                      <a:pt x="30" y="7"/>
                      <a:pt x="26" y="11"/>
                    </a:cubicBezTo>
                    <a:lnTo>
                      <a:pt x="32" y="4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50" name="Freeform 117"/>
              <p:cNvSpPr>
                <a:spLocks noChangeAspect="1"/>
              </p:cNvSpPr>
              <p:nvPr/>
            </p:nvSpPr>
            <p:spPr bwMode="auto">
              <a:xfrm>
                <a:off x="715" y="3135"/>
                <a:ext cx="120" cy="132"/>
              </a:xfrm>
              <a:custGeom>
                <a:avLst/>
                <a:gdLst>
                  <a:gd name="T0" fmla="*/ 2147483647 w 30"/>
                  <a:gd name="T1" fmla="*/ 0 h 33"/>
                  <a:gd name="T2" fmla="*/ 2147483647 w 30"/>
                  <a:gd name="T3" fmla="*/ 2147483647 h 33"/>
                  <a:gd name="T4" fmla="*/ 0 w 30"/>
                  <a:gd name="T5" fmla="*/ 2147483647 h 33"/>
                  <a:gd name="T6" fmla="*/ 2147483647 w 30"/>
                  <a:gd name="T7" fmla="*/ 2147483647 h 33"/>
                  <a:gd name="T8" fmla="*/ 2147483647 w 30"/>
                  <a:gd name="T9" fmla="*/ 2147483647 h 33"/>
                  <a:gd name="T10" fmla="*/ 2147483647 w 30"/>
                  <a:gd name="T11" fmla="*/ 2147483647 h 33"/>
                  <a:gd name="T12" fmla="*/ 2147483647 w 30"/>
                  <a:gd name="T13" fmla="*/ 0 h 3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0"/>
                  <a:gd name="T22" fmla="*/ 0 h 33"/>
                  <a:gd name="T23" fmla="*/ 30 w 30"/>
                  <a:gd name="T24" fmla="*/ 33 h 3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0" h="33">
                    <a:moveTo>
                      <a:pt x="16" y="0"/>
                    </a:moveTo>
                    <a:cubicBezTo>
                      <a:pt x="7" y="3"/>
                      <a:pt x="9" y="3"/>
                      <a:pt x="3" y="9"/>
                    </a:cubicBezTo>
                    <a:cubicBezTo>
                      <a:pt x="0" y="17"/>
                      <a:pt x="1" y="13"/>
                      <a:pt x="0" y="21"/>
                    </a:cubicBezTo>
                    <a:cubicBezTo>
                      <a:pt x="1" y="29"/>
                      <a:pt x="3" y="31"/>
                      <a:pt x="10" y="33"/>
                    </a:cubicBezTo>
                    <a:cubicBezTo>
                      <a:pt x="25" y="32"/>
                      <a:pt x="18" y="33"/>
                      <a:pt x="25" y="26"/>
                    </a:cubicBezTo>
                    <a:cubicBezTo>
                      <a:pt x="26" y="20"/>
                      <a:pt x="27" y="17"/>
                      <a:pt x="30" y="12"/>
                    </a:cubicBezTo>
                    <a:cubicBezTo>
                      <a:pt x="27" y="0"/>
                      <a:pt x="24" y="5"/>
                      <a:pt x="16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51" name="Freeform 118"/>
              <p:cNvSpPr>
                <a:spLocks noChangeAspect="1"/>
              </p:cNvSpPr>
              <p:nvPr/>
            </p:nvSpPr>
            <p:spPr bwMode="auto">
              <a:xfrm>
                <a:off x="-88" y="3271"/>
                <a:ext cx="340" cy="432"/>
              </a:xfrm>
              <a:custGeom>
                <a:avLst/>
                <a:gdLst>
                  <a:gd name="T0" fmla="*/ 2147483647 w 85"/>
                  <a:gd name="T1" fmla="*/ 0 h 108"/>
                  <a:gd name="T2" fmla="*/ 2147483647 w 85"/>
                  <a:gd name="T3" fmla="*/ 2147483647 h 108"/>
                  <a:gd name="T4" fmla="*/ 2147483647 w 85"/>
                  <a:gd name="T5" fmla="*/ 2147483647 h 108"/>
                  <a:gd name="T6" fmla="*/ 2147483647 w 85"/>
                  <a:gd name="T7" fmla="*/ 2147483647 h 108"/>
                  <a:gd name="T8" fmla="*/ 2147483647 w 85"/>
                  <a:gd name="T9" fmla="*/ 2147483647 h 108"/>
                  <a:gd name="T10" fmla="*/ 0 w 85"/>
                  <a:gd name="T11" fmla="*/ 2147483647 h 108"/>
                  <a:gd name="T12" fmla="*/ 2147483647 w 85"/>
                  <a:gd name="T13" fmla="*/ 2147483647 h 108"/>
                  <a:gd name="T14" fmla="*/ 2147483647 w 85"/>
                  <a:gd name="T15" fmla="*/ 2147483647 h 108"/>
                  <a:gd name="T16" fmla="*/ 2147483647 w 85"/>
                  <a:gd name="T17" fmla="*/ 2147483647 h 108"/>
                  <a:gd name="T18" fmla="*/ 2147483647 w 85"/>
                  <a:gd name="T19" fmla="*/ 2147483647 h 108"/>
                  <a:gd name="T20" fmla="*/ 2147483647 w 85"/>
                  <a:gd name="T21" fmla="*/ 2147483647 h 108"/>
                  <a:gd name="T22" fmla="*/ 2147483647 w 85"/>
                  <a:gd name="T23" fmla="*/ 2147483647 h 108"/>
                  <a:gd name="T24" fmla="*/ 2147483647 w 85"/>
                  <a:gd name="T25" fmla="*/ 2147483647 h 108"/>
                  <a:gd name="T26" fmla="*/ 2147483647 w 85"/>
                  <a:gd name="T27" fmla="*/ 2147483647 h 108"/>
                  <a:gd name="T28" fmla="*/ 2147483647 w 85"/>
                  <a:gd name="T29" fmla="*/ 0 h 108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85"/>
                  <a:gd name="T46" fmla="*/ 0 h 108"/>
                  <a:gd name="T47" fmla="*/ 85 w 85"/>
                  <a:gd name="T48" fmla="*/ 108 h 108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85" h="108">
                    <a:moveTo>
                      <a:pt x="81" y="0"/>
                    </a:moveTo>
                    <a:cubicBezTo>
                      <a:pt x="69" y="1"/>
                      <a:pt x="55" y="0"/>
                      <a:pt x="45" y="7"/>
                    </a:cubicBezTo>
                    <a:cubicBezTo>
                      <a:pt x="38" y="18"/>
                      <a:pt x="41" y="31"/>
                      <a:pt x="36" y="42"/>
                    </a:cubicBezTo>
                    <a:cubicBezTo>
                      <a:pt x="33" y="48"/>
                      <a:pt x="26" y="52"/>
                      <a:pt x="21" y="55"/>
                    </a:cubicBezTo>
                    <a:cubicBezTo>
                      <a:pt x="14" y="65"/>
                      <a:pt x="17" y="83"/>
                      <a:pt x="6" y="90"/>
                    </a:cubicBezTo>
                    <a:cubicBezTo>
                      <a:pt x="5" y="96"/>
                      <a:pt x="4" y="99"/>
                      <a:pt x="0" y="103"/>
                    </a:cubicBezTo>
                    <a:cubicBezTo>
                      <a:pt x="1" y="106"/>
                      <a:pt x="7" y="108"/>
                      <a:pt x="7" y="108"/>
                    </a:cubicBezTo>
                    <a:cubicBezTo>
                      <a:pt x="12" y="99"/>
                      <a:pt x="15" y="88"/>
                      <a:pt x="23" y="82"/>
                    </a:cubicBezTo>
                    <a:cubicBezTo>
                      <a:pt x="25" y="77"/>
                      <a:pt x="30" y="68"/>
                      <a:pt x="34" y="64"/>
                    </a:cubicBezTo>
                    <a:cubicBezTo>
                      <a:pt x="35" y="60"/>
                      <a:pt x="35" y="57"/>
                      <a:pt x="40" y="55"/>
                    </a:cubicBezTo>
                    <a:cubicBezTo>
                      <a:pt x="45" y="50"/>
                      <a:pt x="51" y="49"/>
                      <a:pt x="58" y="48"/>
                    </a:cubicBezTo>
                    <a:cubicBezTo>
                      <a:pt x="61" y="46"/>
                      <a:pt x="66" y="41"/>
                      <a:pt x="69" y="40"/>
                    </a:cubicBezTo>
                    <a:cubicBezTo>
                      <a:pt x="72" y="34"/>
                      <a:pt x="77" y="26"/>
                      <a:pt x="81" y="22"/>
                    </a:cubicBezTo>
                    <a:cubicBezTo>
                      <a:pt x="82" y="18"/>
                      <a:pt x="83" y="14"/>
                      <a:pt x="84" y="10"/>
                    </a:cubicBezTo>
                    <a:cubicBezTo>
                      <a:pt x="83" y="1"/>
                      <a:pt x="85" y="4"/>
                      <a:pt x="81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52" name="Freeform 119"/>
              <p:cNvSpPr>
                <a:spLocks noChangeAspect="1"/>
              </p:cNvSpPr>
              <p:nvPr/>
            </p:nvSpPr>
            <p:spPr bwMode="auto">
              <a:xfrm>
                <a:off x="76" y="3503"/>
                <a:ext cx="176" cy="200"/>
              </a:xfrm>
              <a:custGeom>
                <a:avLst/>
                <a:gdLst>
                  <a:gd name="T0" fmla="*/ 2147483647 w 44"/>
                  <a:gd name="T1" fmla="*/ 0 h 50"/>
                  <a:gd name="T2" fmla="*/ 2147483647 w 44"/>
                  <a:gd name="T3" fmla="*/ 2147483647 h 50"/>
                  <a:gd name="T4" fmla="*/ 2147483647 w 44"/>
                  <a:gd name="T5" fmla="*/ 2147483647 h 50"/>
                  <a:gd name="T6" fmla="*/ 2147483647 w 44"/>
                  <a:gd name="T7" fmla="*/ 2147483647 h 50"/>
                  <a:gd name="T8" fmla="*/ 2147483647 w 44"/>
                  <a:gd name="T9" fmla="*/ 2147483647 h 50"/>
                  <a:gd name="T10" fmla="*/ 2147483647 w 44"/>
                  <a:gd name="T11" fmla="*/ 2147483647 h 50"/>
                  <a:gd name="T12" fmla="*/ 2147483647 w 44"/>
                  <a:gd name="T13" fmla="*/ 2147483647 h 50"/>
                  <a:gd name="T14" fmla="*/ 2147483647 w 44"/>
                  <a:gd name="T15" fmla="*/ 2147483647 h 50"/>
                  <a:gd name="T16" fmla="*/ 2147483647 w 44"/>
                  <a:gd name="T17" fmla="*/ 2147483647 h 50"/>
                  <a:gd name="T18" fmla="*/ 2147483647 w 44"/>
                  <a:gd name="T19" fmla="*/ 0 h 50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44"/>
                  <a:gd name="T31" fmla="*/ 0 h 50"/>
                  <a:gd name="T32" fmla="*/ 44 w 44"/>
                  <a:gd name="T33" fmla="*/ 50 h 50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44" h="50">
                    <a:moveTo>
                      <a:pt x="23" y="0"/>
                    </a:moveTo>
                    <a:cubicBezTo>
                      <a:pt x="38" y="10"/>
                      <a:pt x="20" y="24"/>
                      <a:pt x="41" y="31"/>
                    </a:cubicBezTo>
                    <a:cubicBezTo>
                      <a:pt x="44" y="39"/>
                      <a:pt x="38" y="45"/>
                      <a:pt x="31" y="46"/>
                    </a:cubicBezTo>
                    <a:cubicBezTo>
                      <a:pt x="30" y="46"/>
                      <a:pt x="26" y="50"/>
                      <a:pt x="25" y="49"/>
                    </a:cubicBezTo>
                    <a:cubicBezTo>
                      <a:pt x="18" y="46"/>
                      <a:pt x="19" y="35"/>
                      <a:pt x="16" y="30"/>
                    </a:cubicBezTo>
                    <a:cubicBezTo>
                      <a:pt x="11" y="22"/>
                      <a:pt x="11" y="22"/>
                      <a:pt x="4" y="18"/>
                    </a:cubicBezTo>
                    <a:cubicBezTo>
                      <a:pt x="0" y="10"/>
                      <a:pt x="4" y="9"/>
                      <a:pt x="12" y="7"/>
                    </a:cubicBezTo>
                    <a:cubicBezTo>
                      <a:pt x="14" y="7"/>
                      <a:pt x="16" y="7"/>
                      <a:pt x="17" y="8"/>
                    </a:cubicBezTo>
                    <a:cubicBezTo>
                      <a:pt x="18" y="9"/>
                      <a:pt x="19" y="12"/>
                      <a:pt x="19" y="12"/>
                    </a:cubicBezTo>
                    <a:lnTo>
                      <a:pt x="23" y="0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53" name="Freeform 120"/>
              <p:cNvSpPr>
                <a:spLocks noChangeAspect="1"/>
              </p:cNvSpPr>
              <p:nvPr/>
            </p:nvSpPr>
            <p:spPr bwMode="auto">
              <a:xfrm>
                <a:off x="12" y="3987"/>
                <a:ext cx="108" cy="128"/>
              </a:xfrm>
              <a:custGeom>
                <a:avLst/>
                <a:gdLst>
                  <a:gd name="T0" fmla="*/ 2147483647 w 27"/>
                  <a:gd name="T1" fmla="*/ 2147483647 h 32"/>
                  <a:gd name="T2" fmla="*/ 2147483647 w 27"/>
                  <a:gd name="T3" fmla="*/ 2147483647 h 32"/>
                  <a:gd name="T4" fmla="*/ 2147483647 w 27"/>
                  <a:gd name="T5" fmla="*/ 2147483647 h 32"/>
                  <a:gd name="T6" fmla="*/ 2147483647 w 27"/>
                  <a:gd name="T7" fmla="*/ 2147483647 h 32"/>
                  <a:gd name="T8" fmla="*/ 2147483647 w 27"/>
                  <a:gd name="T9" fmla="*/ 2147483647 h 32"/>
                  <a:gd name="T10" fmla="*/ 2147483647 w 27"/>
                  <a:gd name="T11" fmla="*/ 2147483647 h 32"/>
                  <a:gd name="T12" fmla="*/ 2147483647 w 27"/>
                  <a:gd name="T13" fmla="*/ 2147483647 h 32"/>
                  <a:gd name="T14" fmla="*/ 2147483647 w 27"/>
                  <a:gd name="T15" fmla="*/ 2147483647 h 3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7"/>
                  <a:gd name="T25" fmla="*/ 0 h 32"/>
                  <a:gd name="T26" fmla="*/ 27 w 27"/>
                  <a:gd name="T27" fmla="*/ 32 h 3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7" h="32">
                    <a:moveTo>
                      <a:pt x="8" y="7"/>
                    </a:moveTo>
                    <a:cubicBezTo>
                      <a:pt x="0" y="11"/>
                      <a:pt x="1" y="18"/>
                      <a:pt x="8" y="23"/>
                    </a:cubicBezTo>
                    <a:cubicBezTo>
                      <a:pt x="9" y="24"/>
                      <a:pt x="10" y="25"/>
                      <a:pt x="10" y="26"/>
                    </a:cubicBezTo>
                    <a:cubicBezTo>
                      <a:pt x="10" y="27"/>
                      <a:pt x="10" y="29"/>
                      <a:pt x="9" y="30"/>
                    </a:cubicBezTo>
                    <a:cubicBezTo>
                      <a:pt x="8" y="31"/>
                      <a:pt x="5" y="32"/>
                      <a:pt x="6" y="32"/>
                    </a:cubicBezTo>
                    <a:cubicBezTo>
                      <a:pt x="10" y="32"/>
                      <a:pt x="13" y="31"/>
                      <a:pt x="17" y="31"/>
                    </a:cubicBezTo>
                    <a:cubicBezTo>
                      <a:pt x="25" y="25"/>
                      <a:pt x="16" y="19"/>
                      <a:pt x="27" y="12"/>
                    </a:cubicBezTo>
                    <a:cubicBezTo>
                      <a:pt x="24" y="0"/>
                      <a:pt x="0" y="18"/>
                      <a:pt x="8" y="7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54" name="Freeform 121"/>
              <p:cNvSpPr>
                <a:spLocks noChangeAspect="1"/>
              </p:cNvSpPr>
              <p:nvPr/>
            </p:nvSpPr>
            <p:spPr bwMode="auto">
              <a:xfrm>
                <a:off x="172" y="4495"/>
                <a:ext cx="128" cy="100"/>
              </a:xfrm>
              <a:custGeom>
                <a:avLst/>
                <a:gdLst>
                  <a:gd name="T0" fmla="*/ 2147483647 w 32"/>
                  <a:gd name="T1" fmla="*/ 0 h 25"/>
                  <a:gd name="T2" fmla="*/ 2147483647 w 32"/>
                  <a:gd name="T3" fmla="*/ 2147483647 h 25"/>
                  <a:gd name="T4" fmla="*/ 2147483647 w 32"/>
                  <a:gd name="T5" fmla="*/ 2147483647 h 25"/>
                  <a:gd name="T6" fmla="*/ 0 w 32"/>
                  <a:gd name="T7" fmla="*/ 2147483647 h 25"/>
                  <a:gd name="T8" fmla="*/ 2147483647 w 32"/>
                  <a:gd name="T9" fmla="*/ 2147483647 h 25"/>
                  <a:gd name="T10" fmla="*/ 2147483647 w 32"/>
                  <a:gd name="T11" fmla="*/ 2147483647 h 25"/>
                  <a:gd name="T12" fmla="*/ 2147483647 w 32"/>
                  <a:gd name="T13" fmla="*/ 2147483647 h 25"/>
                  <a:gd name="T14" fmla="*/ 2147483647 w 32"/>
                  <a:gd name="T15" fmla="*/ 0 h 25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2"/>
                  <a:gd name="T25" fmla="*/ 0 h 25"/>
                  <a:gd name="T26" fmla="*/ 32 w 32"/>
                  <a:gd name="T27" fmla="*/ 25 h 25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2" h="25">
                    <a:moveTo>
                      <a:pt x="19" y="0"/>
                    </a:moveTo>
                    <a:cubicBezTo>
                      <a:pt x="18" y="3"/>
                      <a:pt x="15" y="8"/>
                      <a:pt x="13" y="10"/>
                    </a:cubicBezTo>
                    <a:cubicBezTo>
                      <a:pt x="11" y="12"/>
                      <a:pt x="7" y="14"/>
                      <a:pt x="7" y="14"/>
                    </a:cubicBezTo>
                    <a:cubicBezTo>
                      <a:pt x="5" y="17"/>
                      <a:pt x="2" y="20"/>
                      <a:pt x="0" y="23"/>
                    </a:cubicBezTo>
                    <a:cubicBezTo>
                      <a:pt x="7" y="25"/>
                      <a:pt x="12" y="25"/>
                      <a:pt x="19" y="24"/>
                    </a:cubicBezTo>
                    <a:cubicBezTo>
                      <a:pt x="22" y="22"/>
                      <a:pt x="24" y="19"/>
                      <a:pt x="28" y="18"/>
                    </a:cubicBezTo>
                    <a:cubicBezTo>
                      <a:pt x="30" y="10"/>
                      <a:pt x="32" y="4"/>
                      <a:pt x="23" y="1"/>
                    </a:cubicBezTo>
                    <a:cubicBezTo>
                      <a:pt x="17" y="2"/>
                      <a:pt x="14" y="9"/>
                      <a:pt x="19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55" name="Freeform 122"/>
              <p:cNvSpPr>
                <a:spLocks noChangeAspect="1"/>
              </p:cNvSpPr>
              <p:nvPr/>
            </p:nvSpPr>
            <p:spPr bwMode="auto">
              <a:xfrm>
                <a:off x="152" y="4783"/>
                <a:ext cx="112" cy="100"/>
              </a:xfrm>
              <a:custGeom>
                <a:avLst/>
                <a:gdLst>
                  <a:gd name="T0" fmla="*/ 2147483647 w 28"/>
                  <a:gd name="T1" fmla="*/ 0 h 25"/>
                  <a:gd name="T2" fmla="*/ 2147483647 w 28"/>
                  <a:gd name="T3" fmla="*/ 2147483647 h 25"/>
                  <a:gd name="T4" fmla="*/ 2147483647 w 28"/>
                  <a:gd name="T5" fmla="*/ 2147483647 h 25"/>
                  <a:gd name="T6" fmla="*/ 2147483647 w 28"/>
                  <a:gd name="T7" fmla="*/ 2147483647 h 25"/>
                  <a:gd name="T8" fmla="*/ 2147483647 w 28"/>
                  <a:gd name="T9" fmla="*/ 2147483647 h 25"/>
                  <a:gd name="T10" fmla="*/ 2147483647 w 28"/>
                  <a:gd name="T11" fmla="*/ 0 h 2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8"/>
                  <a:gd name="T19" fmla="*/ 0 h 25"/>
                  <a:gd name="T20" fmla="*/ 28 w 28"/>
                  <a:gd name="T21" fmla="*/ 25 h 2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8" h="25">
                    <a:moveTo>
                      <a:pt x="11" y="0"/>
                    </a:moveTo>
                    <a:cubicBezTo>
                      <a:pt x="19" y="2"/>
                      <a:pt x="23" y="4"/>
                      <a:pt x="28" y="10"/>
                    </a:cubicBezTo>
                    <a:cubicBezTo>
                      <a:pt x="26" y="15"/>
                      <a:pt x="21" y="15"/>
                      <a:pt x="16" y="17"/>
                    </a:cubicBezTo>
                    <a:cubicBezTo>
                      <a:pt x="8" y="25"/>
                      <a:pt x="9" y="14"/>
                      <a:pt x="3" y="12"/>
                    </a:cubicBezTo>
                    <a:cubicBezTo>
                      <a:pt x="0" y="5"/>
                      <a:pt x="2" y="5"/>
                      <a:pt x="9" y="4"/>
                    </a:cubicBezTo>
                    <a:cubicBezTo>
                      <a:pt x="13" y="2"/>
                      <a:pt x="18" y="2"/>
                      <a:pt x="11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56" name="Freeform 123"/>
              <p:cNvSpPr>
                <a:spLocks noChangeAspect="1"/>
              </p:cNvSpPr>
              <p:nvPr/>
            </p:nvSpPr>
            <p:spPr bwMode="auto">
              <a:xfrm>
                <a:off x="-236" y="3311"/>
                <a:ext cx="1479" cy="2412"/>
              </a:xfrm>
              <a:custGeom>
                <a:avLst/>
                <a:gdLst>
                  <a:gd name="T0" fmla="*/ 2147483647 w 370"/>
                  <a:gd name="T1" fmla="*/ 2147483647 h 603"/>
                  <a:gd name="T2" fmla="*/ 2147483647 w 370"/>
                  <a:gd name="T3" fmla="*/ 2147483647 h 603"/>
                  <a:gd name="T4" fmla="*/ 2147483647 w 370"/>
                  <a:gd name="T5" fmla="*/ 2147483647 h 603"/>
                  <a:gd name="T6" fmla="*/ 2147483647 w 370"/>
                  <a:gd name="T7" fmla="*/ 2147483647 h 603"/>
                  <a:gd name="T8" fmla="*/ 2147483647 w 370"/>
                  <a:gd name="T9" fmla="*/ 2147483647 h 603"/>
                  <a:gd name="T10" fmla="*/ 2147483647 w 370"/>
                  <a:gd name="T11" fmla="*/ 2147483647 h 603"/>
                  <a:gd name="T12" fmla="*/ 2147483647 w 370"/>
                  <a:gd name="T13" fmla="*/ 2147483647 h 603"/>
                  <a:gd name="T14" fmla="*/ 2147483647 w 370"/>
                  <a:gd name="T15" fmla="*/ 2147483647 h 603"/>
                  <a:gd name="T16" fmla="*/ 2147483647 w 370"/>
                  <a:gd name="T17" fmla="*/ 2147483647 h 603"/>
                  <a:gd name="T18" fmla="*/ 2147483647 w 370"/>
                  <a:gd name="T19" fmla="*/ 2147483647 h 603"/>
                  <a:gd name="T20" fmla="*/ 2147483647 w 370"/>
                  <a:gd name="T21" fmla="*/ 2147483647 h 603"/>
                  <a:gd name="T22" fmla="*/ 2147483647 w 370"/>
                  <a:gd name="T23" fmla="*/ 2147483647 h 603"/>
                  <a:gd name="T24" fmla="*/ 2147483647 w 370"/>
                  <a:gd name="T25" fmla="*/ 2147483647 h 603"/>
                  <a:gd name="T26" fmla="*/ 2147483647 w 370"/>
                  <a:gd name="T27" fmla="*/ 2147483647 h 603"/>
                  <a:gd name="T28" fmla="*/ 2147483647 w 370"/>
                  <a:gd name="T29" fmla="*/ 2147483647 h 603"/>
                  <a:gd name="T30" fmla="*/ 2147483647 w 370"/>
                  <a:gd name="T31" fmla="*/ 2147483647 h 603"/>
                  <a:gd name="T32" fmla="*/ 2147483647 w 370"/>
                  <a:gd name="T33" fmla="*/ 2147483647 h 603"/>
                  <a:gd name="T34" fmla="*/ 2147483647 w 370"/>
                  <a:gd name="T35" fmla="*/ 2147483647 h 603"/>
                  <a:gd name="T36" fmla="*/ 2147483647 w 370"/>
                  <a:gd name="T37" fmla="*/ 2147483647 h 603"/>
                  <a:gd name="T38" fmla="*/ 2147483647 w 370"/>
                  <a:gd name="T39" fmla="*/ 2147483647 h 603"/>
                  <a:gd name="T40" fmla="*/ 2147483647 w 370"/>
                  <a:gd name="T41" fmla="*/ 2147483647 h 603"/>
                  <a:gd name="T42" fmla="*/ 2147483647 w 370"/>
                  <a:gd name="T43" fmla="*/ 2147483647 h 603"/>
                  <a:gd name="T44" fmla="*/ 2147483647 w 370"/>
                  <a:gd name="T45" fmla="*/ 2147483647 h 603"/>
                  <a:gd name="T46" fmla="*/ 2147483647 w 370"/>
                  <a:gd name="T47" fmla="*/ 2147483647 h 603"/>
                  <a:gd name="T48" fmla="*/ 2147483647 w 370"/>
                  <a:gd name="T49" fmla="*/ 2147483647 h 603"/>
                  <a:gd name="T50" fmla="*/ 2147483647 w 370"/>
                  <a:gd name="T51" fmla="*/ 2147483647 h 603"/>
                  <a:gd name="T52" fmla="*/ 2147483647 w 370"/>
                  <a:gd name="T53" fmla="*/ 2147483647 h 603"/>
                  <a:gd name="T54" fmla="*/ 2147483647 w 370"/>
                  <a:gd name="T55" fmla="*/ 2147483647 h 603"/>
                  <a:gd name="T56" fmla="*/ 2147483647 w 370"/>
                  <a:gd name="T57" fmla="*/ 2147483647 h 603"/>
                  <a:gd name="T58" fmla="*/ 2147483647 w 370"/>
                  <a:gd name="T59" fmla="*/ 2147483647 h 603"/>
                  <a:gd name="T60" fmla="*/ 2147483647 w 370"/>
                  <a:gd name="T61" fmla="*/ 2147483647 h 603"/>
                  <a:gd name="T62" fmla="*/ 2147483647 w 370"/>
                  <a:gd name="T63" fmla="*/ 2147483647 h 603"/>
                  <a:gd name="T64" fmla="*/ 2147483647 w 370"/>
                  <a:gd name="T65" fmla="*/ 2147483647 h 603"/>
                  <a:gd name="T66" fmla="*/ 2147483647 w 370"/>
                  <a:gd name="T67" fmla="*/ 2147483647 h 603"/>
                  <a:gd name="T68" fmla="*/ 2147483647 w 370"/>
                  <a:gd name="T69" fmla="*/ 2147483647 h 603"/>
                  <a:gd name="T70" fmla="*/ 2147483647 w 370"/>
                  <a:gd name="T71" fmla="*/ 2147483647 h 603"/>
                  <a:gd name="T72" fmla="*/ 2147483647 w 370"/>
                  <a:gd name="T73" fmla="*/ 2147483647 h 603"/>
                  <a:gd name="T74" fmla="*/ 2147483647 w 370"/>
                  <a:gd name="T75" fmla="*/ 2147483647 h 603"/>
                  <a:gd name="T76" fmla="*/ 2147483647 w 370"/>
                  <a:gd name="T77" fmla="*/ 2147483647 h 603"/>
                  <a:gd name="T78" fmla="*/ 2147483647 w 370"/>
                  <a:gd name="T79" fmla="*/ 2147483647 h 603"/>
                  <a:gd name="T80" fmla="*/ 2147483647 w 370"/>
                  <a:gd name="T81" fmla="*/ 2147483647 h 603"/>
                  <a:gd name="T82" fmla="*/ 2147483647 w 370"/>
                  <a:gd name="T83" fmla="*/ 2147483647 h 603"/>
                  <a:gd name="T84" fmla="*/ 2147483647 w 370"/>
                  <a:gd name="T85" fmla="*/ 2147483647 h 603"/>
                  <a:gd name="T86" fmla="*/ 2147483647 w 370"/>
                  <a:gd name="T87" fmla="*/ 2147483647 h 603"/>
                  <a:gd name="T88" fmla="*/ 2147483647 w 370"/>
                  <a:gd name="T89" fmla="*/ 2147483647 h 603"/>
                  <a:gd name="T90" fmla="*/ 2147483647 w 370"/>
                  <a:gd name="T91" fmla="*/ 2147483647 h 603"/>
                  <a:gd name="T92" fmla="*/ 2147483647 w 370"/>
                  <a:gd name="T93" fmla="*/ 2147483647 h 603"/>
                  <a:gd name="T94" fmla="*/ 2147483647 w 370"/>
                  <a:gd name="T95" fmla="*/ 2147483647 h 603"/>
                  <a:gd name="T96" fmla="*/ 2147483647 w 370"/>
                  <a:gd name="T97" fmla="*/ 2147483647 h 603"/>
                  <a:gd name="T98" fmla="*/ 2147483647 w 370"/>
                  <a:gd name="T99" fmla="*/ 2147483647 h 603"/>
                  <a:gd name="T100" fmla="*/ 2147483647 w 370"/>
                  <a:gd name="T101" fmla="*/ 2147483647 h 603"/>
                  <a:gd name="T102" fmla="*/ 2147483647 w 370"/>
                  <a:gd name="T103" fmla="*/ 2147483647 h 603"/>
                  <a:gd name="T104" fmla="*/ 2147483647 w 370"/>
                  <a:gd name="T105" fmla="*/ 2147483647 h 603"/>
                  <a:gd name="T106" fmla="*/ 2147483647 w 370"/>
                  <a:gd name="T107" fmla="*/ 2147483647 h 603"/>
                  <a:gd name="T108" fmla="*/ 2147483647 w 370"/>
                  <a:gd name="T109" fmla="*/ 2147483647 h 603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370"/>
                  <a:gd name="T166" fmla="*/ 0 h 603"/>
                  <a:gd name="T167" fmla="*/ 370 w 370"/>
                  <a:gd name="T168" fmla="*/ 603 h 603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370" h="603">
                    <a:moveTo>
                      <a:pt x="174" y="3"/>
                    </a:moveTo>
                    <a:cubicBezTo>
                      <a:pt x="184" y="2"/>
                      <a:pt x="190" y="6"/>
                      <a:pt x="199" y="7"/>
                    </a:cubicBezTo>
                    <a:cubicBezTo>
                      <a:pt x="217" y="6"/>
                      <a:pt x="224" y="4"/>
                      <a:pt x="240" y="6"/>
                    </a:cubicBezTo>
                    <a:cubicBezTo>
                      <a:pt x="237" y="29"/>
                      <a:pt x="221" y="37"/>
                      <a:pt x="199" y="40"/>
                    </a:cubicBezTo>
                    <a:cubicBezTo>
                      <a:pt x="193" y="44"/>
                      <a:pt x="192" y="44"/>
                      <a:pt x="190" y="51"/>
                    </a:cubicBezTo>
                    <a:cubicBezTo>
                      <a:pt x="192" y="60"/>
                      <a:pt x="193" y="64"/>
                      <a:pt x="185" y="69"/>
                    </a:cubicBezTo>
                    <a:cubicBezTo>
                      <a:pt x="183" y="75"/>
                      <a:pt x="182" y="78"/>
                      <a:pt x="176" y="79"/>
                    </a:cubicBezTo>
                    <a:cubicBezTo>
                      <a:pt x="173" y="80"/>
                      <a:pt x="165" y="82"/>
                      <a:pt x="168" y="81"/>
                    </a:cubicBezTo>
                    <a:cubicBezTo>
                      <a:pt x="172" y="80"/>
                      <a:pt x="177" y="79"/>
                      <a:pt x="181" y="78"/>
                    </a:cubicBezTo>
                    <a:cubicBezTo>
                      <a:pt x="188" y="73"/>
                      <a:pt x="195" y="75"/>
                      <a:pt x="204" y="74"/>
                    </a:cubicBezTo>
                    <a:cubicBezTo>
                      <a:pt x="224" y="70"/>
                      <a:pt x="243" y="79"/>
                      <a:pt x="263" y="82"/>
                    </a:cubicBezTo>
                    <a:cubicBezTo>
                      <a:pt x="268" y="85"/>
                      <a:pt x="269" y="83"/>
                      <a:pt x="270" y="90"/>
                    </a:cubicBezTo>
                    <a:cubicBezTo>
                      <a:pt x="269" y="97"/>
                      <a:pt x="272" y="104"/>
                      <a:pt x="265" y="106"/>
                    </a:cubicBezTo>
                    <a:cubicBezTo>
                      <a:pt x="260" y="114"/>
                      <a:pt x="254" y="126"/>
                      <a:pt x="248" y="132"/>
                    </a:cubicBezTo>
                    <a:cubicBezTo>
                      <a:pt x="245" y="141"/>
                      <a:pt x="243" y="146"/>
                      <a:pt x="235" y="152"/>
                    </a:cubicBezTo>
                    <a:cubicBezTo>
                      <a:pt x="233" y="157"/>
                      <a:pt x="230" y="161"/>
                      <a:pt x="227" y="165"/>
                    </a:cubicBezTo>
                    <a:cubicBezTo>
                      <a:pt x="222" y="164"/>
                      <a:pt x="217" y="163"/>
                      <a:pt x="212" y="160"/>
                    </a:cubicBezTo>
                    <a:cubicBezTo>
                      <a:pt x="209" y="161"/>
                      <a:pt x="205" y="160"/>
                      <a:pt x="202" y="162"/>
                    </a:cubicBezTo>
                    <a:cubicBezTo>
                      <a:pt x="202" y="162"/>
                      <a:pt x="208" y="165"/>
                      <a:pt x="212" y="166"/>
                    </a:cubicBezTo>
                    <a:cubicBezTo>
                      <a:pt x="217" y="168"/>
                      <a:pt x="222" y="169"/>
                      <a:pt x="226" y="172"/>
                    </a:cubicBezTo>
                    <a:cubicBezTo>
                      <a:pt x="223" y="175"/>
                      <a:pt x="221" y="177"/>
                      <a:pt x="217" y="178"/>
                    </a:cubicBezTo>
                    <a:cubicBezTo>
                      <a:pt x="212" y="185"/>
                      <a:pt x="201" y="183"/>
                      <a:pt x="194" y="184"/>
                    </a:cubicBezTo>
                    <a:cubicBezTo>
                      <a:pt x="191" y="186"/>
                      <a:pt x="188" y="187"/>
                      <a:pt x="184" y="188"/>
                    </a:cubicBezTo>
                    <a:cubicBezTo>
                      <a:pt x="180" y="195"/>
                      <a:pt x="187" y="194"/>
                      <a:pt x="193" y="196"/>
                    </a:cubicBezTo>
                    <a:cubicBezTo>
                      <a:pt x="205" y="195"/>
                      <a:pt x="206" y="189"/>
                      <a:pt x="216" y="192"/>
                    </a:cubicBezTo>
                    <a:cubicBezTo>
                      <a:pt x="219" y="194"/>
                      <a:pt x="230" y="198"/>
                      <a:pt x="233" y="200"/>
                    </a:cubicBezTo>
                    <a:cubicBezTo>
                      <a:pt x="236" y="204"/>
                      <a:pt x="238" y="209"/>
                      <a:pt x="242" y="212"/>
                    </a:cubicBezTo>
                    <a:cubicBezTo>
                      <a:pt x="243" y="216"/>
                      <a:pt x="241" y="221"/>
                      <a:pt x="245" y="224"/>
                    </a:cubicBezTo>
                    <a:cubicBezTo>
                      <a:pt x="248" y="235"/>
                      <a:pt x="243" y="233"/>
                      <a:pt x="254" y="237"/>
                    </a:cubicBezTo>
                    <a:cubicBezTo>
                      <a:pt x="253" y="242"/>
                      <a:pt x="262" y="263"/>
                      <a:pt x="260" y="268"/>
                    </a:cubicBezTo>
                    <a:cubicBezTo>
                      <a:pt x="259" y="270"/>
                      <a:pt x="258" y="274"/>
                      <a:pt x="258" y="274"/>
                    </a:cubicBezTo>
                    <a:cubicBezTo>
                      <a:pt x="259" y="296"/>
                      <a:pt x="255" y="289"/>
                      <a:pt x="266" y="296"/>
                    </a:cubicBezTo>
                    <a:cubicBezTo>
                      <a:pt x="269" y="302"/>
                      <a:pt x="268" y="299"/>
                      <a:pt x="270" y="306"/>
                    </a:cubicBezTo>
                    <a:cubicBezTo>
                      <a:pt x="271" y="308"/>
                      <a:pt x="272" y="312"/>
                      <a:pt x="272" y="312"/>
                    </a:cubicBezTo>
                    <a:cubicBezTo>
                      <a:pt x="275" y="310"/>
                      <a:pt x="289" y="311"/>
                      <a:pt x="270" y="315"/>
                    </a:cubicBezTo>
                    <a:cubicBezTo>
                      <a:pt x="272" y="316"/>
                      <a:pt x="283" y="316"/>
                      <a:pt x="287" y="319"/>
                    </a:cubicBezTo>
                    <a:cubicBezTo>
                      <a:pt x="290" y="311"/>
                      <a:pt x="278" y="330"/>
                      <a:pt x="296" y="333"/>
                    </a:cubicBezTo>
                    <a:cubicBezTo>
                      <a:pt x="300" y="339"/>
                      <a:pt x="303" y="345"/>
                      <a:pt x="305" y="352"/>
                    </a:cubicBezTo>
                    <a:cubicBezTo>
                      <a:pt x="304" y="364"/>
                      <a:pt x="301" y="372"/>
                      <a:pt x="305" y="385"/>
                    </a:cubicBezTo>
                    <a:cubicBezTo>
                      <a:pt x="298" y="387"/>
                      <a:pt x="299" y="379"/>
                      <a:pt x="294" y="376"/>
                    </a:cubicBezTo>
                    <a:cubicBezTo>
                      <a:pt x="289" y="373"/>
                      <a:pt x="281" y="374"/>
                      <a:pt x="275" y="372"/>
                    </a:cubicBezTo>
                    <a:cubicBezTo>
                      <a:pt x="275" y="372"/>
                      <a:pt x="267" y="373"/>
                      <a:pt x="269" y="376"/>
                    </a:cubicBezTo>
                    <a:cubicBezTo>
                      <a:pt x="271" y="380"/>
                      <a:pt x="284" y="386"/>
                      <a:pt x="288" y="387"/>
                    </a:cubicBezTo>
                    <a:cubicBezTo>
                      <a:pt x="291" y="389"/>
                      <a:pt x="299" y="392"/>
                      <a:pt x="299" y="392"/>
                    </a:cubicBezTo>
                    <a:cubicBezTo>
                      <a:pt x="302" y="396"/>
                      <a:pt x="306" y="398"/>
                      <a:pt x="310" y="402"/>
                    </a:cubicBezTo>
                    <a:cubicBezTo>
                      <a:pt x="312" y="409"/>
                      <a:pt x="315" y="419"/>
                      <a:pt x="308" y="424"/>
                    </a:cubicBezTo>
                    <a:cubicBezTo>
                      <a:pt x="305" y="428"/>
                      <a:pt x="302" y="429"/>
                      <a:pt x="301" y="434"/>
                    </a:cubicBezTo>
                    <a:cubicBezTo>
                      <a:pt x="301" y="438"/>
                      <a:pt x="301" y="442"/>
                      <a:pt x="302" y="445"/>
                    </a:cubicBezTo>
                    <a:cubicBezTo>
                      <a:pt x="303" y="448"/>
                      <a:pt x="311" y="444"/>
                      <a:pt x="311" y="444"/>
                    </a:cubicBezTo>
                    <a:cubicBezTo>
                      <a:pt x="314" y="440"/>
                      <a:pt x="315" y="440"/>
                      <a:pt x="320" y="439"/>
                    </a:cubicBezTo>
                    <a:cubicBezTo>
                      <a:pt x="338" y="440"/>
                      <a:pt x="332" y="431"/>
                      <a:pt x="342" y="436"/>
                    </a:cubicBezTo>
                    <a:cubicBezTo>
                      <a:pt x="345" y="438"/>
                      <a:pt x="354" y="440"/>
                      <a:pt x="354" y="440"/>
                    </a:cubicBezTo>
                    <a:cubicBezTo>
                      <a:pt x="357" y="443"/>
                      <a:pt x="360" y="450"/>
                      <a:pt x="364" y="451"/>
                    </a:cubicBezTo>
                    <a:cubicBezTo>
                      <a:pt x="366" y="453"/>
                      <a:pt x="364" y="457"/>
                      <a:pt x="365" y="459"/>
                    </a:cubicBezTo>
                    <a:cubicBezTo>
                      <a:pt x="366" y="461"/>
                      <a:pt x="367" y="465"/>
                      <a:pt x="367" y="465"/>
                    </a:cubicBezTo>
                    <a:cubicBezTo>
                      <a:pt x="368" y="475"/>
                      <a:pt x="370" y="488"/>
                      <a:pt x="361" y="494"/>
                    </a:cubicBezTo>
                    <a:cubicBezTo>
                      <a:pt x="358" y="501"/>
                      <a:pt x="354" y="505"/>
                      <a:pt x="351" y="510"/>
                    </a:cubicBezTo>
                    <a:cubicBezTo>
                      <a:pt x="347" y="512"/>
                      <a:pt x="338" y="506"/>
                      <a:pt x="336" y="508"/>
                    </a:cubicBezTo>
                    <a:cubicBezTo>
                      <a:pt x="334" y="510"/>
                      <a:pt x="343" y="520"/>
                      <a:pt x="341" y="522"/>
                    </a:cubicBezTo>
                    <a:cubicBezTo>
                      <a:pt x="340" y="525"/>
                      <a:pt x="327" y="521"/>
                      <a:pt x="324" y="522"/>
                    </a:cubicBezTo>
                    <a:cubicBezTo>
                      <a:pt x="321" y="523"/>
                      <a:pt x="327" y="527"/>
                      <a:pt x="325" y="530"/>
                    </a:cubicBezTo>
                    <a:cubicBezTo>
                      <a:pt x="323" y="533"/>
                      <a:pt x="315" y="536"/>
                      <a:pt x="311" y="538"/>
                    </a:cubicBezTo>
                    <a:cubicBezTo>
                      <a:pt x="310" y="541"/>
                      <a:pt x="304" y="544"/>
                      <a:pt x="304" y="544"/>
                    </a:cubicBezTo>
                    <a:cubicBezTo>
                      <a:pt x="307" y="552"/>
                      <a:pt x="307" y="552"/>
                      <a:pt x="316" y="553"/>
                    </a:cubicBezTo>
                    <a:cubicBezTo>
                      <a:pt x="320" y="552"/>
                      <a:pt x="324" y="549"/>
                      <a:pt x="328" y="549"/>
                    </a:cubicBezTo>
                    <a:cubicBezTo>
                      <a:pt x="329" y="549"/>
                      <a:pt x="330" y="551"/>
                      <a:pt x="331" y="552"/>
                    </a:cubicBezTo>
                    <a:cubicBezTo>
                      <a:pt x="335" y="554"/>
                      <a:pt x="340" y="554"/>
                      <a:pt x="344" y="554"/>
                    </a:cubicBezTo>
                    <a:cubicBezTo>
                      <a:pt x="343" y="561"/>
                      <a:pt x="343" y="568"/>
                      <a:pt x="338" y="573"/>
                    </a:cubicBezTo>
                    <a:cubicBezTo>
                      <a:pt x="335" y="582"/>
                      <a:pt x="325" y="583"/>
                      <a:pt x="317" y="584"/>
                    </a:cubicBezTo>
                    <a:cubicBezTo>
                      <a:pt x="311" y="586"/>
                      <a:pt x="305" y="588"/>
                      <a:pt x="300" y="591"/>
                    </a:cubicBezTo>
                    <a:cubicBezTo>
                      <a:pt x="297" y="593"/>
                      <a:pt x="290" y="596"/>
                      <a:pt x="290" y="596"/>
                    </a:cubicBezTo>
                    <a:cubicBezTo>
                      <a:pt x="288" y="596"/>
                      <a:pt x="286" y="596"/>
                      <a:pt x="284" y="595"/>
                    </a:cubicBezTo>
                    <a:cubicBezTo>
                      <a:pt x="283" y="594"/>
                      <a:pt x="284" y="593"/>
                      <a:pt x="283" y="592"/>
                    </a:cubicBezTo>
                    <a:cubicBezTo>
                      <a:pt x="281" y="591"/>
                      <a:pt x="277" y="590"/>
                      <a:pt x="277" y="590"/>
                    </a:cubicBezTo>
                    <a:cubicBezTo>
                      <a:pt x="272" y="589"/>
                      <a:pt x="256" y="586"/>
                      <a:pt x="251" y="585"/>
                    </a:cubicBezTo>
                    <a:cubicBezTo>
                      <a:pt x="249" y="584"/>
                      <a:pt x="245" y="583"/>
                      <a:pt x="245" y="583"/>
                    </a:cubicBezTo>
                    <a:cubicBezTo>
                      <a:pt x="235" y="585"/>
                      <a:pt x="228" y="580"/>
                      <a:pt x="218" y="579"/>
                    </a:cubicBezTo>
                    <a:cubicBezTo>
                      <a:pt x="219" y="579"/>
                      <a:pt x="220" y="577"/>
                      <a:pt x="221" y="578"/>
                    </a:cubicBezTo>
                    <a:cubicBezTo>
                      <a:pt x="222" y="579"/>
                      <a:pt x="221" y="582"/>
                      <a:pt x="220" y="582"/>
                    </a:cubicBezTo>
                    <a:cubicBezTo>
                      <a:pt x="215" y="582"/>
                      <a:pt x="206" y="579"/>
                      <a:pt x="206" y="579"/>
                    </a:cubicBezTo>
                    <a:cubicBezTo>
                      <a:pt x="201" y="581"/>
                      <a:pt x="201" y="585"/>
                      <a:pt x="198" y="580"/>
                    </a:cubicBezTo>
                    <a:cubicBezTo>
                      <a:pt x="196" y="580"/>
                      <a:pt x="195" y="580"/>
                      <a:pt x="193" y="580"/>
                    </a:cubicBezTo>
                    <a:cubicBezTo>
                      <a:pt x="195" y="579"/>
                      <a:pt x="189" y="583"/>
                      <a:pt x="187" y="583"/>
                    </a:cubicBezTo>
                    <a:cubicBezTo>
                      <a:pt x="183" y="584"/>
                      <a:pt x="178" y="584"/>
                      <a:pt x="174" y="584"/>
                    </a:cubicBezTo>
                    <a:cubicBezTo>
                      <a:pt x="171" y="595"/>
                      <a:pt x="155" y="577"/>
                      <a:pt x="148" y="574"/>
                    </a:cubicBezTo>
                    <a:cubicBezTo>
                      <a:pt x="145" y="573"/>
                      <a:pt x="140" y="572"/>
                      <a:pt x="140" y="572"/>
                    </a:cubicBezTo>
                    <a:cubicBezTo>
                      <a:pt x="133" y="573"/>
                      <a:pt x="126" y="571"/>
                      <a:pt x="120" y="574"/>
                    </a:cubicBezTo>
                    <a:cubicBezTo>
                      <a:pt x="118" y="575"/>
                      <a:pt x="116" y="580"/>
                      <a:pt x="116" y="580"/>
                    </a:cubicBezTo>
                    <a:cubicBezTo>
                      <a:pt x="114" y="589"/>
                      <a:pt x="117" y="579"/>
                      <a:pt x="106" y="586"/>
                    </a:cubicBezTo>
                    <a:cubicBezTo>
                      <a:pt x="103" y="589"/>
                      <a:pt x="99" y="595"/>
                      <a:pt x="97" y="596"/>
                    </a:cubicBezTo>
                    <a:cubicBezTo>
                      <a:pt x="104" y="591"/>
                      <a:pt x="100" y="591"/>
                      <a:pt x="92" y="590"/>
                    </a:cubicBezTo>
                    <a:cubicBezTo>
                      <a:pt x="83" y="587"/>
                      <a:pt x="75" y="586"/>
                      <a:pt x="66" y="585"/>
                    </a:cubicBezTo>
                    <a:cubicBezTo>
                      <a:pt x="59" y="586"/>
                      <a:pt x="56" y="588"/>
                      <a:pt x="49" y="590"/>
                    </a:cubicBezTo>
                    <a:cubicBezTo>
                      <a:pt x="47" y="591"/>
                      <a:pt x="43" y="592"/>
                      <a:pt x="43" y="592"/>
                    </a:cubicBezTo>
                    <a:cubicBezTo>
                      <a:pt x="39" y="596"/>
                      <a:pt x="37" y="598"/>
                      <a:pt x="34" y="603"/>
                    </a:cubicBezTo>
                    <a:cubicBezTo>
                      <a:pt x="19" y="601"/>
                      <a:pt x="22" y="595"/>
                      <a:pt x="8" y="594"/>
                    </a:cubicBezTo>
                    <a:cubicBezTo>
                      <a:pt x="2" y="596"/>
                      <a:pt x="3" y="600"/>
                      <a:pt x="0" y="592"/>
                    </a:cubicBezTo>
                    <a:cubicBezTo>
                      <a:pt x="4" y="590"/>
                      <a:pt x="7" y="589"/>
                      <a:pt x="12" y="588"/>
                    </a:cubicBezTo>
                    <a:cubicBezTo>
                      <a:pt x="24" y="582"/>
                      <a:pt x="18" y="584"/>
                      <a:pt x="40" y="583"/>
                    </a:cubicBezTo>
                    <a:cubicBezTo>
                      <a:pt x="45" y="564"/>
                      <a:pt x="44" y="571"/>
                      <a:pt x="58" y="562"/>
                    </a:cubicBezTo>
                    <a:cubicBezTo>
                      <a:pt x="63" y="555"/>
                      <a:pt x="60" y="557"/>
                      <a:pt x="65" y="554"/>
                    </a:cubicBezTo>
                    <a:cubicBezTo>
                      <a:pt x="68" y="548"/>
                      <a:pt x="76" y="545"/>
                      <a:pt x="82" y="543"/>
                    </a:cubicBezTo>
                    <a:cubicBezTo>
                      <a:pt x="85" y="540"/>
                      <a:pt x="86" y="537"/>
                      <a:pt x="89" y="534"/>
                    </a:cubicBezTo>
                    <a:cubicBezTo>
                      <a:pt x="91" y="525"/>
                      <a:pt x="107" y="530"/>
                      <a:pt x="114" y="530"/>
                    </a:cubicBezTo>
                    <a:cubicBezTo>
                      <a:pt x="116" y="531"/>
                      <a:pt x="118" y="534"/>
                      <a:pt x="120" y="535"/>
                    </a:cubicBezTo>
                    <a:cubicBezTo>
                      <a:pt x="122" y="536"/>
                      <a:pt x="128" y="537"/>
                      <a:pt x="128" y="537"/>
                    </a:cubicBezTo>
                    <a:cubicBezTo>
                      <a:pt x="155" y="535"/>
                      <a:pt x="148" y="523"/>
                      <a:pt x="162" y="518"/>
                    </a:cubicBezTo>
                    <a:cubicBezTo>
                      <a:pt x="165" y="514"/>
                      <a:pt x="168" y="511"/>
                      <a:pt x="172" y="508"/>
                    </a:cubicBezTo>
                    <a:cubicBezTo>
                      <a:pt x="174" y="507"/>
                      <a:pt x="178" y="504"/>
                      <a:pt x="178" y="504"/>
                    </a:cubicBezTo>
                    <a:cubicBezTo>
                      <a:pt x="179" y="503"/>
                      <a:pt x="181" y="502"/>
                      <a:pt x="180" y="501"/>
                    </a:cubicBezTo>
                    <a:cubicBezTo>
                      <a:pt x="175" y="498"/>
                      <a:pt x="164" y="507"/>
                      <a:pt x="164" y="507"/>
                    </a:cubicBezTo>
                    <a:cubicBezTo>
                      <a:pt x="159" y="512"/>
                      <a:pt x="157" y="511"/>
                      <a:pt x="149" y="512"/>
                    </a:cubicBezTo>
                    <a:cubicBezTo>
                      <a:pt x="146" y="513"/>
                      <a:pt x="140" y="516"/>
                      <a:pt x="140" y="516"/>
                    </a:cubicBezTo>
                    <a:cubicBezTo>
                      <a:pt x="136" y="518"/>
                      <a:pt x="127" y="519"/>
                      <a:pt x="127" y="519"/>
                    </a:cubicBezTo>
                    <a:cubicBezTo>
                      <a:pt x="121" y="517"/>
                      <a:pt x="122" y="512"/>
                      <a:pt x="118" y="508"/>
                    </a:cubicBezTo>
                    <a:cubicBezTo>
                      <a:pt x="108" y="498"/>
                      <a:pt x="97" y="502"/>
                      <a:pt x="91" y="501"/>
                    </a:cubicBezTo>
                    <a:cubicBezTo>
                      <a:pt x="86" y="498"/>
                      <a:pt x="95" y="490"/>
                      <a:pt x="90" y="487"/>
                    </a:cubicBezTo>
                    <a:cubicBezTo>
                      <a:pt x="86" y="484"/>
                      <a:pt x="75" y="483"/>
                      <a:pt x="70" y="484"/>
                    </a:cubicBezTo>
                    <a:cubicBezTo>
                      <a:pt x="63" y="489"/>
                      <a:pt x="60" y="491"/>
                      <a:pt x="58" y="482"/>
                    </a:cubicBezTo>
                    <a:cubicBezTo>
                      <a:pt x="52" y="458"/>
                      <a:pt x="55" y="464"/>
                      <a:pt x="88" y="460"/>
                    </a:cubicBezTo>
                    <a:cubicBezTo>
                      <a:pt x="94" y="458"/>
                      <a:pt x="96" y="449"/>
                      <a:pt x="101" y="448"/>
                    </a:cubicBezTo>
                    <a:cubicBezTo>
                      <a:pt x="105" y="447"/>
                      <a:pt x="112" y="445"/>
                      <a:pt x="112" y="445"/>
                    </a:cubicBezTo>
                    <a:cubicBezTo>
                      <a:pt x="115" y="441"/>
                      <a:pt x="115" y="436"/>
                      <a:pt x="118" y="432"/>
                    </a:cubicBezTo>
                    <a:cubicBezTo>
                      <a:pt x="120" y="423"/>
                      <a:pt x="121" y="417"/>
                      <a:pt x="118" y="406"/>
                    </a:cubicBezTo>
                    <a:cubicBezTo>
                      <a:pt x="117" y="404"/>
                      <a:pt x="112" y="404"/>
                      <a:pt x="112" y="404"/>
                    </a:cubicBezTo>
                    <a:cubicBezTo>
                      <a:pt x="105" y="406"/>
                      <a:pt x="99" y="409"/>
                      <a:pt x="92" y="410"/>
                    </a:cubicBezTo>
                    <a:cubicBezTo>
                      <a:pt x="91" y="405"/>
                      <a:pt x="90" y="404"/>
                      <a:pt x="95" y="402"/>
                    </a:cubicBezTo>
                    <a:cubicBezTo>
                      <a:pt x="99" y="398"/>
                      <a:pt x="115" y="392"/>
                      <a:pt x="122" y="390"/>
                    </a:cubicBezTo>
                    <a:cubicBezTo>
                      <a:pt x="129" y="385"/>
                      <a:pt x="126" y="387"/>
                      <a:pt x="131" y="385"/>
                    </a:cubicBezTo>
                    <a:cubicBezTo>
                      <a:pt x="144" y="385"/>
                      <a:pt x="148" y="385"/>
                      <a:pt x="161" y="381"/>
                    </a:cubicBezTo>
                    <a:cubicBezTo>
                      <a:pt x="167" y="380"/>
                      <a:pt x="172" y="390"/>
                      <a:pt x="174" y="388"/>
                    </a:cubicBezTo>
                    <a:cubicBezTo>
                      <a:pt x="176" y="386"/>
                      <a:pt x="173" y="375"/>
                      <a:pt x="174" y="369"/>
                    </a:cubicBezTo>
                    <a:cubicBezTo>
                      <a:pt x="175" y="363"/>
                      <a:pt x="176" y="357"/>
                      <a:pt x="179" y="352"/>
                    </a:cubicBezTo>
                    <a:cubicBezTo>
                      <a:pt x="180" y="345"/>
                      <a:pt x="193" y="336"/>
                      <a:pt x="193" y="336"/>
                    </a:cubicBezTo>
                    <a:cubicBezTo>
                      <a:pt x="194" y="332"/>
                      <a:pt x="196" y="329"/>
                      <a:pt x="197" y="325"/>
                    </a:cubicBezTo>
                    <a:cubicBezTo>
                      <a:pt x="195" y="307"/>
                      <a:pt x="189" y="323"/>
                      <a:pt x="170" y="322"/>
                    </a:cubicBezTo>
                    <a:cubicBezTo>
                      <a:pt x="164" y="318"/>
                      <a:pt x="160" y="308"/>
                      <a:pt x="158" y="301"/>
                    </a:cubicBezTo>
                    <a:cubicBezTo>
                      <a:pt x="162" y="290"/>
                      <a:pt x="167" y="280"/>
                      <a:pt x="179" y="276"/>
                    </a:cubicBezTo>
                    <a:cubicBezTo>
                      <a:pt x="187" y="268"/>
                      <a:pt x="186" y="270"/>
                      <a:pt x="170" y="266"/>
                    </a:cubicBezTo>
                    <a:cubicBezTo>
                      <a:pt x="157" y="267"/>
                      <a:pt x="147" y="271"/>
                      <a:pt x="134" y="272"/>
                    </a:cubicBezTo>
                    <a:cubicBezTo>
                      <a:pt x="128" y="272"/>
                      <a:pt x="120" y="274"/>
                      <a:pt x="115" y="270"/>
                    </a:cubicBezTo>
                    <a:cubicBezTo>
                      <a:pt x="109" y="266"/>
                      <a:pt x="108" y="258"/>
                      <a:pt x="103" y="254"/>
                    </a:cubicBezTo>
                    <a:cubicBezTo>
                      <a:pt x="107" y="246"/>
                      <a:pt x="113" y="243"/>
                      <a:pt x="122" y="240"/>
                    </a:cubicBezTo>
                    <a:cubicBezTo>
                      <a:pt x="125" y="236"/>
                      <a:pt x="126" y="233"/>
                      <a:pt x="130" y="230"/>
                    </a:cubicBezTo>
                    <a:cubicBezTo>
                      <a:pt x="134" y="222"/>
                      <a:pt x="133" y="202"/>
                      <a:pt x="127" y="194"/>
                    </a:cubicBezTo>
                    <a:cubicBezTo>
                      <a:pt x="124" y="190"/>
                      <a:pt x="124" y="201"/>
                      <a:pt x="120" y="198"/>
                    </a:cubicBezTo>
                    <a:cubicBezTo>
                      <a:pt x="118" y="197"/>
                      <a:pt x="124" y="177"/>
                      <a:pt x="124" y="177"/>
                    </a:cubicBezTo>
                    <a:cubicBezTo>
                      <a:pt x="123" y="173"/>
                      <a:pt x="85" y="223"/>
                      <a:pt x="85" y="223"/>
                    </a:cubicBezTo>
                    <a:cubicBezTo>
                      <a:pt x="87" y="212"/>
                      <a:pt x="101" y="156"/>
                      <a:pt x="110" y="153"/>
                    </a:cubicBezTo>
                    <a:cubicBezTo>
                      <a:pt x="117" y="146"/>
                      <a:pt x="115" y="152"/>
                      <a:pt x="118" y="145"/>
                    </a:cubicBezTo>
                    <a:cubicBezTo>
                      <a:pt x="119" y="138"/>
                      <a:pt x="125" y="137"/>
                      <a:pt x="127" y="130"/>
                    </a:cubicBezTo>
                    <a:cubicBezTo>
                      <a:pt x="122" y="121"/>
                      <a:pt x="106" y="142"/>
                      <a:pt x="97" y="145"/>
                    </a:cubicBezTo>
                    <a:cubicBezTo>
                      <a:pt x="94" y="148"/>
                      <a:pt x="81" y="142"/>
                      <a:pt x="78" y="146"/>
                    </a:cubicBezTo>
                    <a:cubicBezTo>
                      <a:pt x="73" y="139"/>
                      <a:pt x="76" y="129"/>
                      <a:pt x="84" y="123"/>
                    </a:cubicBezTo>
                    <a:cubicBezTo>
                      <a:pt x="88" y="120"/>
                      <a:pt x="92" y="118"/>
                      <a:pt x="97" y="116"/>
                    </a:cubicBezTo>
                    <a:cubicBezTo>
                      <a:pt x="98" y="116"/>
                      <a:pt x="100" y="115"/>
                      <a:pt x="100" y="115"/>
                    </a:cubicBezTo>
                    <a:cubicBezTo>
                      <a:pt x="103" y="110"/>
                      <a:pt x="110" y="109"/>
                      <a:pt x="115" y="105"/>
                    </a:cubicBezTo>
                    <a:cubicBezTo>
                      <a:pt x="118" y="102"/>
                      <a:pt x="124" y="97"/>
                      <a:pt x="124" y="97"/>
                    </a:cubicBezTo>
                    <a:cubicBezTo>
                      <a:pt x="127" y="87"/>
                      <a:pt x="129" y="77"/>
                      <a:pt x="122" y="67"/>
                    </a:cubicBezTo>
                    <a:cubicBezTo>
                      <a:pt x="120" y="60"/>
                      <a:pt x="124" y="62"/>
                      <a:pt x="127" y="56"/>
                    </a:cubicBezTo>
                    <a:cubicBezTo>
                      <a:pt x="136" y="38"/>
                      <a:pt x="125" y="46"/>
                      <a:pt x="152" y="36"/>
                    </a:cubicBezTo>
                    <a:cubicBezTo>
                      <a:pt x="154" y="24"/>
                      <a:pt x="155" y="21"/>
                      <a:pt x="160" y="12"/>
                    </a:cubicBezTo>
                    <a:cubicBezTo>
                      <a:pt x="163" y="8"/>
                      <a:pt x="170" y="0"/>
                      <a:pt x="170" y="0"/>
                    </a:cubicBezTo>
                    <a:cubicBezTo>
                      <a:pt x="176" y="2"/>
                      <a:pt x="180" y="2"/>
                      <a:pt x="185" y="7"/>
                    </a:cubicBezTo>
                    <a:lnTo>
                      <a:pt x="174" y="3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57" name="Freeform 124"/>
              <p:cNvSpPr>
                <a:spLocks noChangeAspect="1"/>
              </p:cNvSpPr>
              <p:nvPr/>
            </p:nvSpPr>
            <p:spPr bwMode="auto">
              <a:xfrm>
                <a:off x="164" y="4091"/>
                <a:ext cx="84" cy="108"/>
              </a:xfrm>
              <a:custGeom>
                <a:avLst/>
                <a:gdLst>
                  <a:gd name="T0" fmla="*/ 2147483647 w 21"/>
                  <a:gd name="T1" fmla="*/ 2147483647 h 27"/>
                  <a:gd name="T2" fmla="*/ 2147483647 w 21"/>
                  <a:gd name="T3" fmla="*/ 2147483647 h 27"/>
                  <a:gd name="T4" fmla="*/ 2147483647 w 21"/>
                  <a:gd name="T5" fmla="*/ 0 h 27"/>
                  <a:gd name="T6" fmla="*/ 2147483647 w 21"/>
                  <a:gd name="T7" fmla="*/ 2147483647 h 27"/>
                  <a:gd name="T8" fmla="*/ 2147483647 w 21"/>
                  <a:gd name="T9" fmla="*/ 2147483647 h 2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1"/>
                  <a:gd name="T16" fmla="*/ 0 h 27"/>
                  <a:gd name="T17" fmla="*/ 21 w 21"/>
                  <a:gd name="T18" fmla="*/ 27 h 2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1" h="27">
                    <a:moveTo>
                      <a:pt x="6" y="7"/>
                    </a:moveTo>
                    <a:cubicBezTo>
                      <a:pt x="4" y="18"/>
                      <a:pt x="0" y="21"/>
                      <a:pt x="9" y="27"/>
                    </a:cubicBezTo>
                    <a:cubicBezTo>
                      <a:pt x="21" y="23"/>
                      <a:pt x="18" y="12"/>
                      <a:pt x="14" y="0"/>
                    </a:cubicBezTo>
                    <a:cubicBezTo>
                      <a:pt x="12" y="0"/>
                      <a:pt x="10" y="0"/>
                      <a:pt x="9" y="1"/>
                    </a:cubicBezTo>
                    <a:cubicBezTo>
                      <a:pt x="7" y="2"/>
                      <a:pt x="6" y="7"/>
                      <a:pt x="6" y="7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58" name="Freeform 125"/>
              <p:cNvSpPr>
                <a:spLocks noChangeAspect="1"/>
              </p:cNvSpPr>
              <p:nvPr/>
            </p:nvSpPr>
            <p:spPr bwMode="auto">
              <a:xfrm>
                <a:off x="587" y="5655"/>
                <a:ext cx="96" cy="52"/>
              </a:xfrm>
              <a:custGeom>
                <a:avLst/>
                <a:gdLst>
                  <a:gd name="T0" fmla="*/ 0 w 24"/>
                  <a:gd name="T1" fmla="*/ 0 h 13"/>
                  <a:gd name="T2" fmla="*/ 2147483647 w 24"/>
                  <a:gd name="T3" fmla="*/ 2147483647 h 13"/>
                  <a:gd name="T4" fmla="*/ 2147483647 w 24"/>
                  <a:gd name="T5" fmla="*/ 2147483647 h 13"/>
                  <a:gd name="T6" fmla="*/ 0 w 24"/>
                  <a:gd name="T7" fmla="*/ 0 h 13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4"/>
                  <a:gd name="T13" fmla="*/ 0 h 13"/>
                  <a:gd name="T14" fmla="*/ 24 w 24"/>
                  <a:gd name="T15" fmla="*/ 13 h 13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4" h="13">
                    <a:moveTo>
                      <a:pt x="0" y="0"/>
                    </a:moveTo>
                    <a:cubicBezTo>
                      <a:pt x="7" y="4"/>
                      <a:pt x="24" y="0"/>
                      <a:pt x="12" y="8"/>
                    </a:cubicBezTo>
                    <a:cubicBezTo>
                      <a:pt x="9" y="12"/>
                      <a:pt x="8" y="13"/>
                      <a:pt x="3" y="11"/>
                    </a:cubicBezTo>
                    <a:cubicBezTo>
                      <a:pt x="2" y="3"/>
                      <a:pt x="3" y="6"/>
                      <a:pt x="0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59" name="Freeform 126"/>
              <p:cNvSpPr>
                <a:spLocks noChangeAspect="1"/>
              </p:cNvSpPr>
              <p:nvPr/>
            </p:nvSpPr>
            <p:spPr bwMode="auto">
              <a:xfrm>
                <a:off x="-347" y="4175"/>
                <a:ext cx="451" cy="376"/>
              </a:xfrm>
              <a:custGeom>
                <a:avLst/>
                <a:gdLst>
                  <a:gd name="T0" fmla="*/ 303 w 451"/>
                  <a:gd name="T1" fmla="*/ 376 h 376"/>
                  <a:gd name="T2" fmla="*/ 399 w 451"/>
                  <a:gd name="T3" fmla="*/ 352 h 376"/>
                  <a:gd name="T4" fmla="*/ 439 w 451"/>
                  <a:gd name="T5" fmla="*/ 340 h 376"/>
                  <a:gd name="T6" fmla="*/ 451 w 451"/>
                  <a:gd name="T7" fmla="*/ 280 h 376"/>
                  <a:gd name="T8" fmla="*/ 395 w 451"/>
                  <a:gd name="T9" fmla="*/ 216 h 376"/>
                  <a:gd name="T10" fmla="*/ 407 w 451"/>
                  <a:gd name="T11" fmla="*/ 196 h 376"/>
                  <a:gd name="T12" fmla="*/ 407 w 451"/>
                  <a:gd name="T13" fmla="*/ 96 h 376"/>
                  <a:gd name="T14" fmla="*/ 259 w 451"/>
                  <a:gd name="T15" fmla="*/ 24 h 376"/>
                  <a:gd name="T16" fmla="*/ 199 w 451"/>
                  <a:gd name="T17" fmla="*/ 48 h 376"/>
                  <a:gd name="T18" fmla="*/ 174 w 451"/>
                  <a:gd name="T19" fmla="*/ 54 h 376"/>
                  <a:gd name="T20" fmla="*/ 152 w 451"/>
                  <a:gd name="T21" fmla="*/ 90 h 376"/>
                  <a:gd name="T22" fmla="*/ 83 w 451"/>
                  <a:gd name="T23" fmla="*/ 124 h 376"/>
                  <a:gd name="T24" fmla="*/ 60 w 451"/>
                  <a:gd name="T25" fmla="*/ 165 h 376"/>
                  <a:gd name="T26" fmla="*/ 12 w 451"/>
                  <a:gd name="T27" fmla="*/ 178 h 376"/>
                  <a:gd name="T28" fmla="*/ 24 w 451"/>
                  <a:gd name="T29" fmla="*/ 219 h 376"/>
                  <a:gd name="T30" fmla="*/ 83 w 451"/>
                  <a:gd name="T31" fmla="*/ 268 h 376"/>
                  <a:gd name="T32" fmla="*/ 105 w 451"/>
                  <a:gd name="T33" fmla="*/ 298 h 376"/>
                  <a:gd name="T34" fmla="*/ 144 w 451"/>
                  <a:gd name="T35" fmla="*/ 298 h 376"/>
                  <a:gd name="T36" fmla="*/ 179 w 451"/>
                  <a:gd name="T37" fmla="*/ 248 h 376"/>
                  <a:gd name="T38" fmla="*/ 228 w 451"/>
                  <a:gd name="T39" fmla="*/ 322 h 376"/>
                  <a:gd name="T40" fmla="*/ 258 w 451"/>
                  <a:gd name="T41" fmla="*/ 351 h 376"/>
                  <a:gd name="T42" fmla="*/ 303 w 451"/>
                  <a:gd name="T43" fmla="*/ 376 h 37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451"/>
                  <a:gd name="T67" fmla="*/ 0 h 376"/>
                  <a:gd name="T68" fmla="*/ 451 w 451"/>
                  <a:gd name="T69" fmla="*/ 376 h 37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451" h="376">
                    <a:moveTo>
                      <a:pt x="303" y="376"/>
                    </a:moveTo>
                    <a:cubicBezTo>
                      <a:pt x="335" y="368"/>
                      <a:pt x="367" y="360"/>
                      <a:pt x="399" y="352"/>
                    </a:cubicBezTo>
                    <a:cubicBezTo>
                      <a:pt x="411" y="348"/>
                      <a:pt x="439" y="340"/>
                      <a:pt x="439" y="340"/>
                    </a:cubicBezTo>
                    <a:cubicBezTo>
                      <a:pt x="443" y="320"/>
                      <a:pt x="447" y="304"/>
                      <a:pt x="451" y="280"/>
                    </a:cubicBezTo>
                    <a:cubicBezTo>
                      <a:pt x="447" y="232"/>
                      <a:pt x="443" y="224"/>
                      <a:pt x="395" y="216"/>
                    </a:cubicBezTo>
                    <a:cubicBezTo>
                      <a:pt x="375" y="204"/>
                      <a:pt x="391" y="204"/>
                      <a:pt x="407" y="196"/>
                    </a:cubicBezTo>
                    <a:cubicBezTo>
                      <a:pt x="431" y="164"/>
                      <a:pt x="427" y="132"/>
                      <a:pt x="407" y="96"/>
                    </a:cubicBezTo>
                    <a:cubicBezTo>
                      <a:pt x="391" y="0"/>
                      <a:pt x="351" y="32"/>
                      <a:pt x="259" y="24"/>
                    </a:cubicBezTo>
                    <a:cubicBezTo>
                      <a:pt x="239" y="32"/>
                      <a:pt x="219" y="36"/>
                      <a:pt x="199" y="48"/>
                    </a:cubicBezTo>
                    <a:cubicBezTo>
                      <a:pt x="186" y="51"/>
                      <a:pt x="182" y="47"/>
                      <a:pt x="174" y="54"/>
                    </a:cubicBezTo>
                    <a:cubicBezTo>
                      <a:pt x="156" y="64"/>
                      <a:pt x="164" y="78"/>
                      <a:pt x="152" y="90"/>
                    </a:cubicBezTo>
                    <a:cubicBezTo>
                      <a:pt x="140" y="117"/>
                      <a:pt x="116" y="124"/>
                      <a:pt x="83" y="124"/>
                    </a:cubicBezTo>
                    <a:cubicBezTo>
                      <a:pt x="79" y="140"/>
                      <a:pt x="72" y="156"/>
                      <a:pt x="60" y="165"/>
                    </a:cubicBezTo>
                    <a:cubicBezTo>
                      <a:pt x="48" y="161"/>
                      <a:pt x="30" y="171"/>
                      <a:pt x="12" y="178"/>
                    </a:cubicBezTo>
                    <a:cubicBezTo>
                      <a:pt x="0" y="178"/>
                      <a:pt x="20" y="207"/>
                      <a:pt x="24" y="219"/>
                    </a:cubicBezTo>
                    <a:cubicBezTo>
                      <a:pt x="38" y="232"/>
                      <a:pt x="59" y="244"/>
                      <a:pt x="83" y="268"/>
                    </a:cubicBezTo>
                    <a:cubicBezTo>
                      <a:pt x="99" y="284"/>
                      <a:pt x="89" y="282"/>
                      <a:pt x="105" y="298"/>
                    </a:cubicBezTo>
                    <a:cubicBezTo>
                      <a:pt x="122" y="300"/>
                      <a:pt x="126" y="303"/>
                      <a:pt x="144" y="298"/>
                    </a:cubicBezTo>
                    <a:cubicBezTo>
                      <a:pt x="148" y="278"/>
                      <a:pt x="159" y="256"/>
                      <a:pt x="179" y="248"/>
                    </a:cubicBezTo>
                    <a:cubicBezTo>
                      <a:pt x="215" y="256"/>
                      <a:pt x="191" y="300"/>
                      <a:pt x="228" y="322"/>
                    </a:cubicBezTo>
                    <a:cubicBezTo>
                      <a:pt x="242" y="338"/>
                      <a:pt x="246" y="342"/>
                      <a:pt x="258" y="351"/>
                    </a:cubicBezTo>
                    <a:cubicBezTo>
                      <a:pt x="270" y="360"/>
                      <a:pt x="291" y="351"/>
                      <a:pt x="303" y="376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</p:grpSp>
        <p:sp>
          <p:nvSpPr>
            <p:cNvPr id="48" name="Freeform 127"/>
            <p:cNvSpPr>
              <a:spLocks noChangeAspect="1"/>
            </p:cNvSpPr>
            <p:nvPr/>
          </p:nvSpPr>
          <p:spPr bwMode="auto">
            <a:xfrm>
              <a:off x="1415" y="3425"/>
              <a:ext cx="230" cy="380"/>
            </a:xfrm>
            <a:custGeom>
              <a:avLst/>
              <a:gdLst>
                <a:gd name="T0" fmla="*/ 0 w 913"/>
                <a:gd name="T1" fmla="*/ 0 h 1504"/>
                <a:gd name="T2" fmla="*/ 0 w 913"/>
                <a:gd name="T3" fmla="*/ 0 h 1504"/>
                <a:gd name="T4" fmla="*/ 0 w 913"/>
                <a:gd name="T5" fmla="*/ 0 h 1504"/>
                <a:gd name="T6" fmla="*/ 0 w 913"/>
                <a:gd name="T7" fmla="*/ 0 h 1504"/>
                <a:gd name="T8" fmla="*/ 0 w 913"/>
                <a:gd name="T9" fmla="*/ 0 h 1504"/>
                <a:gd name="T10" fmla="*/ 0 w 913"/>
                <a:gd name="T11" fmla="*/ 0 h 1504"/>
                <a:gd name="T12" fmla="*/ 0 w 913"/>
                <a:gd name="T13" fmla="*/ 0 h 1504"/>
                <a:gd name="T14" fmla="*/ 0 w 913"/>
                <a:gd name="T15" fmla="*/ 0 h 1504"/>
                <a:gd name="T16" fmla="*/ 0 w 913"/>
                <a:gd name="T17" fmla="*/ 0 h 1504"/>
                <a:gd name="T18" fmla="*/ 0 w 913"/>
                <a:gd name="T19" fmla="*/ 0 h 1504"/>
                <a:gd name="T20" fmla="*/ 0 w 913"/>
                <a:gd name="T21" fmla="*/ 0 h 1504"/>
                <a:gd name="T22" fmla="*/ 0 w 913"/>
                <a:gd name="T23" fmla="*/ 0 h 1504"/>
                <a:gd name="T24" fmla="*/ 0 w 913"/>
                <a:gd name="T25" fmla="*/ 0 h 1504"/>
                <a:gd name="T26" fmla="*/ 0 w 913"/>
                <a:gd name="T27" fmla="*/ 0 h 1504"/>
                <a:gd name="T28" fmla="*/ 0 w 913"/>
                <a:gd name="T29" fmla="*/ 0 h 1504"/>
                <a:gd name="T30" fmla="*/ 0 w 913"/>
                <a:gd name="T31" fmla="*/ 0 h 1504"/>
                <a:gd name="T32" fmla="*/ 0 w 913"/>
                <a:gd name="T33" fmla="*/ 0 h 1504"/>
                <a:gd name="T34" fmla="*/ 0 w 913"/>
                <a:gd name="T35" fmla="*/ 0 h 1504"/>
                <a:gd name="T36" fmla="*/ 0 w 913"/>
                <a:gd name="T37" fmla="*/ 0 h 1504"/>
                <a:gd name="T38" fmla="*/ 0 w 913"/>
                <a:gd name="T39" fmla="*/ 0 h 1504"/>
                <a:gd name="T40" fmla="*/ 0 w 913"/>
                <a:gd name="T41" fmla="*/ 0 h 1504"/>
                <a:gd name="T42" fmla="*/ 0 w 913"/>
                <a:gd name="T43" fmla="*/ 0 h 1504"/>
                <a:gd name="T44" fmla="*/ 0 w 913"/>
                <a:gd name="T45" fmla="*/ 0 h 1504"/>
                <a:gd name="T46" fmla="*/ 0 w 913"/>
                <a:gd name="T47" fmla="*/ 0 h 1504"/>
                <a:gd name="T48" fmla="*/ 0 w 913"/>
                <a:gd name="T49" fmla="*/ 0 h 1504"/>
                <a:gd name="T50" fmla="*/ 0 w 913"/>
                <a:gd name="T51" fmla="*/ 0 h 1504"/>
                <a:gd name="T52" fmla="*/ 0 w 913"/>
                <a:gd name="T53" fmla="*/ 0 h 1504"/>
                <a:gd name="T54" fmla="*/ 0 w 913"/>
                <a:gd name="T55" fmla="*/ 0 h 1504"/>
                <a:gd name="T56" fmla="*/ 0 w 913"/>
                <a:gd name="T57" fmla="*/ 0 h 1504"/>
                <a:gd name="T58" fmla="*/ 0 w 913"/>
                <a:gd name="T59" fmla="*/ 0 h 1504"/>
                <a:gd name="T60" fmla="*/ 0 w 913"/>
                <a:gd name="T61" fmla="*/ 0 h 1504"/>
                <a:gd name="T62" fmla="*/ 0 w 913"/>
                <a:gd name="T63" fmla="*/ 0 h 1504"/>
                <a:gd name="T64" fmla="*/ 0 w 913"/>
                <a:gd name="T65" fmla="*/ 0 h 1504"/>
                <a:gd name="T66" fmla="*/ 0 w 913"/>
                <a:gd name="T67" fmla="*/ 0 h 1504"/>
                <a:gd name="T68" fmla="*/ 0 w 913"/>
                <a:gd name="T69" fmla="*/ 0 h 1504"/>
                <a:gd name="T70" fmla="*/ 0 w 913"/>
                <a:gd name="T71" fmla="*/ 0 h 1504"/>
                <a:gd name="T72" fmla="*/ 0 w 913"/>
                <a:gd name="T73" fmla="*/ 0 h 1504"/>
                <a:gd name="T74" fmla="*/ 0 w 913"/>
                <a:gd name="T75" fmla="*/ 0 h 1504"/>
                <a:gd name="T76" fmla="*/ 0 w 913"/>
                <a:gd name="T77" fmla="*/ 0 h 1504"/>
                <a:gd name="T78" fmla="*/ 0 w 913"/>
                <a:gd name="T79" fmla="*/ 0 h 1504"/>
                <a:gd name="T80" fmla="*/ 0 w 913"/>
                <a:gd name="T81" fmla="*/ 0 h 1504"/>
                <a:gd name="T82" fmla="*/ 0 w 913"/>
                <a:gd name="T83" fmla="*/ 0 h 1504"/>
                <a:gd name="T84" fmla="*/ 0 w 913"/>
                <a:gd name="T85" fmla="*/ 0 h 1504"/>
                <a:gd name="T86" fmla="*/ 0 w 913"/>
                <a:gd name="T87" fmla="*/ 0 h 1504"/>
                <a:gd name="T88" fmla="*/ 0 w 913"/>
                <a:gd name="T89" fmla="*/ 0 h 1504"/>
                <a:gd name="T90" fmla="*/ 0 w 913"/>
                <a:gd name="T91" fmla="*/ 0 h 1504"/>
                <a:gd name="T92" fmla="*/ 0 w 913"/>
                <a:gd name="T93" fmla="*/ 0 h 1504"/>
                <a:gd name="T94" fmla="*/ 0 w 913"/>
                <a:gd name="T95" fmla="*/ 0 h 1504"/>
                <a:gd name="T96" fmla="*/ 0 w 913"/>
                <a:gd name="T97" fmla="*/ 0 h 1504"/>
                <a:gd name="T98" fmla="*/ 0 w 913"/>
                <a:gd name="T99" fmla="*/ 0 h 1504"/>
                <a:gd name="T100" fmla="*/ 0 w 913"/>
                <a:gd name="T101" fmla="*/ 0 h 1504"/>
                <a:gd name="T102" fmla="*/ 0 w 913"/>
                <a:gd name="T103" fmla="*/ 0 h 1504"/>
                <a:gd name="T104" fmla="*/ 0 w 913"/>
                <a:gd name="T105" fmla="*/ 0 h 1504"/>
                <a:gd name="T106" fmla="*/ 0 w 913"/>
                <a:gd name="T107" fmla="*/ 0 h 1504"/>
                <a:gd name="T108" fmla="*/ 0 w 913"/>
                <a:gd name="T109" fmla="*/ 0 h 150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913"/>
                <a:gd name="T166" fmla="*/ 0 h 1504"/>
                <a:gd name="T167" fmla="*/ 913 w 913"/>
                <a:gd name="T168" fmla="*/ 1504 h 1504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913" h="1504">
                  <a:moveTo>
                    <a:pt x="384" y="13"/>
                  </a:moveTo>
                  <a:cubicBezTo>
                    <a:pt x="380" y="117"/>
                    <a:pt x="368" y="312"/>
                    <a:pt x="296" y="416"/>
                  </a:cubicBezTo>
                  <a:cubicBezTo>
                    <a:pt x="280" y="468"/>
                    <a:pt x="288" y="568"/>
                    <a:pt x="224" y="588"/>
                  </a:cubicBezTo>
                  <a:cubicBezTo>
                    <a:pt x="212" y="604"/>
                    <a:pt x="196" y="616"/>
                    <a:pt x="180" y="632"/>
                  </a:cubicBezTo>
                  <a:cubicBezTo>
                    <a:pt x="172" y="652"/>
                    <a:pt x="176" y="664"/>
                    <a:pt x="156" y="672"/>
                  </a:cubicBezTo>
                  <a:cubicBezTo>
                    <a:pt x="136" y="700"/>
                    <a:pt x="136" y="684"/>
                    <a:pt x="116" y="696"/>
                  </a:cubicBezTo>
                  <a:cubicBezTo>
                    <a:pt x="112" y="712"/>
                    <a:pt x="88" y="752"/>
                    <a:pt x="72" y="756"/>
                  </a:cubicBezTo>
                  <a:cubicBezTo>
                    <a:pt x="56" y="780"/>
                    <a:pt x="36" y="808"/>
                    <a:pt x="20" y="836"/>
                  </a:cubicBezTo>
                  <a:cubicBezTo>
                    <a:pt x="12" y="848"/>
                    <a:pt x="4" y="872"/>
                    <a:pt x="4" y="872"/>
                  </a:cubicBezTo>
                  <a:cubicBezTo>
                    <a:pt x="4" y="876"/>
                    <a:pt x="4" y="880"/>
                    <a:pt x="8" y="884"/>
                  </a:cubicBezTo>
                  <a:cubicBezTo>
                    <a:pt x="12" y="888"/>
                    <a:pt x="20" y="884"/>
                    <a:pt x="24" y="888"/>
                  </a:cubicBezTo>
                  <a:cubicBezTo>
                    <a:pt x="32" y="896"/>
                    <a:pt x="36" y="924"/>
                    <a:pt x="36" y="924"/>
                  </a:cubicBezTo>
                  <a:cubicBezTo>
                    <a:pt x="44" y="996"/>
                    <a:pt x="40" y="1040"/>
                    <a:pt x="128" y="980"/>
                  </a:cubicBezTo>
                  <a:cubicBezTo>
                    <a:pt x="152" y="988"/>
                    <a:pt x="148" y="1024"/>
                    <a:pt x="128" y="1036"/>
                  </a:cubicBezTo>
                  <a:cubicBezTo>
                    <a:pt x="124" y="1040"/>
                    <a:pt x="124" y="1048"/>
                    <a:pt x="120" y="1052"/>
                  </a:cubicBezTo>
                  <a:cubicBezTo>
                    <a:pt x="116" y="1056"/>
                    <a:pt x="112" y="1056"/>
                    <a:pt x="108" y="1060"/>
                  </a:cubicBezTo>
                  <a:cubicBezTo>
                    <a:pt x="88" y="1092"/>
                    <a:pt x="84" y="1140"/>
                    <a:pt x="60" y="1176"/>
                  </a:cubicBezTo>
                  <a:cubicBezTo>
                    <a:pt x="48" y="1228"/>
                    <a:pt x="56" y="1344"/>
                    <a:pt x="8" y="1376"/>
                  </a:cubicBezTo>
                  <a:cubicBezTo>
                    <a:pt x="0" y="1396"/>
                    <a:pt x="20" y="1396"/>
                    <a:pt x="32" y="1412"/>
                  </a:cubicBezTo>
                  <a:cubicBezTo>
                    <a:pt x="76" y="1388"/>
                    <a:pt x="72" y="1408"/>
                    <a:pt x="116" y="1416"/>
                  </a:cubicBezTo>
                  <a:cubicBezTo>
                    <a:pt x="144" y="1436"/>
                    <a:pt x="180" y="1464"/>
                    <a:pt x="216" y="1476"/>
                  </a:cubicBezTo>
                  <a:cubicBezTo>
                    <a:pt x="244" y="1504"/>
                    <a:pt x="326" y="1496"/>
                    <a:pt x="358" y="1476"/>
                  </a:cubicBezTo>
                  <a:cubicBezTo>
                    <a:pt x="362" y="1452"/>
                    <a:pt x="343" y="1414"/>
                    <a:pt x="345" y="1387"/>
                  </a:cubicBezTo>
                  <a:cubicBezTo>
                    <a:pt x="355" y="1357"/>
                    <a:pt x="378" y="1304"/>
                    <a:pt x="394" y="1282"/>
                  </a:cubicBezTo>
                  <a:cubicBezTo>
                    <a:pt x="410" y="1260"/>
                    <a:pt x="432" y="1282"/>
                    <a:pt x="439" y="1255"/>
                  </a:cubicBezTo>
                  <a:cubicBezTo>
                    <a:pt x="465" y="1254"/>
                    <a:pt x="496" y="1240"/>
                    <a:pt x="507" y="1230"/>
                  </a:cubicBezTo>
                  <a:cubicBezTo>
                    <a:pt x="536" y="1196"/>
                    <a:pt x="513" y="1209"/>
                    <a:pt x="508" y="1192"/>
                  </a:cubicBezTo>
                  <a:cubicBezTo>
                    <a:pt x="503" y="1175"/>
                    <a:pt x="476" y="1151"/>
                    <a:pt x="474" y="1129"/>
                  </a:cubicBezTo>
                  <a:cubicBezTo>
                    <a:pt x="483" y="1087"/>
                    <a:pt x="480" y="1111"/>
                    <a:pt x="496" y="1062"/>
                  </a:cubicBezTo>
                  <a:cubicBezTo>
                    <a:pt x="516" y="1017"/>
                    <a:pt x="531" y="988"/>
                    <a:pt x="560" y="980"/>
                  </a:cubicBezTo>
                  <a:cubicBezTo>
                    <a:pt x="564" y="960"/>
                    <a:pt x="598" y="948"/>
                    <a:pt x="559" y="933"/>
                  </a:cubicBezTo>
                  <a:cubicBezTo>
                    <a:pt x="559" y="898"/>
                    <a:pt x="544" y="862"/>
                    <a:pt x="532" y="824"/>
                  </a:cubicBezTo>
                  <a:cubicBezTo>
                    <a:pt x="525" y="805"/>
                    <a:pt x="526" y="780"/>
                    <a:pt x="516" y="768"/>
                  </a:cubicBezTo>
                  <a:cubicBezTo>
                    <a:pt x="504" y="742"/>
                    <a:pt x="532" y="744"/>
                    <a:pt x="560" y="748"/>
                  </a:cubicBezTo>
                  <a:cubicBezTo>
                    <a:pt x="595" y="771"/>
                    <a:pt x="633" y="735"/>
                    <a:pt x="633" y="735"/>
                  </a:cubicBezTo>
                  <a:cubicBezTo>
                    <a:pt x="651" y="717"/>
                    <a:pt x="641" y="709"/>
                    <a:pt x="657" y="693"/>
                  </a:cubicBezTo>
                  <a:cubicBezTo>
                    <a:pt x="665" y="669"/>
                    <a:pt x="684" y="632"/>
                    <a:pt x="656" y="624"/>
                  </a:cubicBezTo>
                  <a:cubicBezTo>
                    <a:pt x="660" y="608"/>
                    <a:pt x="697" y="592"/>
                    <a:pt x="697" y="592"/>
                  </a:cubicBezTo>
                  <a:cubicBezTo>
                    <a:pt x="705" y="579"/>
                    <a:pt x="702" y="555"/>
                    <a:pt x="705" y="544"/>
                  </a:cubicBezTo>
                  <a:cubicBezTo>
                    <a:pt x="708" y="533"/>
                    <a:pt x="700" y="561"/>
                    <a:pt x="712" y="528"/>
                  </a:cubicBezTo>
                  <a:cubicBezTo>
                    <a:pt x="720" y="484"/>
                    <a:pt x="730" y="372"/>
                    <a:pt x="780" y="343"/>
                  </a:cubicBezTo>
                  <a:cubicBezTo>
                    <a:pt x="810" y="330"/>
                    <a:pt x="824" y="339"/>
                    <a:pt x="844" y="327"/>
                  </a:cubicBezTo>
                  <a:cubicBezTo>
                    <a:pt x="856" y="319"/>
                    <a:pt x="880" y="298"/>
                    <a:pt x="880" y="298"/>
                  </a:cubicBezTo>
                  <a:cubicBezTo>
                    <a:pt x="901" y="282"/>
                    <a:pt x="913" y="246"/>
                    <a:pt x="910" y="228"/>
                  </a:cubicBezTo>
                  <a:cubicBezTo>
                    <a:pt x="895" y="219"/>
                    <a:pt x="885" y="211"/>
                    <a:pt x="873" y="193"/>
                  </a:cubicBezTo>
                  <a:cubicBezTo>
                    <a:pt x="861" y="175"/>
                    <a:pt x="876" y="130"/>
                    <a:pt x="840" y="120"/>
                  </a:cubicBezTo>
                  <a:cubicBezTo>
                    <a:pt x="820" y="104"/>
                    <a:pt x="762" y="96"/>
                    <a:pt x="740" y="104"/>
                  </a:cubicBezTo>
                  <a:cubicBezTo>
                    <a:pt x="710" y="102"/>
                    <a:pt x="689" y="113"/>
                    <a:pt x="658" y="111"/>
                  </a:cubicBezTo>
                  <a:cubicBezTo>
                    <a:pt x="637" y="111"/>
                    <a:pt x="634" y="106"/>
                    <a:pt x="616" y="103"/>
                  </a:cubicBezTo>
                  <a:cubicBezTo>
                    <a:pt x="598" y="100"/>
                    <a:pt x="585" y="112"/>
                    <a:pt x="552" y="92"/>
                  </a:cubicBezTo>
                  <a:cubicBezTo>
                    <a:pt x="517" y="81"/>
                    <a:pt x="518" y="88"/>
                    <a:pt x="516" y="78"/>
                  </a:cubicBezTo>
                  <a:cubicBezTo>
                    <a:pt x="514" y="68"/>
                    <a:pt x="547" y="46"/>
                    <a:pt x="540" y="34"/>
                  </a:cubicBezTo>
                  <a:cubicBezTo>
                    <a:pt x="528" y="0"/>
                    <a:pt x="516" y="8"/>
                    <a:pt x="476" y="4"/>
                  </a:cubicBezTo>
                  <a:cubicBezTo>
                    <a:pt x="460" y="8"/>
                    <a:pt x="444" y="6"/>
                    <a:pt x="429" y="21"/>
                  </a:cubicBezTo>
                  <a:cubicBezTo>
                    <a:pt x="413" y="22"/>
                    <a:pt x="390" y="28"/>
                    <a:pt x="384" y="13"/>
                  </a:cubicBez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</p:grpSp>
      <p:pic>
        <p:nvPicPr>
          <p:cNvPr id="130" name="Picture 2" descr="http://www.thesis.de/uploads/pics/Fotolia_52331405_XS.jpg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74889" y="829733"/>
            <a:ext cx="813175" cy="6645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Legende mit Pfeil nach unten 4"/>
          <p:cNvSpPr/>
          <p:nvPr/>
        </p:nvSpPr>
        <p:spPr bwMode="auto">
          <a:xfrm>
            <a:off x="5571063" y="2438400"/>
            <a:ext cx="2962921" cy="2057400"/>
          </a:xfrm>
          <a:prstGeom prst="downArrowCallout">
            <a:avLst>
              <a:gd name="adj1" fmla="val 30185"/>
              <a:gd name="adj2" fmla="val 25000"/>
              <a:gd name="adj3" fmla="val 7963"/>
              <a:gd name="adj4" fmla="val 88942"/>
            </a:avLst>
          </a:prstGeom>
          <a:noFill/>
          <a:ln w="28575">
            <a:solidFill>
              <a:srgbClr val="C000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1" i="0" u="none" strike="noStrike" cap="none" normalizeH="0" baseline="0">
              <a:ln>
                <a:noFill/>
              </a:ln>
              <a:solidFill>
                <a:srgbClr val="336699"/>
              </a:solidFill>
              <a:effectLst/>
              <a:latin typeface="Verdana" charset="0"/>
              <a:ea typeface="ＭＳ Ｐゴシック" charset="0"/>
              <a:cs typeface="Arial" charset="0"/>
            </a:endParaRPr>
          </a:p>
        </p:txBody>
      </p:sp>
      <p:sp>
        <p:nvSpPr>
          <p:cNvPr id="7" name="Textfeld 6"/>
          <p:cNvSpPr txBox="1"/>
          <p:nvPr/>
        </p:nvSpPr>
        <p:spPr>
          <a:xfrm>
            <a:off x="5223971" y="4495800"/>
            <a:ext cx="3615229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b="0" dirty="0" smtClean="0">
                <a:solidFill>
                  <a:srgbClr val="C00000"/>
                </a:solidFill>
              </a:rPr>
              <a:t>Due to the </a:t>
            </a:r>
            <a:r>
              <a:rPr lang="en-US" sz="1000" dirty="0" smtClean="0">
                <a:solidFill>
                  <a:srgbClr val="C00000"/>
                </a:solidFill>
              </a:rPr>
              <a:t>WP29 Meeting </a:t>
            </a:r>
            <a:r>
              <a:rPr lang="en-US" sz="1000" b="0" dirty="0" smtClean="0">
                <a:solidFill>
                  <a:srgbClr val="C00000"/>
                </a:solidFill>
              </a:rPr>
              <a:t>on 10</a:t>
            </a:r>
            <a:r>
              <a:rPr lang="en-US" sz="1000" b="0" baseline="30000" dirty="0" smtClean="0">
                <a:solidFill>
                  <a:srgbClr val="C00000"/>
                </a:solidFill>
              </a:rPr>
              <a:t>th</a:t>
            </a:r>
            <a:r>
              <a:rPr lang="en-US" sz="1000" b="0" dirty="0" smtClean="0">
                <a:solidFill>
                  <a:srgbClr val="C00000"/>
                </a:solidFill>
              </a:rPr>
              <a:t> -12</a:t>
            </a:r>
            <a:r>
              <a:rPr lang="en-US" sz="1000" b="0" baseline="30000" dirty="0" smtClean="0">
                <a:solidFill>
                  <a:srgbClr val="C00000"/>
                </a:solidFill>
              </a:rPr>
              <a:t>th</a:t>
            </a:r>
            <a:r>
              <a:rPr lang="en-US" sz="1000" b="0" dirty="0" smtClean="0">
                <a:solidFill>
                  <a:srgbClr val="C00000"/>
                </a:solidFill>
              </a:rPr>
              <a:t>  March in Geneva </a:t>
            </a:r>
            <a:r>
              <a:rPr lang="en-US" sz="1000" dirty="0" smtClean="0">
                <a:solidFill>
                  <a:srgbClr val="C00000"/>
                </a:solidFill>
              </a:rPr>
              <a:t>these dates are canceled.</a:t>
            </a:r>
          </a:p>
          <a:p>
            <a:pPr algn="r"/>
            <a:r>
              <a:rPr lang="en-US" sz="1000" dirty="0" smtClean="0">
                <a:solidFill>
                  <a:srgbClr val="C00000"/>
                </a:solidFill>
                <a:sym typeface="Wingdings" panose="05000000000000000000" pitchFamily="2" charset="2"/>
              </a:rPr>
              <a:t>Optimal would be to reach them all in Geneva.</a:t>
            </a:r>
            <a:r>
              <a:rPr lang="en-US" sz="1000" b="0" dirty="0" smtClean="0">
                <a:solidFill>
                  <a:srgbClr val="C00000"/>
                </a:solidFill>
                <a:sym typeface="Wingdings" panose="05000000000000000000" pitchFamily="2" charset="2"/>
              </a:rPr>
              <a:t> </a:t>
            </a:r>
          </a:p>
          <a:p>
            <a:pPr algn="r"/>
            <a:r>
              <a:rPr lang="en-US" sz="1000" dirty="0" smtClean="0">
                <a:solidFill>
                  <a:srgbClr val="C00000"/>
                </a:solidFill>
                <a:sym typeface="Wingdings" panose="05000000000000000000" pitchFamily="2" charset="2"/>
              </a:rPr>
              <a:t> If not, we have to set up a 2</a:t>
            </a:r>
            <a:r>
              <a:rPr lang="en-US" sz="1000" baseline="30000" dirty="0" smtClean="0">
                <a:solidFill>
                  <a:srgbClr val="C00000"/>
                </a:solidFill>
                <a:sym typeface="Wingdings" panose="05000000000000000000" pitchFamily="2" charset="2"/>
              </a:rPr>
              <a:t>nd</a:t>
            </a:r>
            <a:r>
              <a:rPr lang="en-US" sz="1000" dirty="0" smtClean="0">
                <a:solidFill>
                  <a:srgbClr val="C00000"/>
                </a:solidFill>
                <a:sym typeface="Wingdings" panose="05000000000000000000" pitchFamily="2" charset="2"/>
              </a:rPr>
              <a:t> Team in a short term to meet them also in CW10!</a:t>
            </a:r>
            <a:endParaRPr lang="en-US" sz="1000" b="0" dirty="0" smtClean="0">
              <a:solidFill>
                <a:srgbClr val="C00000"/>
              </a:solidFill>
            </a:endParaRPr>
          </a:p>
        </p:txBody>
      </p:sp>
      <p:sp>
        <p:nvSpPr>
          <p:cNvPr id="133" name="Rechteck 132"/>
          <p:cNvSpPr/>
          <p:nvPr/>
        </p:nvSpPr>
        <p:spPr bwMode="auto">
          <a:xfrm>
            <a:off x="5571063" y="2082801"/>
            <a:ext cx="2962921" cy="313267"/>
          </a:xfrm>
          <a:prstGeom prst="rect">
            <a:avLst/>
          </a:prstGeom>
          <a:solidFill>
            <a:srgbClr val="DDDDDD">
              <a:alpha val="72941"/>
            </a:srgbClr>
          </a:solidFill>
          <a:ln w="28575">
            <a:solidFill>
              <a:srgbClr val="C00000"/>
            </a:solidFill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1" i="0" u="none" strike="noStrike" cap="none" normalizeH="0" baseline="0">
              <a:ln>
                <a:noFill/>
              </a:ln>
              <a:solidFill>
                <a:srgbClr val="336699"/>
              </a:solidFill>
              <a:effectLst/>
              <a:latin typeface="Verdana" charset="0"/>
              <a:ea typeface="ＭＳ Ｐゴシック" charset="0"/>
              <a:cs typeface="Arial" charset="0"/>
            </a:endParaRPr>
          </a:p>
        </p:txBody>
      </p:sp>
      <p:sp>
        <p:nvSpPr>
          <p:cNvPr id="134" name="Pfeil nach unten 133"/>
          <p:cNvSpPr/>
          <p:nvPr/>
        </p:nvSpPr>
        <p:spPr bwMode="auto">
          <a:xfrm>
            <a:off x="6858000" y="5349107"/>
            <a:ext cx="419101" cy="266700"/>
          </a:xfrm>
          <a:prstGeom prst="downArrow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>
              <a:latin typeface="Verdana" charset="0"/>
              <a:ea typeface="ＭＳ Ｐゴシック" charset="0"/>
              <a:cs typeface="Arial" charset="0"/>
            </a:endParaRPr>
          </a:p>
        </p:txBody>
      </p:sp>
      <p:sp>
        <p:nvSpPr>
          <p:cNvPr id="135" name="Rechteck 134"/>
          <p:cNvSpPr/>
          <p:nvPr/>
        </p:nvSpPr>
        <p:spPr>
          <a:xfrm>
            <a:off x="609600" y="4343400"/>
            <a:ext cx="4648200" cy="19236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1" indent="-285750"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100" b="0" dirty="0"/>
              <a:t>Current Feedback:</a:t>
            </a:r>
          </a:p>
          <a:p>
            <a:pPr marL="742950" lvl="2" indent="-285750"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Wingdings"/>
              <a:buChar char="à"/>
            </a:pPr>
            <a:r>
              <a:rPr lang="en-GB" sz="1100" b="0" dirty="0"/>
              <a:t>Caro Hosier (Ford): Spain, Italy or France </a:t>
            </a:r>
          </a:p>
          <a:p>
            <a:pPr marL="742950" lvl="2" indent="-285750"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Wingdings"/>
              <a:buChar char="à"/>
            </a:pPr>
            <a:r>
              <a:rPr lang="en-GB" sz="1100" b="0" dirty="0"/>
              <a:t>Jens Franz (Daimler): All dates in principal possible - except 11</a:t>
            </a:r>
            <a:r>
              <a:rPr lang="en-GB" sz="1100" b="0" baseline="30000" dirty="0"/>
              <a:t>th</a:t>
            </a:r>
            <a:r>
              <a:rPr lang="en-GB" sz="1100" b="0" dirty="0"/>
              <a:t> </a:t>
            </a:r>
            <a:endParaRPr lang="en-US" sz="1100" b="0" dirty="0"/>
          </a:p>
          <a:p>
            <a:pPr marL="742950" lvl="2" indent="-285750"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Wingdings"/>
              <a:buChar char="à"/>
            </a:pPr>
            <a:r>
              <a:rPr lang="en-US" sz="1100" b="0" dirty="0">
                <a:solidFill>
                  <a:srgbClr val="FF0000"/>
                </a:solidFill>
              </a:rPr>
              <a:t>Open: Slovenia and Croatia </a:t>
            </a:r>
            <a:r>
              <a:rPr lang="en-US" sz="1100" b="0" dirty="0">
                <a:sym typeface="Wingdings" panose="05000000000000000000" pitchFamily="2" charset="2"/>
              </a:rPr>
              <a:t>– Could be organized by </a:t>
            </a:r>
            <a:r>
              <a:rPr lang="en-US" sz="1100" b="0" dirty="0" err="1"/>
              <a:t>Franjo</a:t>
            </a:r>
            <a:r>
              <a:rPr lang="en-US" sz="1100" b="0" dirty="0"/>
              <a:t> </a:t>
            </a:r>
            <a:r>
              <a:rPr lang="en-US" sz="1100" b="0" dirty="0" err="1"/>
              <a:t>Akmadza</a:t>
            </a:r>
            <a:r>
              <a:rPr lang="en-US" sz="1100" b="0" dirty="0"/>
              <a:t>, (</a:t>
            </a:r>
            <a:r>
              <a:rPr lang="en-US" sz="1100" b="0" dirty="0">
                <a:sym typeface="Wingdings" panose="05000000000000000000" pitchFamily="2" charset="2"/>
              </a:rPr>
              <a:t>H</a:t>
            </a:r>
            <a:r>
              <a:rPr lang="en-US" sz="1100" b="0" dirty="0"/>
              <a:t>yundai)</a:t>
            </a:r>
            <a:endParaRPr lang="en-US" sz="1100" dirty="0"/>
          </a:p>
          <a:p>
            <a:pPr marL="285750" lvl="1" indent="-285750"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100" dirty="0"/>
              <a:t>Please respond to Adriana Pop </a:t>
            </a:r>
            <a:r>
              <a:rPr lang="en-US" sz="1100" dirty="0">
                <a:hlinkClick r:id="rId3"/>
              </a:rPr>
              <a:t>amp@acea.be</a:t>
            </a:r>
            <a:r>
              <a:rPr lang="en-US" sz="1100" dirty="0"/>
              <a:t> so she can coordinate the planning and give feedback to Ralf so he can track the Road Show</a:t>
            </a:r>
            <a:endParaRPr lang="de-DE" sz="1100" dirty="0"/>
          </a:p>
        </p:txBody>
      </p:sp>
      <p:sp>
        <p:nvSpPr>
          <p:cNvPr id="136" name="Rechteck 135"/>
          <p:cNvSpPr/>
          <p:nvPr/>
        </p:nvSpPr>
        <p:spPr bwMode="auto">
          <a:xfrm>
            <a:off x="5571063" y="5706533"/>
            <a:ext cx="2962921" cy="999067"/>
          </a:xfrm>
          <a:prstGeom prst="rect">
            <a:avLst/>
          </a:prstGeom>
          <a:solidFill>
            <a:srgbClr val="FFFFFF"/>
          </a:solidFill>
          <a:ln w="28575">
            <a:solidFill>
              <a:srgbClr val="C00000"/>
            </a:solidFill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000" b="1" i="0" u="none" strike="noStrike" cap="none" normalizeH="0" baseline="0" dirty="0" smtClean="0">
                <a:ln>
                  <a:noFill/>
                </a:ln>
                <a:effectLst/>
                <a:latin typeface="Verdana" charset="0"/>
                <a:ea typeface="ＭＳ Ｐゴシック" charset="0"/>
                <a:cs typeface="Arial" charset="0"/>
              </a:rPr>
              <a:t>Participants</a:t>
            </a:r>
            <a:r>
              <a:rPr kumimoji="0" lang="de-DE" sz="1000" b="1" i="0" u="none" strike="noStrike" cap="none" normalizeH="0" dirty="0" smtClean="0">
                <a:ln>
                  <a:noFill/>
                </a:ln>
                <a:effectLst/>
                <a:latin typeface="Verdana" charset="0"/>
                <a:ea typeface="ＭＳ Ｐゴシック" charset="0"/>
                <a:cs typeface="Arial" charset="0"/>
              </a:rPr>
              <a:t> </a:t>
            </a:r>
            <a:r>
              <a:rPr kumimoji="0" lang="de-DE" sz="1000" b="1" i="0" u="none" strike="noStrike" cap="none" normalizeH="0" dirty="0" err="1" smtClean="0">
                <a:ln>
                  <a:noFill/>
                </a:ln>
                <a:effectLst/>
                <a:latin typeface="Verdana" charset="0"/>
                <a:ea typeface="ＭＳ Ｐゴシック" charset="0"/>
                <a:cs typeface="Arial" charset="0"/>
              </a:rPr>
              <a:t>of</a:t>
            </a:r>
            <a:r>
              <a:rPr kumimoji="0" lang="de-DE" sz="1000" b="1" i="0" u="none" strike="noStrike" cap="none" normalizeH="0" dirty="0" smtClean="0">
                <a:ln>
                  <a:noFill/>
                </a:ln>
                <a:effectLst/>
                <a:latin typeface="Verdana" charset="0"/>
                <a:ea typeface="ＭＳ Ｐゴシック" charset="0"/>
                <a:cs typeface="Arial" charset="0"/>
              </a:rPr>
              <a:t> WP29 </a:t>
            </a:r>
            <a:r>
              <a:rPr kumimoji="0" lang="de-DE" sz="1000" b="1" i="0" u="none" strike="noStrike" cap="none" normalizeH="0" dirty="0" smtClean="0">
                <a:ln>
                  <a:noFill/>
                </a:ln>
                <a:solidFill>
                  <a:srgbClr val="336699"/>
                </a:solidFill>
                <a:effectLst/>
                <a:latin typeface="Verdana" charset="0"/>
                <a:ea typeface="ＭＳ Ｐゴシック" charset="0"/>
                <a:cs typeface="Arial" charset="0"/>
              </a:rPr>
              <a:t>Meeting:</a:t>
            </a:r>
          </a:p>
          <a:p>
            <a:pPr marL="0" marR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de-DE" sz="1000" dirty="0">
              <a:latin typeface="Verdana" charset="0"/>
              <a:ea typeface="ＭＳ Ｐゴシック" charset="0"/>
              <a:cs typeface="Arial" charset="0"/>
            </a:endParaRPr>
          </a:p>
          <a:p>
            <a:r>
              <a:rPr lang="en-US" sz="1000" dirty="0" smtClean="0"/>
              <a:t>Organization of Gov. expert meeting/ dinner by:</a:t>
            </a:r>
            <a:endParaRPr lang="en-US" sz="1000" dirty="0"/>
          </a:p>
          <a:p>
            <a:pPr marL="0" marR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000" b="1" i="0" u="none" strike="noStrike" cap="none" normalizeH="0" dirty="0" smtClean="0">
              <a:ln>
                <a:noFill/>
              </a:ln>
              <a:solidFill>
                <a:srgbClr val="336699"/>
              </a:solidFill>
              <a:effectLst/>
              <a:latin typeface="Verdana" charset="0"/>
              <a:ea typeface="ＭＳ Ｐゴシック" charset="0"/>
              <a:cs typeface="Arial" charset="0"/>
            </a:endParaRPr>
          </a:p>
          <a:p>
            <a:pPr marL="0" marR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de-DE" sz="1000" dirty="0">
              <a:latin typeface="Verdana" charset="0"/>
              <a:ea typeface="ＭＳ Ｐゴシック" charset="0"/>
              <a:cs typeface="Arial" charset="0"/>
            </a:endParaRPr>
          </a:p>
          <a:p>
            <a:pPr marL="0" marR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000" b="1" i="0" u="none" strike="noStrike" cap="none" normalizeH="0" dirty="0" smtClean="0">
              <a:ln>
                <a:noFill/>
              </a:ln>
              <a:solidFill>
                <a:srgbClr val="336699"/>
              </a:solidFill>
              <a:effectLst/>
              <a:latin typeface="Verdana" charset="0"/>
              <a:ea typeface="ＭＳ Ｐゴシック" charset="0"/>
              <a:cs typeface="Arial" charset="0"/>
            </a:endParaRPr>
          </a:p>
          <a:p>
            <a:pPr marL="0" marR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000" b="1" i="0" u="none" strike="noStrike" cap="none" normalizeH="0" dirty="0" smtClean="0">
              <a:ln>
                <a:noFill/>
              </a:ln>
              <a:solidFill>
                <a:srgbClr val="336699"/>
              </a:solidFill>
              <a:effectLst/>
              <a:latin typeface="Verdana" charset="0"/>
              <a:ea typeface="ＭＳ Ｐゴシック" charset="0"/>
              <a:cs typeface="Arial" charset="0"/>
            </a:endParaRPr>
          </a:p>
          <a:p>
            <a:pPr marL="0" marR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000" b="1" i="0" u="none" strike="noStrike" cap="none" normalizeH="0" baseline="0" dirty="0">
              <a:ln>
                <a:noFill/>
              </a:ln>
              <a:solidFill>
                <a:srgbClr val="336699"/>
              </a:solidFill>
              <a:effectLst/>
              <a:latin typeface="Verdana" charset="0"/>
              <a:ea typeface="ＭＳ Ｐゴシック" charset="0"/>
              <a:cs typeface="Arial" charset="0"/>
            </a:endParaRPr>
          </a:p>
        </p:txBody>
      </p:sp>
      <p:sp>
        <p:nvSpPr>
          <p:cNvPr id="140" name="Ellipse 139"/>
          <p:cNvSpPr/>
          <p:nvPr/>
        </p:nvSpPr>
        <p:spPr>
          <a:xfrm>
            <a:off x="295952" y="2667000"/>
            <a:ext cx="252000" cy="252000"/>
          </a:xfrm>
          <a:prstGeom prst="ellipse">
            <a:avLst/>
          </a:prstGeom>
          <a:gradFill rotWithShape="1">
            <a:gsLst>
              <a:gs pos="0">
                <a:srgbClr val="FEA501">
                  <a:shade val="51000"/>
                  <a:satMod val="130000"/>
                </a:srgbClr>
              </a:gs>
              <a:gs pos="80000">
                <a:srgbClr val="FEA501">
                  <a:shade val="93000"/>
                  <a:satMod val="130000"/>
                </a:srgbClr>
              </a:gs>
              <a:gs pos="100000">
                <a:srgbClr val="FEA501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FEA501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141" name="Ellipse 140"/>
          <p:cNvSpPr/>
          <p:nvPr/>
        </p:nvSpPr>
        <p:spPr>
          <a:xfrm>
            <a:off x="279018" y="3731448"/>
            <a:ext cx="252000" cy="252000"/>
          </a:xfrm>
          <a:prstGeom prst="ellipse">
            <a:avLst/>
          </a:prstGeom>
          <a:gradFill rotWithShape="1">
            <a:gsLst>
              <a:gs pos="0">
                <a:srgbClr val="FEA501">
                  <a:shade val="51000"/>
                  <a:satMod val="130000"/>
                </a:srgbClr>
              </a:gs>
              <a:gs pos="80000">
                <a:srgbClr val="FEA501">
                  <a:shade val="93000"/>
                  <a:satMod val="130000"/>
                </a:srgbClr>
              </a:gs>
              <a:gs pos="100000">
                <a:srgbClr val="FEA501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FEA501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</a:p>
        </p:txBody>
      </p:sp>
      <p:sp>
        <p:nvSpPr>
          <p:cNvPr id="142" name="Ellipse 141"/>
          <p:cNvSpPr/>
          <p:nvPr/>
        </p:nvSpPr>
        <p:spPr>
          <a:xfrm>
            <a:off x="5418667" y="5598873"/>
            <a:ext cx="252000" cy="252000"/>
          </a:xfrm>
          <a:prstGeom prst="ellipse">
            <a:avLst/>
          </a:prstGeom>
          <a:gradFill rotWithShape="1">
            <a:gsLst>
              <a:gs pos="0">
                <a:srgbClr val="FEA501">
                  <a:shade val="51000"/>
                  <a:satMod val="130000"/>
                </a:srgbClr>
              </a:gs>
              <a:gs pos="80000">
                <a:srgbClr val="FEA501">
                  <a:shade val="93000"/>
                  <a:satMod val="130000"/>
                </a:srgbClr>
              </a:gs>
              <a:gs pos="100000">
                <a:srgbClr val="FEA501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FEA501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</a:t>
            </a:r>
          </a:p>
        </p:txBody>
      </p:sp>
      <p:sp>
        <p:nvSpPr>
          <p:cNvPr id="143" name="Ellipse 142"/>
          <p:cNvSpPr/>
          <p:nvPr/>
        </p:nvSpPr>
        <p:spPr>
          <a:xfrm>
            <a:off x="1230655" y="6589060"/>
            <a:ext cx="229091" cy="202200"/>
          </a:xfrm>
          <a:prstGeom prst="ellipse">
            <a:avLst/>
          </a:prstGeom>
          <a:gradFill rotWithShape="1">
            <a:gsLst>
              <a:gs pos="0">
                <a:srgbClr val="FEA501">
                  <a:shade val="51000"/>
                  <a:satMod val="130000"/>
                </a:srgbClr>
              </a:gs>
              <a:gs pos="80000">
                <a:srgbClr val="FEA501">
                  <a:shade val="93000"/>
                  <a:satMod val="130000"/>
                </a:srgbClr>
              </a:gs>
              <a:gs pos="100000">
                <a:srgbClr val="FEA501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FEA501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b="0" kern="0" dirty="0">
                <a:solidFill>
                  <a:srgbClr val="FFFFFF"/>
                </a:solidFill>
                <a:latin typeface="Calibri"/>
                <a:ea typeface="+mn-ea"/>
              </a:rPr>
              <a:t>x</a:t>
            </a:r>
            <a:endParaRPr kumimoji="0" lang="en-GB" sz="14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4" name="Textfeld 143"/>
          <p:cNvSpPr txBox="1"/>
          <p:nvPr/>
        </p:nvSpPr>
        <p:spPr>
          <a:xfrm>
            <a:off x="1437990" y="6579600"/>
            <a:ext cx="148470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b="0" dirty="0" smtClean="0"/>
              <a:t>Fill in your feedback</a:t>
            </a:r>
          </a:p>
        </p:txBody>
      </p:sp>
    </p:spTree>
    <p:extLst>
      <p:ext uri="{BB962C8B-B14F-4D97-AF65-F5344CB8AC3E}">
        <p14:creationId xmlns:p14="http://schemas.microsoft.com/office/powerpoint/2010/main" val="28374910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 bwMode="auto">
          <a:xfrm>
            <a:off x="609600" y="1297168"/>
            <a:ext cx="8153399" cy="5256032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180000" tIns="14400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lvl="1">
              <a:spcAft>
                <a:spcPts val="600"/>
              </a:spcAft>
              <a:buClr>
                <a:schemeClr val="bg1">
                  <a:lumMod val="65000"/>
                </a:schemeClr>
              </a:buClr>
            </a:pPr>
            <a:endParaRPr lang="en-US" sz="100" b="0" dirty="0" smtClean="0"/>
          </a:p>
        </p:txBody>
      </p:sp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79846" y="1111630"/>
            <a:ext cx="3911292" cy="58116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hteck 7"/>
          <p:cNvSpPr/>
          <p:nvPr/>
        </p:nvSpPr>
        <p:spPr>
          <a:xfrm>
            <a:off x="807719" y="1127892"/>
            <a:ext cx="1935481" cy="338554"/>
          </a:xfrm>
          <a:prstGeom prst="rect">
            <a:avLst/>
          </a:prstGeom>
          <a:solidFill>
            <a:schemeClr val="bg1"/>
          </a:solidFill>
        </p:spPr>
        <p:txBody>
          <a:bodyPr wrap="square" rIns="0">
            <a:spAutoFit/>
          </a:bodyPr>
          <a:lstStyle/>
          <a:p>
            <a:pPr>
              <a:spcAft>
                <a:spcPts val="300"/>
              </a:spcAft>
              <a:buClr>
                <a:schemeClr val="bg1">
                  <a:lumMod val="65000"/>
                </a:schemeClr>
              </a:buClr>
            </a:pPr>
            <a:r>
              <a:rPr lang="en-US" sz="1600" dirty="0"/>
              <a:t>Diesel Threats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 smtClean="0"/>
              <a:t>   Current Diesel Threats </a:t>
            </a:r>
            <a:endParaRPr lang="en-US" sz="24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BD4307-8E25-4063-B042-91C9BB9E4C20}" type="slidenum">
              <a:rPr lang="de-DE" smtClean="0"/>
              <a:pPr/>
              <a:t>12</a:t>
            </a:fld>
            <a:endParaRPr lang="de-DE" dirty="0"/>
          </a:p>
        </p:txBody>
      </p:sp>
      <p:grpSp>
        <p:nvGrpSpPr>
          <p:cNvPr id="5" name="Gruppieren 4"/>
          <p:cNvGrpSpPr/>
          <p:nvPr/>
        </p:nvGrpSpPr>
        <p:grpSpPr>
          <a:xfrm>
            <a:off x="7761688" y="363792"/>
            <a:ext cx="775321" cy="649343"/>
            <a:chOff x="9811328" y="3035535"/>
            <a:chExt cx="1321363" cy="1139938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3" name="Gleichschenkliges Dreieck 2"/>
            <p:cNvSpPr/>
            <p:nvPr/>
          </p:nvSpPr>
          <p:spPr bwMode="auto">
            <a:xfrm>
              <a:off x="9811328" y="3106378"/>
              <a:ext cx="1309312" cy="1035995"/>
            </a:xfrm>
            <a:prstGeom prst="triangle">
              <a:avLst>
                <a:gd name="adj" fmla="val 49711"/>
              </a:avLst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3200" b="1" i="0" u="none" strike="noStrike" cap="none" normalizeH="0" baseline="0">
                <a:ln>
                  <a:noFill/>
                </a:ln>
                <a:solidFill>
                  <a:srgbClr val="336699"/>
                </a:solidFill>
                <a:effectLst/>
                <a:latin typeface="Verdana" charset="0"/>
                <a:ea typeface="ＭＳ Ｐゴシック" charset="0"/>
                <a:cs typeface="Arial" charset="0"/>
              </a:endParaRPr>
            </a:p>
          </p:txBody>
        </p:sp>
        <p:pic>
          <p:nvPicPr>
            <p:cNvPr id="2050" name="Picture 2" descr="File:Danger of slipping (Israel road sign).png">
              <a:hlinkClick r:id="rId3"/>
            </p:cNvPr>
            <p:cNvPicPr>
              <a:picLocks noChangeAspect="1" noChangeArrowheads="1"/>
            </p:cNvPicPr>
            <p:nvPr/>
          </p:nvPicPr>
          <p:blipFill>
            <a:blip r:embed="rId4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823379" y="3035535"/>
              <a:ext cx="1309312" cy="1139938"/>
            </a:xfrm>
            <a:prstGeom prst="rect">
              <a:avLst/>
            </a:prstGeom>
            <a:noFill/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2" name="Gruppieren 20"/>
          <p:cNvGrpSpPr>
            <a:grpSpLocks/>
          </p:cNvGrpSpPr>
          <p:nvPr/>
        </p:nvGrpSpPr>
        <p:grpSpPr bwMode="auto">
          <a:xfrm>
            <a:off x="685800" y="1508636"/>
            <a:ext cx="1921543" cy="1767968"/>
            <a:chOff x="5868144" y="1898311"/>
            <a:chExt cx="3096344" cy="2948529"/>
          </a:xfrm>
        </p:grpSpPr>
        <p:pic>
          <p:nvPicPr>
            <p:cNvPr id="33" name="Picture 7" descr="http://alternatewrites.com/wp-content/uploads/2012/06/post-it-note-with-a-pin.jpg"/>
            <p:cNvPicPr>
              <a:picLocks noChangeAspect="1" noChangeArrowheads="1"/>
            </p:cNvPicPr>
            <p:nvPr/>
          </p:nvPicPr>
          <p:blipFill rotWithShape="1">
            <a:blip r:embed="rId5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478" t="3989" r="2994" b="3295"/>
            <a:stretch/>
          </p:blipFill>
          <p:spPr bwMode="auto">
            <a:xfrm>
              <a:off x="5868144" y="1898311"/>
              <a:ext cx="3096344" cy="2948529"/>
            </a:xfrm>
            <a:prstGeom prst="rect">
              <a:avLst/>
            </a:prstGeom>
            <a:noFill/>
            <a:scene3d>
              <a:camera prst="orthographicFront">
                <a:rot lat="0" lon="1080000" rev="0"/>
              </a:camera>
              <a:lightRig rig="threePt" dir="t"/>
            </a:scene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4" name="Textfeld 15"/>
            <p:cNvSpPr txBox="1">
              <a:spLocks noChangeArrowheads="1"/>
            </p:cNvSpPr>
            <p:nvPr/>
          </p:nvSpPr>
          <p:spPr bwMode="auto">
            <a:xfrm rot="21348083">
              <a:off x="6736377" y="2606796"/>
              <a:ext cx="1087212" cy="4997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rIns="90000">
              <a:spAutoFit/>
            </a:bodyPr>
            <a:lstStyle>
              <a:lvl1pPr eaLnBrk="0" hangingPunct="0">
                <a:spcAft>
                  <a:spcPts val="600"/>
                </a:spcAft>
                <a:defRPr sz="1400" b="1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eaLnBrk="0" hangingPunct="0">
                <a:spcAft>
                  <a:spcPts val="600"/>
                </a:spcAft>
                <a:buClr>
                  <a:schemeClr val="tx2"/>
                </a:buClr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eaLnBrk="0" hangingPunct="0">
                <a:spcAft>
                  <a:spcPts val="600"/>
                </a:spcAft>
                <a:buClr>
                  <a:schemeClr val="tx2"/>
                </a:buClr>
                <a:buFont typeface="Symbol" pitchFamily="18" charset="2"/>
                <a:buChar char="-"/>
                <a:defRPr sz="1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eaLnBrk="0" hangingPunct="0">
                <a:spcAft>
                  <a:spcPts val="600"/>
                </a:spcAft>
                <a:buClr>
                  <a:schemeClr val="tx2"/>
                </a:buClr>
                <a:buFont typeface="Symbol" pitchFamily="18" charset="2"/>
                <a:buChar char="-"/>
                <a:defRPr sz="14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eaLnBrk="0" hangingPunct="0">
                <a:spcAft>
                  <a:spcPts val="600"/>
                </a:spcAft>
                <a:buClr>
                  <a:schemeClr val="tx2"/>
                </a:buClr>
                <a:buFont typeface="Arial" charset="0"/>
                <a:buChar char="»"/>
                <a:defRPr sz="14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Font typeface="Arial" charset="0"/>
                <a:buChar char="»"/>
                <a:defRPr sz="14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Font typeface="Arial" charset="0"/>
                <a:buChar char="»"/>
                <a:defRPr sz="14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Font typeface="Arial" charset="0"/>
                <a:buChar char="»"/>
                <a:defRPr sz="14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Font typeface="Arial" charset="0"/>
                <a:buChar char="»"/>
                <a:defRPr sz="14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eaLnBrk="1" hangingPunct="1"/>
              <a:r>
                <a:rPr lang="en-US" altLang="de-DE" i="1" dirty="0" smtClean="0">
                  <a:latin typeface="+mn-lt"/>
                </a:rPr>
                <a:t>NGO’s</a:t>
              </a:r>
              <a:endParaRPr lang="en-US" altLang="de-DE" i="1" dirty="0">
                <a:latin typeface="+mn-lt"/>
              </a:endParaRPr>
            </a:p>
          </p:txBody>
        </p:sp>
        <p:sp>
          <p:nvSpPr>
            <p:cNvPr id="35" name="Textfeld 17"/>
            <p:cNvSpPr txBox="1">
              <a:spLocks noChangeArrowheads="1"/>
            </p:cNvSpPr>
            <p:nvPr/>
          </p:nvSpPr>
          <p:spPr bwMode="auto">
            <a:xfrm rot="21348083">
              <a:off x="6220916" y="3058738"/>
              <a:ext cx="2399101" cy="13043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rIns="90000">
              <a:spAutoFit/>
            </a:bodyPr>
            <a:lstStyle>
              <a:lvl1pPr eaLnBrk="0" hangingPunct="0">
                <a:spcAft>
                  <a:spcPts val="600"/>
                </a:spcAft>
                <a:defRPr sz="1400" b="1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eaLnBrk="0" hangingPunct="0">
                <a:spcAft>
                  <a:spcPts val="600"/>
                </a:spcAft>
                <a:buClr>
                  <a:schemeClr val="tx2"/>
                </a:buClr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eaLnBrk="0" hangingPunct="0">
                <a:spcAft>
                  <a:spcPts val="600"/>
                </a:spcAft>
                <a:buClr>
                  <a:schemeClr val="tx2"/>
                </a:buClr>
                <a:buFont typeface="Symbol" pitchFamily="18" charset="2"/>
                <a:buChar char="-"/>
                <a:defRPr sz="1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eaLnBrk="0" hangingPunct="0">
                <a:spcAft>
                  <a:spcPts val="600"/>
                </a:spcAft>
                <a:buClr>
                  <a:schemeClr val="tx2"/>
                </a:buClr>
                <a:buFont typeface="Symbol" pitchFamily="18" charset="2"/>
                <a:buChar char="-"/>
                <a:defRPr sz="14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eaLnBrk="0" hangingPunct="0">
                <a:spcAft>
                  <a:spcPts val="600"/>
                </a:spcAft>
                <a:buClr>
                  <a:schemeClr val="tx2"/>
                </a:buClr>
                <a:buFont typeface="Arial" charset="0"/>
                <a:buChar char="»"/>
                <a:defRPr sz="14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Font typeface="Arial" charset="0"/>
                <a:buChar char="»"/>
                <a:defRPr sz="14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Font typeface="Arial" charset="0"/>
                <a:buChar char="»"/>
                <a:defRPr sz="14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Font typeface="Arial" charset="0"/>
                <a:buChar char="»"/>
                <a:defRPr sz="14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Font typeface="Arial" charset="0"/>
                <a:buChar char="»"/>
                <a:defRPr sz="14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algn="ctr" eaLnBrk="1" hangingPunct="1"/>
              <a:r>
                <a:rPr lang="en-US" altLang="de-DE" sz="1000" b="0" i="1" dirty="0" smtClean="0">
                  <a:latin typeface="+mn-lt"/>
                </a:rPr>
                <a:t>ICCT Diesel </a:t>
              </a:r>
            </a:p>
            <a:p>
              <a:pPr algn="ctr" eaLnBrk="1" hangingPunct="1"/>
              <a:r>
                <a:rPr lang="en-US" altLang="de-DE" sz="1000" b="0" i="1" dirty="0" smtClean="0">
                  <a:latin typeface="+mn-lt"/>
                </a:rPr>
                <a:t>emissions EU6 ≈</a:t>
              </a:r>
            </a:p>
            <a:p>
              <a:pPr algn="ctr" eaLnBrk="1" hangingPunct="1"/>
              <a:r>
                <a:rPr lang="en-US" altLang="de-DE" sz="1000" b="0" i="1" dirty="0" smtClean="0">
                  <a:latin typeface="+mn-lt"/>
                </a:rPr>
                <a:t>600 mg/ km NOx</a:t>
              </a:r>
              <a:endParaRPr lang="en-US" altLang="de-DE" sz="1000" b="0" i="1" dirty="0">
                <a:latin typeface="+mn-lt"/>
              </a:endParaRPr>
            </a:p>
          </p:txBody>
        </p:sp>
      </p:grpSp>
      <p:grpSp>
        <p:nvGrpSpPr>
          <p:cNvPr id="36" name="Gruppieren 20"/>
          <p:cNvGrpSpPr>
            <a:grpSpLocks/>
          </p:cNvGrpSpPr>
          <p:nvPr/>
        </p:nvGrpSpPr>
        <p:grpSpPr bwMode="auto">
          <a:xfrm>
            <a:off x="2460178" y="1732609"/>
            <a:ext cx="3505201" cy="3118991"/>
            <a:chOff x="5868142" y="1898310"/>
            <a:chExt cx="3852330" cy="3891144"/>
          </a:xfrm>
        </p:grpSpPr>
        <p:pic>
          <p:nvPicPr>
            <p:cNvPr id="37" name="Picture 7" descr="http://alternatewrites.com/wp-content/uploads/2012/06/post-it-note-with-a-pin.jpg"/>
            <p:cNvPicPr>
              <a:picLocks noChangeAspect="1" noChangeArrowheads="1"/>
            </p:cNvPicPr>
            <p:nvPr/>
          </p:nvPicPr>
          <p:blipFill rotWithShape="1">
            <a:blip r:embed="rId5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478" t="3989" r="2994" b="3295"/>
            <a:stretch/>
          </p:blipFill>
          <p:spPr bwMode="auto">
            <a:xfrm>
              <a:off x="5868142" y="1898310"/>
              <a:ext cx="3852330" cy="3891144"/>
            </a:xfrm>
            <a:prstGeom prst="rect">
              <a:avLst/>
            </a:prstGeom>
            <a:noFill/>
            <a:scene3d>
              <a:camera prst="orthographicFront">
                <a:rot lat="0" lon="1080000" rev="0"/>
              </a:camera>
              <a:lightRig rig="threePt" dir="t"/>
            </a:scene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8" name="Textfeld 15"/>
            <p:cNvSpPr txBox="1">
              <a:spLocks noChangeArrowheads="1"/>
            </p:cNvSpPr>
            <p:nvPr/>
          </p:nvSpPr>
          <p:spPr bwMode="auto">
            <a:xfrm rot="21348083">
              <a:off x="7134900" y="2787655"/>
              <a:ext cx="1120237" cy="4096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rIns="90000">
              <a:spAutoFit/>
            </a:bodyPr>
            <a:lstStyle>
              <a:lvl1pPr eaLnBrk="0" hangingPunct="0">
                <a:spcAft>
                  <a:spcPts val="600"/>
                </a:spcAft>
                <a:defRPr sz="1400" b="1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eaLnBrk="0" hangingPunct="0">
                <a:spcAft>
                  <a:spcPts val="600"/>
                </a:spcAft>
                <a:buClr>
                  <a:schemeClr val="tx2"/>
                </a:buClr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eaLnBrk="0" hangingPunct="0">
                <a:spcAft>
                  <a:spcPts val="600"/>
                </a:spcAft>
                <a:buClr>
                  <a:schemeClr val="tx2"/>
                </a:buClr>
                <a:buFont typeface="Symbol" pitchFamily="18" charset="2"/>
                <a:buChar char="-"/>
                <a:defRPr sz="1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eaLnBrk="0" hangingPunct="0">
                <a:spcAft>
                  <a:spcPts val="600"/>
                </a:spcAft>
                <a:buClr>
                  <a:schemeClr val="tx2"/>
                </a:buClr>
                <a:buFont typeface="Symbol" pitchFamily="18" charset="2"/>
                <a:buChar char="-"/>
                <a:defRPr sz="14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eaLnBrk="0" hangingPunct="0">
                <a:spcAft>
                  <a:spcPts val="600"/>
                </a:spcAft>
                <a:buClr>
                  <a:schemeClr val="tx2"/>
                </a:buClr>
                <a:buFont typeface="Arial" charset="0"/>
                <a:buChar char="»"/>
                <a:defRPr sz="14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Font typeface="Arial" charset="0"/>
                <a:buChar char="»"/>
                <a:defRPr sz="14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Font typeface="Arial" charset="0"/>
                <a:buChar char="»"/>
                <a:defRPr sz="14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Font typeface="Arial" charset="0"/>
                <a:buChar char="»"/>
                <a:defRPr sz="14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Font typeface="Arial" charset="0"/>
                <a:buChar char="»"/>
                <a:defRPr sz="14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eaLnBrk="1" hangingPunct="1"/>
              <a:r>
                <a:rPr lang="en-US" altLang="de-DE" i="1" dirty="0" smtClean="0">
                  <a:latin typeface="+mn-lt"/>
                </a:rPr>
                <a:t>EU COM</a:t>
              </a:r>
              <a:endParaRPr lang="en-US" altLang="de-DE" i="1" dirty="0">
                <a:latin typeface="+mn-lt"/>
              </a:endParaRPr>
            </a:p>
          </p:txBody>
        </p:sp>
        <p:sp>
          <p:nvSpPr>
            <p:cNvPr id="39" name="Textfeld 17"/>
            <p:cNvSpPr txBox="1">
              <a:spLocks noChangeArrowheads="1"/>
            </p:cNvSpPr>
            <p:nvPr/>
          </p:nvSpPr>
          <p:spPr bwMode="auto">
            <a:xfrm rot="21348083">
              <a:off x="6434897" y="3072536"/>
              <a:ext cx="2830350" cy="24445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36000" rIns="36000">
              <a:spAutoFit/>
            </a:bodyPr>
            <a:lstStyle>
              <a:lvl1pPr eaLnBrk="0" hangingPunct="0">
                <a:spcAft>
                  <a:spcPts val="600"/>
                </a:spcAft>
                <a:defRPr sz="1400" b="1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eaLnBrk="0" hangingPunct="0">
                <a:spcAft>
                  <a:spcPts val="600"/>
                </a:spcAft>
                <a:buClr>
                  <a:schemeClr val="tx2"/>
                </a:buClr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eaLnBrk="0" hangingPunct="0">
                <a:spcAft>
                  <a:spcPts val="600"/>
                </a:spcAft>
                <a:buClr>
                  <a:schemeClr val="tx2"/>
                </a:buClr>
                <a:buFont typeface="Symbol" pitchFamily="18" charset="2"/>
                <a:buChar char="-"/>
                <a:defRPr sz="1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eaLnBrk="0" hangingPunct="0">
                <a:spcAft>
                  <a:spcPts val="600"/>
                </a:spcAft>
                <a:buClr>
                  <a:schemeClr val="tx2"/>
                </a:buClr>
                <a:buFont typeface="Symbol" pitchFamily="18" charset="2"/>
                <a:buChar char="-"/>
                <a:defRPr sz="14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eaLnBrk="0" hangingPunct="0">
                <a:spcAft>
                  <a:spcPts val="600"/>
                </a:spcAft>
                <a:buClr>
                  <a:schemeClr val="tx2"/>
                </a:buClr>
                <a:buFont typeface="Arial" charset="0"/>
                <a:buChar char="»"/>
                <a:defRPr sz="14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Font typeface="Arial" charset="0"/>
                <a:buChar char="»"/>
                <a:defRPr sz="14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Font typeface="Arial" charset="0"/>
                <a:buChar char="»"/>
                <a:defRPr sz="14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Font typeface="Arial" charset="0"/>
                <a:buChar char="»"/>
                <a:defRPr sz="14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Font typeface="Arial" charset="0"/>
                <a:buChar char="»"/>
                <a:defRPr sz="14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marL="92075" indent="-92075" eaLnBrk="1" hangingPunct="1">
                <a:lnSpc>
                  <a:spcPts val="1700"/>
                </a:lnSpc>
                <a:spcAft>
                  <a:spcPts val="0"/>
                </a:spcAft>
                <a:buClr>
                  <a:schemeClr val="bg2"/>
                </a:buClr>
                <a:buFont typeface="Wingdings" panose="05000000000000000000" pitchFamily="2" charset="2"/>
                <a:buChar char="§"/>
              </a:pPr>
              <a:r>
                <a:rPr lang="en-US" altLang="de-DE" sz="1000" b="0" i="1" dirty="0" smtClean="0">
                  <a:latin typeface="+mn-lt"/>
                </a:rPr>
                <a:t>Interservice consultation started on basis Version A (v11) without compromises</a:t>
              </a:r>
            </a:p>
            <a:p>
              <a:pPr marL="285750" indent="-109538" eaLnBrk="1" hangingPunct="1">
                <a:lnSpc>
                  <a:spcPts val="1700"/>
                </a:lnSpc>
                <a:spcAft>
                  <a:spcPts val="0"/>
                </a:spcAft>
                <a:buClr>
                  <a:schemeClr val="bg2"/>
                </a:buClr>
                <a:buFont typeface="Wingdings" pitchFamily="2" charset="2"/>
                <a:buChar char="à"/>
              </a:pPr>
              <a:r>
                <a:rPr lang="en-US" altLang="de-DE" sz="1000" b="0" i="1" dirty="0" smtClean="0">
                  <a:latin typeface="+mn-lt"/>
                </a:rPr>
                <a:t>Step 1: 2017/2018</a:t>
              </a:r>
            </a:p>
            <a:p>
              <a:pPr marL="285750" indent="-109538" eaLnBrk="1" hangingPunct="1">
                <a:lnSpc>
                  <a:spcPts val="1700"/>
                </a:lnSpc>
                <a:spcAft>
                  <a:spcPts val="0"/>
                </a:spcAft>
                <a:buClr>
                  <a:schemeClr val="bg2"/>
                </a:buClr>
                <a:buFont typeface="Wingdings" pitchFamily="2" charset="2"/>
                <a:buChar char="à"/>
              </a:pPr>
              <a:r>
                <a:rPr lang="en-US" altLang="de-DE" sz="1000" b="0" i="1" dirty="0" smtClean="0">
                  <a:latin typeface="+mn-lt"/>
                </a:rPr>
                <a:t>CF: 1 ÷ 2</a:t>
              </a:r>
            </a:p>
            <a:p>
              <a:pPr marL="285750" indent="-109538" eaLnBrk="1" hangingPunct="1">
                <a:lnSpc>
                  <a:spcPts val="1700"/>
                </a:lnSpc>
                <a:spcAft>
                  <a:spcPts val="0"/>
                </a:spcAft>
                <a:buClr>
                  <a:schemeClr val="bg2"/>
                </a:buClr>
                <a:buFont typeface="Wingdings" pitchFamily="2" charset="2"/>
                <a:buChar char="à"/>
              </a:pPr>
              <a:r>
                <a:rPr lang="en-US" altLang="de-DE" sz="1000" b="0" i="1" dirty="0" smtClean="0">
                  <a:latin typeface="+mn-lt"/>
                </a:rPr>
                <a:t>No Dynamic BC‘s</a:t>
              </a:r>
            </a:p>
            <a:p>
              <a:pPr marL="92075" indent="-92075" eaLnBrk="1" hangingPunct="1">
                <a:lnSpc>
                  <a:spcPts val="1700"/>
                </a:lnSpc>
                <a:spcAft>
                  <a:spcPts val="0"/>
                </a:spcAft>
                <a:buClr>
                  <a:schemeClr val="bg2"/>
                </a:buClr>
                <a:buFont typeface="Wingdings" panose="05000000000000000000" pitchFamily="2" charset="2"/>
                <a:buChar char="§"/>
              </a:pPr>
              <a:r>
                <a:rPr lang="en-US" altLang="de-DE" sz="1000" b="0" i="1" dirty="0" smtClean="0">
                  <a:latin typeface="+mn-lt"/>
                </a:rPr>
                <a:t>Hardliner commissionaire DG ENV and…?!</a:t>
              </a:r>
              <a:endParaRPr lang="en-US" altLang="de-DE" sz="1000" b="0" i="1" dirty="0">
                <a:latin typeface="+mn-lt"/>
              </a:endParaRPr>
            </a:p>
          </p:txBody>
        </p:sp>
      </p:grpSp>
      <p:grpSp>
        <p:nvGrpSpPr>
          <p:cNvPr id="47" name="Gruppieren 20"/>
          <p:cNvGrpSpPr>
            <a:grpSpLocks/>
          </p:cNvGrpSpPr>
          <p:nvPr/>
        </p:nvGrpSpPr>
        <p:grpSpPr bwMode="auto">
          <a:xfrm>
            <a:off x="354304" y="3116978"/>
            <a:ext cx="2065899" cy="1835677"/>
            <a:chOff x="5868144" y="1898311"/>
            <a:chExt cx="3351266" cy="2948529"/>
          </a:xfrm>
        </p:grpSpPr>
        <p:pic>
          <p:nvPicPr>
            <p:cNvPr id="48" name="Picture 7" descr="http://alternatewrites.com/wp-content/uploads/2012/06/post-it-note-with-a-pin.jpg"/>
            <p:cNvPicPr>
              <a:picLocks noChangeAspect="1" noChangeArrowheads="1"/>
            </p:cNvPicPr>
            <p:nvPr/>
          </p:nvPicPr>
          <p:blipFill rotWithShape="1">
            <a:blip r:embed="rId5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478" t="3989" r="2994" b="3295"/>
            <a:stretch/>
          </p:blipFill>
          <p:spPr bwMode="auto">
            <a:xfrm>
              <a:off x="5868144" y="1898311"/>
              <a:ext cx="3351266" cy="2948529"/>
            </a:xfrm>
            <a:prstGeom prst="rect">
              <a:avLst/>
            </a:prstGeom>
            <a:noFill/>
            <a:scene3d>
              <a:camera prst="orthographicFront">
                <a:rot lat="0" lon="1080000" rev="0"/>
              </a:camera>
              <a:lightRig rig="threePt" dir="t"/>
            </a:scene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9" name="Textfeld 15"/>
            <p:cNvSpPr txBox="1">
              <a:spLocks noChangeArrowheads="1"/>
            </p:cNvSpPr>
            <p:nvPr/>
          </p:nvSpPr>
          <p:spPr bwMode="auto">
            <a:xfrm rot="21348083">
              <a:off x="6605692" y="2590624"/>
              <a:ext cx="1872079" cy="5671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rIns="90000">
              <a:spAutoFit/>
            </a:bodyPr>
            <a:lstStyle>
              <a:lvl1pPr eaLnBrk="0" hangingPunct="0">
                <a:spcAft>
                  <a:spcPts val="600"/>
                </a:spcAft>
                <a:defRPr sz="1400" b="1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eaLnBrk="0" hangingPunct="0">
                <a:spcAft>
                  <a:spcPts val="600"/>
                </a:spcAft>
                <a:buClr>
                  <a:schemeClr val="tx2"/>
                </a:buClr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eaLnBrk="0" hangingPunct="0">
                <a:spcAft>
                  <a:spcPts val="600"/>
                </a:spcAft>
                <a:buClr>
                  <a:schemeClr val="tx2"/>
                </a:buClr>
                <a:buFont typeface="Symbol" pitchFamily="18" charset="2"/>
                <a:buChar char="-"/>
                <a:defRPr sz="1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eaLnBrk="0" hangingPunct="0">
                <a:spcAft>
                  <a:spcPts val="600"/>
                </a:spcAft>
                <a:buClr>
                  <a:schemeClr val="tx2"/>
                </a:buClr>
                <a:buFont typeface="Symbol" pitchFamily="18" charset="2"/>
                <a:buChar char="-"/>
                <a:defRPr sz="14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eaLnBrk="0" hangingPunct="0">
                <a:spcAft>
                  <a:spcPts val="600"/>
                </a:spcAft>
                <a:buClr>
                  <a:schemeClr val="tx2"/>
                </a:buClr>
                <a:buFont typeface="Arial" charset="0"/>
                <a:buChar char="»"/>
                <a:defRPr sz="14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Font typeface="Arial" charset="0"/>
                <a:buChar char="»"/>
                <a:defRPr sz="14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Font typeface="Arial" charset="0"/>
                <a:buChar char="»"/>
                <a:defRPr sz="14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Font typeface="Arial" charset="0"/>
                <a:buChar char="»"/>
                <a:defRPr sz="14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Font typeface="Arial" charset="0"/>
                <a:buChar char="»"/>
                <a:defRPr sz="14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eaLnBrk="1" hangingPunct="1"/>
              <a:r>
                <a:rPr lang="en-US" altLang="de-DE" i="1" dirty="0" smtClean="0">
                  <a:latin typeface="+mn-lt"/>
                </a:rPr>
                <a:t>DG ENV </a:t>
              </a:r>
              <a:endParaRPr lang="en-US" altLang="de-DE" i="1" dirty="0">
                <a:latin typeface="+mn-lt"/>
              </a:endParaRPr>
            </a:p>
          </p:txBody>
        </p:sp>
        <p:sp>
          <p:nvSpPr>
            <p:cNvPr id="50" name="Textfeld 17"/>
            <p:cNvSpPr txBox="1">
              <a:spLocks noChangeArrowheads="1"/>
            </p:cNvSpPr>
            <p:nvPr/>
          </p:nvSpPr>
          <p:spPr bwMode="auto">
            <a:xfrm rot="21348083">
              <a:off x="6200623" y="3092555"/>
              <a:ext cx="2813610" cy="13043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rIns="90000">
              <a:spAutoFit/>
            </a:bodyPr>
            <a:lstStyle>
              <a:lvl1pPr eaLnBrk="0" hangingPunct="0">
                <a:spcAft>
                  <a:spcPts val="600"/>
                </a:spcAft>
                <a:defRPr sz="1400" b="1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eaLnBrk="0" hangingPunct="0">
                <a:spcAft>
                  <a:spcPts val="600"/>
                </a:spcAft>
                <a:buClr>
                  <a:schemeClr val="tx2"/>
                </a:buClr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eaLnBrk="0" hangingPunct="0">
                <a:spcAft>
                  <a:spcPts val="600"/>
                </a:spcAft>
                <a:buClr>
                  <a:schemeClr val="tx2"/>
                </a:buClr>
                <a:buFont typeface="Symbol" pitchFamily="18" charset="2"/>
                <a:buChar char="-"/>
                <a:defRPr sz="1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eaLnBrk="0" hangingPunct="0">
                <a:spcAft>
                  <a:spcPts val="600"/>
                </a:spcAft>
                <a:buClr>
                  <a:schemeClr val="tx2"/>
                </a:buClr>
                <a:buFont typeface="Symbol" pitchFamily="18" charset="2"/>
                <a:buChar char="-"/>
                <a:defRPr sz="14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eaLnBrk="0" hangingPunct="0">
                <a:spcAft>
                  <a:spcPts val="600"/>
                </a:spcAft>
                <a:buClr>
                  <a:schemeClr val="tx2"/>
                </a:buClr>
                <a:buFont typeface="Arial" charset="0"/>
                <a:buChar char="»"/>
                <a:defRPr sz="14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Font typeface="Arial" charset="0"/>
                <a:buChar char="»"/>
                <a:defRPr sz="14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Font typeface="Arial" charset="0"/>
                <a:buChar char="»"/>
                <a:defRPr sz="14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Font typeface="Arial" charset="0"/>
                <a:buChar char="»"/>
                <a:defRPr sz="14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Font typeface="Arial" charset="0"/>
                <a:buChar char="»"/>
                <a:defRPr sz="14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algn="ctr" eaLnBrk="1" hangingPunct="1"/>
              <a:r>
                <a:rPr lang="en-US" altLang="de-DE" sz="1000" b="0" i="1" dirty="0" smtClean="0">
                  <a:latin typeface="+mn-lt"/>
                </a:rPr>
                <a:t>Project EULES:</a:t>
              </a:r>
            </a:p>
            <a:p>
              <a:pPr algn="ctr" eaLnBrk="1" hangingPunct="1"/>
              <a:r>
                <a:rPr lang="en-US" altLang="de-DE" sz="1000" b="0" i="1" dirty="0" smtClean="0">
                  <a:latin typeface="+mn-lt"/>
                </a:rPr>
                <a:t>CF = 0,9*EU6 (NOx)</a:t>
              </a:r>
            </a:p>
            <a:p>
              <a:pPr algn="ctr" eaLnBrk="1" hangingPunct="1"/>
              <a:r>
                <a:rPr lang="en-US" altLang="de-DE" sz="1000" b="0" i="1" dirty="0">
                  <a:latin typeface="+mn-lt"/>
                </a:rPr>
                <a:t>r</a:t>
              </a:r>
              <a:r>
                <a:rPr lang="en-US" altLang="de-DE" sz="1000" b="0" i="1" dirty="0" smtClean="0">
                  <a:latin typeface="+mn-lt"/>
                </a:rPr>
                <a:t>eal world driving </a:t>
              </a:r>
              <a:endParaRPr lang="en-US" altLang="de-DE" sz="1000" b="0" i="1" dirty="0">
                <a:latin typeface="+mn-lt"/>
              </a:endParaRPr>
            </a:p>
          </p:txBody>
        </p:sp>
      </p:grpSp>
      <p:grpSp>
        <p:nvGrpSpPr>
          <p:cNvPr id="52" name="Gruppieren 20"/>
          <p:cNvGrpSpPr>
            <a:grpSpLocks/>
          </p:cNvGrpSpPr>
          <p:nvPr/>
        </p:nvGrpSpPr>
        <p:grpSpPr bwMode="auto">
          <a:xfrm>
            <a:off x="3002988" y="4861378"/>
            <a:ext cx="2178612" cy="1691822"/>
            <a:chOff x="5868144" y="1898311"/>
            <a:chExt cx="4023940" cy="3117352"/>
          </a:xfrm>
        </p:grpSpPr>
        <p:pic>
          <p:nvPicPr>
            <p:cNvPr id="53" name="Picture 7" descr="http://alternatewrites.com/wp-content/uploads/2012/06/post-it-note-with-a-pin.jpg"/>
            <p:cNvPicPr>
              <a:picLocks noChangeAspect="1" noChangeArrowheads="1"/>
            </p:cNvPicPr>
            <p:nvPr/>
          </p:nvPicPr>
          <p:blipFill rotWithShape="1">
            <a:blip r:embed="rId5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478" t="3989" r="2994" b="3295"/>
            <a:stretch/>
          </p:blipFill>
          <p:spPr bwMode="auto">
            <a:xfrm>
              <a:off x="5868144" y="1898311"/>
              <a:ext cx="4023940" cy="3117352"/>
            </a:xfrm>
            <a:prstGeom prst="rect">
              <a:avLst/>
            </a:prstGeom>
            <a:noFill/>
            <a:scene3d>
              <a:camera prst="orthographicFront">
                <a:rot lat="0" lon="1080000" rev="0"/>
              </a:camera>
              <a:lightRig rig="threePt" dir="t"/>
            </a:scene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4" name="Textfeld 15"/>
            <p:cNvSpPr txBox="1">
              <a:spLocks noChangeArrowheads="1"/>
            </p:cNvSpPr>
            <p:nvPr/>
          </p:nvSpPr>
          <p:spPr bwMode="auto">
            <a:xfrm rot="21348083">
              <a:off x="6208426" y="2591812"/>
              <a:ext cx="3337665" cy="8790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rIns="90000">
              <a:spAutoFit/>
            </a:bodyPr>
            <a:lstStyle>
              <a:lvl1pPr eaLnBrk="0" hangingPunct="0">
                <a:spcAft>
                  <a:spcPts val="600"/>
                </a:spcAft>
                <a:defRPr sz="1400" b="1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eaLnBrk="0" hangingPunct="0">
                <a:spcAft>
                  <a:spcPts val="600"/>
                </a:spcAft>
                <a:buClr>
                  <a:schemeClr val="tx2"/>
                </a:buClr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eaLnBrk="0" hangingPunct="0">
                <a:spcAft>
                  <a:spcPts val="600"/>
                </a:spcAft>
                <a:buClr>
                  <a:schemeClr val="tx2"/>
                </a:buClr>
                <a:buFont typeface="Symbol" pitchFamily="18" charset="2"/>
                <a:buChar char="-"/>
                <a:defRPr sz="1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eaLnBrk="0" hangingPunct="0">
                <a:spcAft>
                  <a:spcPts val="600"/>
                </a:spcAft>
                <a:buClr>
                  <a:schemeClr val="tx2"/>
                </a:buClr>
                <a:buFont typeface="Symbol" pitchFamily="18" charset="2"/>
                <a:buChar char="-"/>
                <a:defRPr sz="14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eaLnBrk="0" hangingPunct="0">
                <a:spcAft>
                  <a:spcPts val="600"/>
                </a:spcAft>
                <a:buClr>
                  <a:schemeClr val="tx2"/>
                </a:buClr>
                <a:buFont typeface="Arial" charset="0"/>
                <a:buChar char="»"/>
                <a:defRPr sz="14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Font typeface="Arial" charset="0"/>
                <a:buChar char="»"/>
                <a:defRPr sz="14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Font typeface="Arial" charset="0"/>
                <a:buChar char="»"/>
                <a:defRPr sz="14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Font typeface="Arial" charset="0"/>
                <a:buChar char="»"/>
                <a:defRPr sz="14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Font typeface="Arial" charset="0"/>
                <a:buChar char="»"/>
                <a:defRPr sz="14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eaLnBrk="1" hangingPunct="1">
                <a:lnSpc>
                  <a:spcPts val="1500"/>
                </a:lnSpc>
                <a:spcAft>
                  <a:spcPts val="0"/>
                </a:spcAft>
              </a:pPr>
              <a:r>
                <a:rPr lang="en-US" altLang="de-DE" i="1" dirty="0" smtClean="0">
                  <a:latin typeface="+mn-lt"/>
                </a:rPr>
                <a:t>London*/ Paris </a:t>
              </a:r>
            </a:p>
            <a:p>
              <a:pPr eaLnBrk="1" hangingPunct="1">
                <a:lnSpc>
                  <a:spcPts val="1500"/>
                </a:lnSpc>
                <a:spcAft>
                  <a:spcPts val="0"/>
                </a:spcAft>
              </a:pPr>
              <a:r>
                <a:rPr lang="de-DE" altLang="de-DE" i="1" dirty="0" smtClean="0">
                  <a:latin typeface="+mn-lt"/>
                </a:rPr>
                <a:t>Investigation</a:t>
              </a:r>
              <a:endParaRPr lang="en-US" altLang="de-DE" i="1" dirty="0">
                <a:latin typeface="+mn-lt"/>
              </a:endParaRPr>
            </a:p>
          </p:txBody>
        </p:sp>
        <p:sp>
          <p:nvSpPr>
            <p:cNvPr id="55" name="Textfeld 17"/>
            <p:cNvSpPr txBox="1">
              <a:spLocks noChangeArrowheads="1"/>
            </p:cNvSpPr>
            <p:nvPr/>
          </p:nvSpPr>
          <p:spPr bwMode="auto">
            <a:xfrm rot="21348083">
              <a:off x="6746330" y="3477200"/>
              <a:ext cx="2194803" cy="8790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rIns="90000">
              <a:spAutoFit/>
            </a:bodyPr>
            <a:lstStyle>
              <a:lvl1pPr eaLnBrk="0" hangingPunct="0">
                <a:spcAft>
                  <a:spcPts val="600"/>
                </a:spcAft>
                <a:defRPr sz="1400" b="1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eaLnBrk="0" hangingPunct="0">
                <a:spcAft>
                  <a:spcPts val="600"/>
                </a:spcAft>
                <a:buClr>
                  <a:schemeClr val="tx2"/>
                </a:buClr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eaLnBrk="0" hangingPunct="0">
                <a:spcAft>
                  <a:spcPts val="600"/>
                </a:spcAft>
                <a:buClr>
                  <a:schemeClr val="tx2"/>
                </a:buClr>
                <a:buFont typeface="Symbol" pitchFamily="18" charset="2"/>
                <a:buChar char="-"/>
                <a:defRPr sz="1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eaLnBrk="0" hangingPunct="0">
                <a:spcAft>
                  <a:spcPts val="600"/>
                </a:spcAft>
                <a:buClr>
                  <a:schemeClr val="tx2"/>
                </a:buClr>
                <a:buFont typeface="Symbol" pitchFamily="18" charset="2"/>
                <a:buChar char="-"/>
                <a:defRPr sz="14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eaLnBrk="0" hangingPunct="0">
                <a:spcAft>
                  <a:spcPts val="600"/>
                </a:spcAft>
                <a:buClr>
                  <a:schemeClr val="tx2"/>
                </a:buClr>
                <a:buFont typeface="Arial" charset="0"/>
                <a:buChar char="»"/>
                <a:defRPr sz="14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Font typeface="Arial" charset="0"/>
                <a:buChar char="»"/>
                <a:defRPr sz="14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Font typeface="Arial" charset="0"/>
                <a:buChar char="»"/>
                <a:defRPr sz="14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Font typeface="Arial" charset="0"/>
                <a:buChar char="»"/>
                <a:defRPr sz="14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Font typeface="Arial" charset="0"/>
                <a:buChar char="»"/>
                <a:defRPr sz="14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algn="ctr" eaLnBrk="1" hangingPunct="1"/>
              <a:r>
                <a:rPr lang="en-US" altLang="de-DE" sz="1000" b="0" i="1" dirty="0" smtClean="0">
                  <a:latin typeface="+mn-lt"/>
                </a:rPr>
                <a:t>Banning Diesel </a:t>
              </a:r>
            </a:p>
            <a:p>
              <a:pPr algn="ctr" eaLnBrk="1" hangingPunct="1"/>
              <a:r>
                <a:rPr lang="en-US" altLang="de-DE" sz="1000" b="0" i="1" dirty="0" smtClean="0">
                  <a:latin typeface="+mn-lt"/>
                </a:rPr>
                <a:t>from inner city</a:t>
              </a:r>
              <a:endParaRPr lang="en-US" altLang="de-DE" sz="1000" b="0" i="1" dirty="0">
                <a:latin typeface="+mn-lt"/>
              </a:endParaRPr>
            </a:p>
          </p:txBody>
        </p:sp>
      </p:grpSp>
      <p:sp>
        <p:nvSpPr>
          <p:cNvPr id="56" name="Textfeld 15"/>
          <p:cNvSpPr txBox="1">
            <a:spLocks noChangeArrowheads="1"/>
          </p:cNvSpPr>
          <p:nvPr/>
        </p:nvSpPr>
        <p:spPr bwMode="auto">
          <a:xfrm>
            <a:off x="5900058" y="1513114"/>
            <a:ext cx="3009900" cy="954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Ins="90000">
            <a:spAutoFit/>
          </a:bodyPr>
          <a:lstStyle>
            <a:lvl1pPr eaLnBrk="0" hangingPunct="0">
              <a:spcAft>
                <a:spcPts val="600"/>
              </a:spcAft>
              <a:defRPr sz="1400" b="1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Aft>
                <a:spcPts val="600"/>
              </a:spcAft>
              <a:buClr>
                <a:schemeClr val="tx2"/>
              </a:buClr>
              <a:buFont typeface="Symbol" pitchFamily="18" charset="2"/>
              <a:buChar char="-"/>
              <a:defRPr sz="1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Aft>
                <a:spcPts val="600"/>
              </a:spcAft>
              <a:buClr>
                <a:schemeClr val="tx2"/>
              </a:buClr>
              <a:buFont typeface="Symbol" pitchFamily="18" charset="2"/>
              <a:buChar char="-"/>
              <a:defRPr sz="14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Aft>
                <a:spcPts val="600"/>
              </a:spcAft>
              <a:buClr>
                <a:schemeClr val="tx2"/>
              </a:buClr>
              <a:buFont typeface="Arial" charset="0"/>
              <a:buChar char="»"/>
              <a:defRPr sz="14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Font typeface="Arial" charset="0"/>
              <a:buChar char="»"/>
              <a:defRPr sz="14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Font typeface="Arial" charset="0"/>
              <a:buChar char="»"/>
              <a:defRPr sz="14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Font typeface="Arial" charset="0"/>
              <a:buChar char="»"/>
              <a:defRPr sz="14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Font typeface="Arial" charset="0"/>
              <a:buChar char="»"/>
              <a:defRPr sz="1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spcAft>
                <a:spcPts val="0"/>
              </a:spcAft>
            </a:pPr>
            <a:r>
              <a:rPr lang="en-US" altLang="de-DE" i="1" dirty="0">
                <a:latin typeface="+mn-lt"/>
              </a:rPr>
              <a:t>36th INTERNATIONAL </a:t>
            </a:r>
            <a:endParaRPr lang="en-US" altLang="de-DE" i="1" dirty="0" smtClean="0">
              <a:latin typeface="+mn-lt"/>
            </a:endParaRPr>
          </a:p>
          <a:p>
            <a:pPr algn="ctr" eaLnBrk="1" hangingPunct="1">
              <a:spcAft>
                <a:spcPts val="0"/>
              </a:spcAft>
            </a:pPr>
            <a:endParaRPr lang="en-US" altLang="de-DE" i="1" dirty="0" smtClean="0">
              <a:latin typeface="+mn-lt"/>
            </a:endParaRPr>
          </a:p>
          <a:p>
            <a:pPr algn="ctr" eaLnBrk="1" hangingPunct="1">
              <a:spcAft>
                <a:spcPts val="0"/>
              </a:spcAft>
            </a:pPr>
            <a:r>
              <a:rPr lang="en-US" altLang="de-DE" i="1" dirty="0" smtClean="0">
                <a:latin typeface="+mn-lt"/>
              </a:rPr>
              <a:t>VIENNA MOTOR SYMPOSIUM (05/2015)</a:t>
            </a:r>
            <a:endParaRPr lang="en-US" altLang="de-DE" i="1" dirty="0">
              <a:latin typeface="+mn-lt"/>
            </a:endParaRPr>
          </a:p>
        </p:txBody>
      </p:sp>
      <p:sp>
        <p:nvSpPr>
          <p:cNvPr id="57" name="Textfeld 17"/>
          <p:cNvSpPr txBox="1">
            <a:spLocks noChangeArrowheads="1"/>
          </p:cNvSpPr>
          <p:nvPr/>
        </p:nvSpPr>
        <p:spPr bwMode="auto">
          <a:xfrm>
            <a:off x="6006748" y="2366554"/>
            <a:ext cx="2903210" cy="40164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36000" rIns="36000">
            <a:spAutoFit/>
          </a:bodyPr>
          <a:lstStyle>
            <a:lvl1pPr eaLnBrk="0" hangingPunct="0">
              <a:spcAft>
                <a:spcPts val="600"/>
              </a:spcAft>
              <a:defRPr sz="1400" b="1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Aft>
                <a:spcPts val="600"/>
              </a:spcAft>
              <a:buClr>
                <a:schemeClr val="tx2"/>
              </a:buClr>
              <a:buFont typeface="Symbol" pitchFamily="18" charset="2"/>
              <a:buChar char="-"/>
              <a:defRPr sz="1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Aft>
                <a:spcPts val="600"/>
              </a:spcAft>
              <a:buClr>
                <a:schemeClr val="tx2"/>
              </a:buClr>
              <a:buFont typeface="Symbol" pitchFamily="18" charset="2"/>
              <a:buChar char="-"/>
              <a:defRPr sz="14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Aft>
                <a:spcPts val="600"/>
              </a:spcAft>
              <a:buClr>
                <a:schemeClr val="tx2"/>
              </a:buClr>
              <a:buFont typeface="Arial" charset="0"/>
              <a:buChar char="»"/>
              <a:defRPr sz="14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Font typeface="Arial" charset="0"/>
              <a:buChar char="»"/>
              <a:defRPr sz="14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Font typeface="Arial" charset="0"/>
              <a:buChar char="»"/>
              <a:defRPr sz="14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Font typeface="Arial" charset="0"/>
              <a:buChar char="»"/>
              <a:defRPr sz="14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Font typeface="Arial" charset="0"/>
              <a:buChar char="»"/>
              <a:defRPr sz="1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92075" indent="-92075" eaLnBrk="1" hangingPunct="1">
              <a:lnSpc>
                <a:spcPts val="1700"/>
              </a:lnSpc>
              <a:spcAft>
                <a:spcPts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altLang="de-DE" sz="900" b="0" dirty="0">
                <a:latin typeface="+mn-lt"/>
              </a:rPr>
              <a:t>IET - Institute for Energy and Transport, </a:t>
            </a:r>
            <a:r>
              <a:rPr lang="en-US" altLang="de-DE" sz="900" b="0" dirty="0" smtClean="0">
                <a:latin typeface="+mn-lt"/>
              </a:rPr>
              <a:t>Ispra</a:t>
            </a:r>
            <a:r>
              <a:rPr lang="en-US" altLang="de-DE" sz="900" b="0" dirty="0">
                <a:latin typeface="+mn-lt"/>
              </a:rPr>
              <a:t>: </a:t>
            </a:r>
            <a:r>
              <a:rPr lang="en-US" altLang="de-DE" sz="900" i="1" dirty="0">
                <a:latin typeface="+mn-lt"/>
              </a:rPr>
              <a:t>Evaluating Vehicles Real-Driving Emissions Performance: A Challenge for the Emissions Control </a:t>
            </a:r>
            <a:r>
              <a:rPr lang="en-US" altLang="de-DE" sz="900" i="1" dirty="0" smtClean="0">
                <a:latin typeface="+mn-lt"/>
              </a:rPr>
              <a:t>Legislation</a:t>
            </a:r>
          </a:p>
          <a:p>
            <a:pPr marL="92075" indent="-92075" eaLnBrk="1" hangingPunct="1">
              <a:lnSpc>
                <a:spcPts val="1700"/>
              </a:lnSpc>
              <a:spcAft>
                <a:spcPts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de-DE" altLang="de-DE" sz="900" i="1" dirty="0">
                <a:latin typeface="+mn-lt"/>
              </a:rPr>
              <a:t> </a:t>
            </a:r>
            <a:r>
              <a:rPr lang="en-US" sz="900" b="0" dirty="0">
                <a:latin typeface="+mn-lt"/>
              </a:rPr>
              <a:t>APL Landau </a:t>
            </a:r>
            <a:r>
              <a:rPr lang="en-US" sz="900" b="0" dirty="0" smtClean="0">
                <a:latin typeface="+mn-lt"/>
              </a:rPr>
              <a:t>&amp; IAVF Karlsruhe, MOT Karlsruhe:</a:t>
            </a:r>
            <a:r>
              <a:rPr lang="en-US" sz="900" b="0" dirty="0">
                <a:latin typeface="+mn-lt"/>
              </a:rPr>
              <a:t/>
            </a:r>
            <a:br>
              <a:rPr lang="en-US" sz="900" b="0" dirty="0">
                <a:latin typeface="+mn-lt"/>
              </a:rPr>
            </a:br>
            <a:r>
              <a:rPr lang="en-US" sz="900" i="1" dirty="0">
                <a:latin typeface="+mn-lt"/>
              </a:rPr>
              <a:t>Methods for the Development of a RDE-Capable </a:t>
            </a:r>
            <a:r>
              <a:rPr lang="en-US" sz="900" i="1" dirty="0" smtClean="0">
                <a:latin typeface="+mn-lt"/>
              </a:rPr>
              <a:t>Powertrain</a:t>
            </a:r>
          </a:p>
          <a:p>
            <a:pPr marL="92075" indent="-92075" eaLnBrk="1" hangingPunct="1">
              <a:lnSpc>
                <a:spcPts val="1700"/>
              </a:lnSpc>
              <a:spcAft>
                <a:spcPts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de-DE" altLang="de-DE" sz="900" i="1" dirty="0">
                <a:latin typeface="+mn-lt"/>
              </a:rPr>
              <a:t> </a:t>
            </a:r>
            <a:r>
              <a:rPr lang="en-US" sz="900" b="0" dirty="0">
                <a:latin typeface="+mn-lt"/>
              </a:rPr>
              <a:t>AVL </a:t>
            </a:r>
            <a:r>
              <a:rPr lang="en-US" sz="900" b="0" dirty="0" smtClean="0">
                <a:latin typeface="+mn-lt"/>
              </a:rPr>
              <a:t>List, Graz</a:t>
            </a:r>
            <a:r>
              <a:rPr lang="en-US" sz="900" b="0" i="1" dirty="0" smtClean="0">
                <a:latin typeface="+mn-lt"/>
              </a:rPr>
              <a:t>: </a:t>
            </a:r>
            <a:r>
              <a:rPr lang="en-US" sz="900" i="1" dirty="0" smtClean="0">
                <a:latin typeface="+mn-lt"/>
              </a:rPr>
              <a:t>RDE </a:t>
            </a:r>
            <a:r>
              <a:rPr lang="en-US" sz="900" i="1" dirty="0">
                <a:latin typeface="+mn-lt"/>
              </a:rPr>
              <a:t>– Challenges and </a:t>
            </a:r>
            <a:r>
              <a:rPr lang="en-US" sz="900" i="1" dirty="0" smtClean="0">
                <a:latin typeface="+mn-lt"/>
              </a:rPr>
              <a:t>Solutions</a:t>
            </a:r>
          </a:p>
          <a:p>
            <a:pPr marL="92075" indent="-92075" eaLnBrk="1" hangingPunct="1">
              <a:lnSpc>
                <a:spcPts val="1700"/>
              </a:lnSpc>
              <a:spcAft>
                <a:spcPts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900" b="0" dirty="0">
                <a:latin typeface="+mn-lt"/>
              </a:rPr>
              <a:t>FEV &amp; AECC (Association for Emissions Control by Catalyst), Brussels: </a:t>
            </a:r>
            <a:r>
              <a:rPr lang="en-US" sz="900" i="1" dirty="0">
                <a:latin typeface="+mn-lt"/>
              </a:rPr>
              <a:t>Potentials for EU6 Passenger Cars with SCR to Meet RDE </a:t>
            </a:r>
            <a:r>
              <a:rPr lang="en-US" sz="900" i="1" dirty="0" smtClean="0">
                <a:latin typeface="+mn-lt"/>
              </a:rPr>
              <a:t>Requirements</a:t>
            </a:r>
          </a:p>
          <a:p>
            <a:pPr marL="92075" indent="-92075" eaLnBrk="1" hangingPunct="1">
              <a:lnSpc>
                <a:spcPts val="1700"/>
              </a:lnSpc>
              <a:spcAft>
                <a:spcPts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900" b="0" dirty="0">
                <a:latin typeface="+mn-lt"/>
              </a:rPr>
              <a:t>Poznan University of </a:t>
            </a:r>
            <a:r>
              <a:rPr lang="en-US" sz="900" b="0" dirty="0" smtClean="0">
                <a:latin typeface="+mn-lt"/>
              </a:rPr>
              <a:t>Technology:</a:t>
            </a:r>
            <a:r>
              <a:rPr lang="en-US" sz="900" b="0" i="1" dirty="0" smtClean="0">
                <a:latin typeface="+mn-lt"/>
              </a:rPr>
              <a:t> </a:t>
            </a:r>
            <a:r>
              <a:rPr lang="en-US" sz="900" i="1" dirty="0" smtClean="0">
                <a:latin typeface="+mn-lt"/>
              </a:rPr>
              <a:t>LDV </a:t>
            </a:r>
            <a:r>
              <a:rPr lang="en-US" sz="900" i="1" dirty="0">
                <a:latin typeface="+mn-lt"/>
              </a:rPr>
              <a:t>and HDV Vehicle Exhaust Emission Indexes in PEMS-Based RDE </a:t>
            </a:r>
            <a:r>
              <a:rPr lang="en-US" sz="900" i="1" dirty="0" smtClean="0">
                <a:latin typeface="+mn-lt"/>
              </a:rPr>
              <a:t>Tests</a:t>
            </a:r>
          </a:p>
          <a:p>
            <a:pPr marL="92075" indent="-92075" eaLnBrk="1" hangingPunct="1">
              <a:lnSpc>
                <a:spcPts val="1700"/>
              </a:lnSpc>
              <a:spcAft>
                <a:spcPts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900" b="0" dirty="0" smtClean="0">
                <a:latin typeface="+mn-lt"/>
              </a:rPr>
              <a:t>Emitec, Lohmar: </a:t>
            </a:r>
            <a:r>
              <a:rPr lang="en-US" sz="900" dirty="0" smtClean="0"/>
              <a:t>"</a:t>
            </a:r>
            <a:r>
              <a:rPr lang="en-US" sz="900" i="1" dirty="0">
                <a:latin typeface="+mn-lt"/>
              </a:rPr>
              <a:t>NOx-free Exhaust Gas"; The Key Issue Is the AdBlue </a:t>
            </a:r>
            <a:r>
              <a:rPr lang="en-US" sz="900" i="1" dirty="0" smtClean="0">
                <a:latin typeface="+mn-lt"/>
              </a:rPr>
              <a:t>Dosing</a:t>
            </a:r>
            <a:endParaRPr lang="en-US" altLang="de-DE" sz="900" b="0" i="1" dirty="0">
              <a:latin typeface="+mn-lt"/>
            </a:endParaRPr>
          </a:p>
        </p:txBody>
      </p:sp>
      <p:sp>
        <p:nvSpPr>
          <p:cNvPr id="19" name="Rechteck 18"/>
          <p:cNvSpPr/>
          <p:nvPr/>
        </p:nvSpPr>
        <p:spPr>
          <a:xfrm rot="21401355">
            <a:off x="3721642" y="6193110"/>
            <a:ext cx="1207382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de-DE" sz="700" b="0" i="1" dirty="0" smtClean="0">
                <a:solidFill>
                  <a:schemeClr val="bg2">
                    <a:lumMod val="50000"/>
                  </a:schemeClr>
                </a:solidFill>
                <a:latin typeface="Verdana"/>
              </a:rPr>
              <a:t>*only valid for EURO6</a:t>
            </a:r>
            <a:endParaRPr lang="en-US" sz="700" b="0" dirty="0">
              <a:solidFill>
                <a:schemeClr val="bg2">
                  <a:lumMod val="50000"/>
                </a:schemeClr>
              </a:solidFill>
            </a:endParaRPr>
          </a:p>
        </p:txBody>
      </p:sp>
      <p:grpSp>
        <p:nvGrpSpPr>
          <p:cNvPr id="29" name="Gruppieren 20"/>
          <p:cNvGrpSpPr>
            <a:grpSpLocks/>
          </p:cNvGrpSpPr>
          <p:nvPr/>
        </p:nvGrpSpPr>
        <p:grpSpPr bwMode="auto">
          <a:xfrm>
            <a:off x="677301" y="4851600"/>
            <a:ext cx="2065899" cy="1835677"/>
            <a:chOff x="5868144" y="1898311"/>
            <a:chExt cx="3351266" cy="2948529"/>
          </a:xfrm>
        </p:grpSpPr>
        <p:pic>
          <p:nvPicPr>
            <p:cNvPr id="30" name="Picture 7" descr="http://alternatewrites.com/wp-content/uploads/2012/06/post-it-note-with-a-pin.jpg"/>
            <p:cNvPicPr>
              <a:picLocks noChangeAspect="1" noChangeArrowheads="1"/>
            </p:cNvPicPr>
            <p:nvPr/>
          </p:nvPicPr>
          <p:blipFill rotWithShape="1">
            <a:blip r:embed="rId5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478" t="3989" r="2994" b="3295"/>
            <a:stretch/>
          </p:blipFill>
          <p:spPr bwMode="auto">
            <a:xfrm>
              <a:off x="5868144" y="1898311"/>
              <a:ext cx="3351266" cy="2948529"/>
            </a:xfrm>
            <a:prstGeom prst="rect">
              <a:avLst/>
            </a:prstGeom>
            <a:noFill/>
            <a:scene3d>
              <a:camera prst="orthographicFront">
                <a:rot lat="0" lon="1080000" rev="0"/>
              </a:camera>
              <a:lightRig rig="threePt" dir="t"/>
            </a:scene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1" name="Textfeld 15"/>
            <p:cNvSpPr txBox="1">
              <a:spLocks noChangeArrowheads="1"/>
            </p:cNvSpPr>
            <p:nvPr/>
          </p:nvSpPr>
          <p:spPr bwMode="auto">
            <a:xfrm rot="21348083">
              <a:off x="7051181" y="2626997"/>
              <a:ext cx="981099" cy="4943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rIns="90000">
              <a:spAutoFit/>
            </a:bodyPr>
            <a:lstStyle>
              <a:lvl1pPr eaLnBrk="0" hangingPunct="0">
                <a:spcAft>
                  <a:spcPts val="600"/>
                </a:spcAft>
                <a:defRPr sz="1400" b="1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eaLnBrk="0" hangingPunct="0">
                <a:spcAft>
                  <a:spcPts val="600"/>
                </a:spcAft>
                <a:buClr>
                  <a:schemeClr val="tx2"/>
                </a:buClr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eaLnBrk="0" hangingPunct="0">
                <a:spcAft>
                  <a:spcPts val="600"/>
                </a:spcAft>
                <a:buClr>
                  <a:schemeClr val="tx2"/>
                </a:buClr>
                <a:buFont typeface="Symbol" pitchFamily="18" charset="2"/>
                <a:buChar char="-"/>
                <a:defRPr sz="1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eaLnBrk="0" hangingPunct="0">
                <a:spcAft>
                  <a:spcPts val="600"/>
                </a:spcAft>
                <a:buClr>
                  <a:schemeClr val="tx2"/>
                </a:buClr>
                <a:buFont typeface="Symbol" pitchFamily="18" charset="2"/>
                <a:buChar char="-"/>
                <a:defRPr sz="14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eaLnBrk="0" hangingPunct="0">
                <a:spcAft>
                  <a:spcPts val="600"/>
                </a:spcAft>
                <a:buClr>
                  <a:schemeClr val="tx2"/>
                </a:buClr>
                <a:buFont typeface="Arial" charset="0"/>
                <a:buChar char="»"/>
                <a:defRPr sz="14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Font typeface="Arial" charset="0"/>
                <a:buChar char="»"/>
                <a:defRPr sz="14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Font typeface="Arial" charset="0"/>
                <a:buChar char="»"/>
                <a:defRPr sz="14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Font typeface="Arial" charset="0"/>
                <a:buChar char="»"/>
                <a:defRPr sz="14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Font typeface="Arial" charset="0"/>
                <a:buChar char="»"/>
                <a:defRPr sz="14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eaLnBrk="1" hangingPunct="1"/>
              <a:r>
                <a:rPr lang="en-US" altLang="de-DE" i="1" dirty="0" smtClean="0">
                  <a:latin typeface="+mn-lt"/>
                </a:rPr>
                <a:t>UBA</a:t>
              </a:r>
              <a:endParaRPr lang="en-US" altLang="de-DE" i="1" dirty="0">
                <a:latin typeface="+mn-lt"/>
              </a:endParaRPr>
            </a:p>
          </p:txBody>
        </p:sp>
        <p:sp>
          <p:nvSpPr>
            <p:cNvPr id="40" name="Textfeld 17"/>
            <p:cNvSpPr txBox="1">
              <a:spLocks noChangeArrowheads="1"/>
            </p:cNvSpPr>
            <p:nvPr/>
          </p:nvSpPr>
          <p:spPr bwMode="auto">
            <a:xfrm rot="21348083">
              <a:off x="6271767" y="3176216"/>
              <a:ext cx="2671335" cy="11370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rIns="90000">
              <a:spAutoFit/>
            </a:bodyPr>
            <a:lstStyle>
              <a:lvl1pPr eaLnBrk="0" hangingPunct="0">
                <a:spcAft>
                  <a:spcPts val="600"/>
                </a:spcAft>
                <a:defRPr sz="1400" b="1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eaLnBrk="0" hangingPunct="0">
                <a:spcAft>
                  <a:spcPts val="600"/>
                </a:spcAft>
                <a:buClr>
                  <a:schemeClr val="tx2"/>
                </a:buClr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eaLnBrk="0" hangingPunct="0">
                <a:spcAft>
                  <a:spcPts val="600"/>
                </a:spcAft>
                <a:buClr>
                  <a:schemeClr val="tx2"/>
                </a:buClr>
                <a:buFont typeface="Symbol" pitchFamily="18" charset="2"/>
                <a:buChar char="-"/>
                <a:defRPr sz="1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eaLnBrk="0" hangingPunct="0">
                <a:spcAft>
                  <a:spcPts val="600"/>
                </a:spcAft>
                <a:buClr>
                  <a:schemeClr val="tx2"/>
                </a:buClr>
                <a:buFont typeface="Symbol" pitchFamily="18" charset="2"/>
                <a:buChar char="-"/>
                <a:defRPr sz="14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eaLnBrk="0" hangingPunct="0">
                <a:spcAft>
                  <a:spcPts val="600"/>
                </a:spcAft>
                <a:buClr>
                  <a:schemeClr val="tx2"/>
                </a:buClr>
                <a:buFont typeface="Arial" charset="0"/>
                <a:buChar char="»"/>
                <a:defRPr sz="14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Font typeface="Arial" charset="0"/>
                <a:buChar char="»"/>
                <a:defRPr sz="14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Font typeface="Arial" charset="0"/>
                <a:buChar char="»"/>
                <a:defRPr sz="14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Font typeface="Arial" charset="0"/>
                <a:buChar char="»"/>
                <a:defRPr sz="14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Font typeface="Arial" charset="0"/>
                <a:buChar char="»"/>
                <a:defRPr sz="14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algn="ctr" eaLnBrk="1" hangingPunct="1"/>
              <a:r>
                <a:rPr lang="en-US" altLang="de-DE" sz="1000" b="0" i="1" dirty="0" smtClean="0">
                  <a:latin typeface="+mn-lt"/>
                </a:rPr>
                <a:t>City </a:t>
              </a:r>
              <a:r>
                <a:rPr lang="en-US" altLang="de-DE" sz="1000" b="0" i="1" dirty="0" err="1" smtClean="0">
                  <a:latin typeface="+mn-lt"/>
                </a:rPr>
                <a:t>Nox</a:t>
              </a:r>
              <a:r>
                <a:rPr lang="en-US" altLang="de-DE" sz="1000" b="0" i="1" dirty="0" smtClean="0">
                  <a:latin typeface="+mn-lt"/>
                </a:rPr>
                <a:t> values of 300</a:t>
              </a:r>
            </a:p>
            <a:p>
              <a:pPr marL="171450" indent="-171450" algn="ctr" eaLnBrk="1" hangingPunct="1">
                <a:buFontTx/>
                <a:buChar char="-"/>
              </a:pPr>
              <a:r>
                <a:rPr lang="en-US" altLang="de-DE" sz="1000" b="0" i="1" dirty="0" smtClean="0">
                  <a:latin typeface="+mn-lt"/>
                </a:rPr>
                <a:t>600 mg/km </a:t>
              </a:r>
            </a:p>
            <a:p>
              <a:pPr marL="171450" indent="-171450" algn="ctr" eaLnBrk="1" hangingPunct="1">
                <a:buFontTx/>
                <a:buChar char="-"/>
              </a:pPr>
              <a:r>
                <a:rPr lang="en-US" altLang="de-DE" sz="1000" b="0" i="1" dirty="0" smtClean="0">
                  <a:latin typeface="+mn-lt"/>
                </a:rPr>
                <a:t>By 15km/h average</a:t>
              </a:r>
              <a:endParaRPr lang="en-US" altLang="de-DE" sz="1000" b="0" i="1" dirty="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718703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/>
        </p:nvSpPr>
        <p:spPr bwMode="auto">
          <a:xfrm>
            <a:off x="609600" y="1297168"/>
            <a:ext cx="8153399" cy="5408432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180000" tIns="144000" rIns="91440" bIns="45720" numCol="1" rtlCol="0" anchor="t" anchorCtr="0" compatLnSpc="1">
            <a:prstTxWarp prst="textNoShape">
              <a:avLst/>
            </a:prstTxWarp>
          </a:bodyPr>
          <a:lstStyle/>
          <a:p>
            <a:pPr marL="285750" lvl="1" indent="-285750"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Wingdings" panose="05000000000000000000" pitchFamily="2" charset="2"/>
              <a:buChar char="§"/>
            </a:pPr>
            <a:endParaRPr lang="en-US" sz="100" b="0" dirty="0" smtClean="0"/>
          </a:p>
          <a:p>
            <a:pPr marL="285750" lvl="1" indent="-285750"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Objective: Package 1 for TCMV 3/2015 |  Package 2 by the end of 2015</a:t>
            </a:r>
            <a:endParaRPr lang="en-US" sz="1400" dirty="0">
              <a:cs typeface="Arial" panose="020B0604020202020204" pitchFamily="34" charset="0"/>
            </a:endParaRPr>
          </a:p>
          <a:p>
            <a:pPr marL="285750" lvl="1" indent="-285750"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Wingdings" panose="05000000000000000000" pitchFamily="2" charset="2"/>
              <a:buChar char="§"/>
            </a:pPr>
            <a:endParaRPr lang="en-US" sz="1400" dirty="0">
              <a:cs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lIns="36000" rIns="36000"/>
          <a:lstStyle/>
          <a:p>
            <a:r>
              <a:rPr lang="en-US" sz="2400" dirty="0" smtClean="0"/>
              <a:t>Possible EU </a:t>
            </a:r>
            <a:r>
              <a:rPr lang="en-US" sz="2400" dirty="0"/>
              <a:t>COM timeline for the development of </a:t>
            </a:r>
            <a:r>
              <a:rPr lang="en-US" sz="2400" dirty="0" smtClean="0"/>
              <a:t>RDE legislation</a:t>
            </a:r>
            <a:endParaRPr lang="en-US" sz="2600" dirty="0"/>
          </a:p>
        </p:txBody>
      </p:sp>
      <p:sp>
        <p:nvSpPr>
          <p:cNvPr id="9" name="Rechteck 8"/>
          <p:cNvSpPr/>
          <p:nvPr/>
        </p:nvSpPr>
        <p:spPr>
          <a:xfrm>
            <a:off x="807719" y="1127892"/>
            <a:ext cx="3002281" cy="338554"/>
          </a:xfrm>
          <a:prstGeom prst="rect">
            <a:avLst/>
          </a:prstGeom>
          <a:solidFill>
            <a:schemeClr val="bg1"/>
          </a:solidFill>
        </p:spPr>
        <p:txBody>
          <a:bodyPr wrap="square" rIns="0">
            <a:spAutoFit/>
          </a:bodyPr>
          <a:lstStyle/>
          <a:p>
            <a:pPr>
              <a:spcAft>
                <a:spcPts val="300"/>
              </a:spcAft>
              <a:buClr>
                <a:schemeClr val="bg1">
                  <a:lumMod val="65000"/>
                </a:schemeClr>
              </a:buClr>
            </a:pPr>
            <a:r>
              <a:rPr lang="en-US" sz="1600" dirty="0"/>
              <a:t>RDE EU </a:t>
            </a:r>
            <a:r>
              <a:rPr lang="en-US" sz="1600" dirty="0" smtClean="0"/>
              <a:t>COM</a:t>
            </a:r>
            <a:endParaRPr lang="en-US" sz="1600" dirty="0"/>
          </a:p>
        </p:txBody>
      </p:sp>
      <p:grpSp>
        <p:nvGrpSpPr>
          <p:cNvPr id="225" name="Group 2"/>
          <p:cNvGrpSpPr>
            <a:grpSpLocks/>
          </p:cNvGrpSpPr>
          <p:nvPr/>
        </p:nvGrpSpPr>
        <p:grpSpPr bwMode="auto">
          <a:xfrm>
            <a:off x="647883" y="1810101"/>
            <a:ext cx="8100266" cy="4577516"/>
            <a:chOff x="0" y="2086"/>
            <a:chExt cx="5760" cy="985"/>
          </a:xfrm>
        </p:grpSpPr>
        <p:sp>
          <p:nvSpPr>
            <p:cNvPr id="226" name="Rectangle 3"/>
            <p:cNvSpPr>
              <a:spLocks noChangeArrowheads="1"/>
            </p:cNvSpPr>
            <p:nvPr/>
          </p:nvSpPr>
          <p:spPr bwMode="gray">
            <a:xfrm>
              <a:off x="0" y="2325"/>
              <a:ext cx="5760" cy="746"/>
            </a:xfrm>
            <a:prstGeom prst="rect">
              <a:avLst/>
            </a:prstGeom>
            <a:gradFill rotWithShape="1">
              <a:gsLst>
                <a:gs pos="0">
                  <a:srgbClr val="DDDDDD"/>
                </a:gs>
                <a:gs pos="100000">
                  <a:srgbClr val="FFFFFF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90000" rIns="72000" bIns="90000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b="0" kern="0" smtClean="0">
                <a:solidFill>
                  <a:srgbClr val="000000"/>
                </a:solidFill>
                <a:latin typeface="CorpoS"/>
                <a:ea typeface="+mn-ea"/>
              </a:endParaRPr>
            </a:p>
          </p:txBody>
        </p:sp>
        <p:sp>
          <p:nvSpPr>
            <p:cNvPr id="227" name="Rectangle 4"/>
            <p:cNvSpPr>
              <a:spLocks noChangeArrowheads="1"/>
            </p:cNvSpPr>
            <p:nvPr/>
          </p:nvSpPr>
          <p:spPr bwMode="gray">
            <a:xfrm flipV="1">
              <a:off x="0" y="2086"/>
              <a:ext cx="5760" cy="246"/>
            </a:xfrm>
            <a:prstGeom prst="rect">
              <a:avLst/>
            </a:prstGeom>
            <a:gradFill rotWithShape="1">
              <a:gsLst>
                <a:gs pos="0">
                  <a:srgbClr val="DBDBDB"/>
                </a:gs>
                <a:gs pos="100000">
                  <a:srgbClr val="FFFFFF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10800000" wrap="none" lIns="90000" tIns="90000" rIns="72000" bIns="90000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b="0" kern="0" smtClean="0">
                <a:solidFill>
                  <a:srgbClr val="000000"/>
                </a:solidFill>
                <a:latin typeface="CorpoS"/>
                <a:ea typeface="+mn-ea"/>
              </a:endParaRPr>
            </a:p>
          </p:txBody>
        </p:sp>
      </p:grpSp>
      <p:sp>
        <p:nvSpPr>
          <p:cNvPr id="228" name="Textplatzhalter 2"/>
          <p:cNvSpPr txBox="1">
            <a:spLocks/>
          </p:cNvSpPr>
          <p:nvPr/>
        </p:nvSpPr>
        <p:spPr>
          <a:xfrm>
            <a:off x="727660" y="2305393"/>
            <a:ext cx="2398139" cy="373989"/>
          </a:xfrm>
          <a:prstGeom prst="rect">
            <a:avLst/>
          </a:prstGeom>
          <a:noFill/>
        </p:spPr>
        <p:txBody>
          <a:bodyPr vert="horz" lIns="0" tIns="0" rIns="0" bIns="0" rtlCol="0"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C0C0"/>
              </a:buClr>
              <a:buSzTx/>
              <a:buFontTx/>
              <a:buNone/>
              <a:tabLst/>
              <a:defRPr sz="1400" b="1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184150" marR="0" indent="-1841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C0C0"/>
              </a:buClr>
              <a:buSzTx/>
              <a:buFont typeface="Arial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361950" marR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C0C0"/>
              </a:buClr>
              <a:buSzTx/>
              <a:buFont typeface="Symbol" pitchFamily="18" charset="2"/>
              <a:buChar char="-"/>
              <a:tabLst/>
              <a:defRPr sz="1400" b="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3pPr>
            <a:lvl4pPr marL="542925" marR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C0C0"/>
              </a:buClr>
              <a:buSzTx/>
              <a:buFont typeface="Arial" pitchFamily="34" charset="0"/>
              <a:buChar char="•"/>
              <a:tabLst/>
              <a:defRPr sz="1400" b="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4pPr>
            <a:lvl5pPr marL="715963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C0C0"/>
              </a:buClr>
              <a:buSzTx/>
              <a:buFont typeface="Symbol" pitchFamily="18" charset="2"/>
              <a:buChar char="-"/>
              <a:tabLst/>
              <a:defRPr sz="1400" kern="1200" baseline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5pPr>
            <a:lvl6pPr marL="1520825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97050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062163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328863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0"/>
              </a:spcAft>
              <a:defRPr/>
            </a:pPr>
            <a:r>
              <a:rPr lang="en-US" sz="1100" kern="0" dirty="0" smtClean="0">
                <a:solidFill>
                  <a:srgbClr val="404040"/>
                </a:solidFill>
                <a:cs typeface="Times New Roman"/>
              </a:rPr>
              <a:t>  EU COM RDE </a:t>
            </a:r>
            <a:r>
              <a:rPr lang="en-US" sz="1100" kern="0" dirty="0">
                <a:solidFill>
                  <a:srgbClr val="404040"/>
                </a:solidFill>
                <a:cs typeface="Times New Roman"/>
              </a:rPr>
              <a:t>draft </a:t>
            </a:r>
            <a:r>
              <a:rPr lang="en-US" sz="1100" kern="0" dirty="0" smtClean="0">
                <a:solidFill>
                  <a:srgbClr val="404040"/>
                </a:solidFill>
                <a:cs typeface="Times New Roman"/>
              </a:rPr>
              <a:t>V11</a:t>
            </a:r>
            <a:endParaRPr lang="en-US" sz="1100" kern="0" dirty="0">
              <a:solidFill>
                <a:srgbClr val="404040"/>
              </a:solidFill>
              <a:cs typeface="Times New Roman"/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727660" y="2053916"/>
            <a:ext cx="2371335" cy="180734"/>
          </a:xfrm>
          <a:prstGeom prst="rect">
            <a:avLst/>
          </a:prstGeom>
          <a:solidFill>
            <a:srgbClr val="EAEAEA"/>
          </a:solidFill>
          <a:ln w="3175" cap="flat" cmpd="sng" algn="ctr">
            <a:noFill/>
            <a:prstDash val="solid"/>
          </a:ln>
          <a:effectLst/>
        </p:spPr>
        <p:txBody>
          <a:bodyPr wrap="none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kern="0" dirty="0" smtClean="0">
                <a:solidFill>
                  <a:srgbClr val="404040"/>
                </a:solidFill>
                <a:latin typeface="Calibri"/>
                <a:ea typeface="+mn-ea"/>
                <a:cs typeface="Calibri" pitchFamily="34" charset="0"/>
              </a:rPr>
              <a:t>Activities</a:t>
            </a:r>
          </a:p>
        </p:txBody>
      </p:sp>
      <p:cxnSp>
        <p:nvCxnSpPr>
          <p:cNvPr id="230" name="Gerade Verbindung 229"/>
          <p:cNvCxnSpPr/>
          <p:nvPr/>
        </p:nvCxnSpPr>
        <p:spPr>
          <a:xfrm>
            <a:off x="8744719" y="1810101"/>
            <a:ext cx="3429" cy="4574715"/>
          </a:xfrm>
          <a:prstGeom prst="line">
            <a:avLst/>
          </a:prstGeom>
          <a:noFill/>
          <a:ln w="9525" cap="flat" cmpd="sng" algn="ctr">
            <a:solidFill>
              <a:srgbClr val="808080"/>
            </a:solidFill>
            <a:prstDash val="solid"/>
          </a:ln>
          <a:effectLst/>
        </p:spPr>
      </p:cxnSp>
      <p:sp>
        <p:nvSpPr>
          <p:cNvPr id="231" name="Rechteck 230"/>
          <p:cNvSpPr/>
          <p:nvPr/>
        </p:nvSpPr>
        <p:spPr>
          <a:xfrm>
            <a:off x="4072442" y="1810101"/>
            <a:ext cx="4651159" cy="199794"/>
          </a:xfrm>
          <a:prstGeom prst="rect">
            <a:avLst/>
          </a:prstGeom>
          <a:solidFill>
            <a:srgbClr val="69A2E1"/>
          </a:solidFill>
          <a:ln w="3175" cap="flat" cmpd="sng" algn="ctr">
            <a:noFill/>
            <a:prstDash val="solid"/>
          </a:ln>
          <a:effectLst/>
        </p:spPr>
        <p:txBody>
          <a:bodyPr wrap="none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kern="0" dirty="0" smtClean="0">
                <a:solidFill>
                  <a:srgbClr val="FFFFFF"/>
                </a:solidFill>
                <a:latin typeface="Calibri"/>
                <a:ea typeface="+mn-ea"/>
                <a:cs typeface="Calibri" pitchFamily="34" charset="0"/>
              </a:rPr>
              <a:t>2015</a:t>
            </a:r>
          </a:p>
        </p:txBody>
      </p:sp>
      <p:cxnSp>
        <p:nvCxnSpPr>
          <p:cNvPr id="232" name="Gerade Verbindung 231"/>
          <p:cNvCxnSpPr/>
          <p:nvPr/>
        </p:nvCxnSpPr>
        <p:spPr>
          <a:xfrm>
            <a:off x="6860372" y="2157180"/>
            <a:ext cx="0" cy="4227636"/>
          </a:xfrm>
          <a:prstGeom prst="line">
            <a:avLst/>
          </a:prstGeom>
          <a:noFill/>
          <a:ln w="9525" cap="flat" cmpd="sng" algn="ctr">
            <a:solidFill>
              <a:srgbClr val="C0C0C0"/>
            </a:solidFill>
            <a:prstDash val="solid"/>
          </a:ln>
          <a:effectLst/>
        </p:spPr>
      </p:cxnSp>
      <p:cxnSp>
        <p:nvCxnSpPr>
          <p:cNvPr id="233" name="Gerade Verbindung 232"/>
          <p:cNvCxnSpPr/>
          <p:nvPr/>
        </p:nvCxnSpPr>
        <p:spPr>
          <a:xfrm flipH="1">
            <a:off x="7781149" y="2157180"/>
            <a:ext cx="23601" cy="4227636"/>
          </a:xfrm>
          <a:prstGeom prst="line">
            <a:avLst/>
          </a:prstGeom>
          <a:noFill/>
          <a:ln w="9525" cap="flat" cmpd="sng" algn="ctr">
            <a:solidFill>
              <a:srgbClr val="C0C0C0"/>
            </a:solidFill>
            <a:prstDash val="solid"/>
          </a:ln>
          <a:effectLst/>
        </p:spPr>
      </p:cxnSp>
      <p:cxnSp>
        <p:nvCxnSpPr>
          <p:cNvPr id="234" name="Gerade Verbindung 233"/>
          <p:cNvCxnSpPr/>
          <p:nvPr/>
        </p:nvCxnSpPr>
        <p:spPr>
          <a:xfrm>
            <a:off x="4975614" y="2157180"/>
            <a:ext cx="0" cy="4227636"/>
          </a:xfrm>
          <a:prstGeom prst="line">
            <a:avLst/>
          </a:prstGeom>
          <a:noFill/>
          <a:ln w="9525" cap="flat" cmpd="sng" algn="ctr">
            <a:solidFill>
              <a:srgbClr val="C0C0C0"/>
            </a:solidFill>
            <a:prstDash val="solid"/>
          </a:ln>
          <a:effectLst/>
        </p:spPr>
      </p:cxnSp>
      <p:cxnSp>
        <p:nvCxnSpPr>
          <p:cNvPr id="235" name="Gerade Verbindung 234"/>
          <p:cNvCxnSpPr/>
          <p:nvPr/>
        </p:nvCxnSpPr>
        <p:spPr>
          <a:xfrm>
            <a:off x="735224" y="2275265"/>
            <a:ext cx="8012924" cy="0"/>
          </a:xfrm>
          <a:prstGeom prst="line">
            <a:avLst/>
          </a:prstGeom>
          <a:noFill/>
          <a:ln w="9525" cap="flat" cmpd="sng" algn="ctr">
            <a:solidFill>
              <a:srgbClr val="C0C0C0"/>
            </a:solidFill>
            <a:prstDash val="solid"/>
          </a:ln>
          <a:effectLst/>
        </p:spPr>
      </p:cxnSp>
      <p:sp>
        <p:nvSpPr>
          <p:cNvPr id="236" name="Rechteck 235"/>
          <p:cNvSpPr/>
          <p:nvPr/>
        </p:nvSpPr>
        <p:spPr>
          <a:xfrm>
            <a:off x="4072442" y="2053916"/>
            <a:ext cx="881355" cy="180734"/>
          </a:xfrm>
          <a:prstGeom prst="rect">
            <a:avLst/>
          </a:prstGeom>
          <a:solidFill>
            <a:srgbClr val="EAEAEA"/>
          </a:solidFill>
          <a:ln w="3175" cap="flat" cmpd="sng" algn="ctr">
            <a:noFill/>
            <a:prstDash val="solid"/>
          </a:ln>
          <a:effectLst/>
        </p:spPr>
        <p:txBody>
          <a:bodyPr wrap="none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b="0" kern="0" dirty="0" smtClean="0">
                <a:solidFill>
                  <a:srgbClr val="404040"/>
                </a:solidFill>
                <a:latin typeface="Calibri"/>
                <a:ea typeface="+mn-ea"/>
                <a:cs typeface="Calibri" pitchFamily="34" charset="0"/>
              </a:rPr>
              <a:t>Jan</a:t>
            </a:r>
          </a:p>
        </p:txBody>
      </p:sp>
      <p:sp>
        <p:nvSpPr>
          <p:cNvPr id="237" name="Textplatzhalter 2"/>
          <p:cNvSpPr txBox="1">
            <a:spLocks/>
          </p:cNvSpPr>
          <p:nvPr/>
        </p:nvSpPr>
        <p:spPr>
          <a:xfrm>
            <a:off x="727660" y="2729905"/>
            <a:ext cx="2398139" cy="362906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C0C0"/>
              </a:buClr>
              <a:buSzTx/>
              <a:buFontTx/>
              <a:buNone/>
              <a:tabLst/>
              <a:defRPr sz="1400" b="1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184150" marR="0" indent="-1841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C0C0"/>
              </a:buClr>
              <a:buSzTx/>
              <a:buFont typeface="Arial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361950" marR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C0C0"/>
              </a:buClr>
              <a:buSzTx/>
              <a:buFont typeface="Symbol" pitchFamily="18" charset="2"/>
              <a:buChar char="-"/>
              <a:tabLst/>
              <a:defRPr sz="1400" b="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3pPr>
            <a:lvl4pPr marL="542925" marR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C0C0"/>
              </a:buClr>
              <a:buSzTx/>
              <a:buFont typeface="Arial" pitchFamily="34" charset="0"/>
              <a:buChar char="•"/>
              <a:tabLst/>
              <a:defRPr sz="1400" b="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4pPr>
            <a:lvl5pPr marL="715963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C0C0"/>
              </a:buClr>
              <a:buSzTx/>
              <a:buFont typeface="Symbol" pitchFamily="18" charset="2"/>
              <a:buChar char="-"/>
              <a:tabLst/>
              <a:defRPr sz="1400" kern="1200" baseline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5pPr>
            <a:lvl6pPr marL="1520825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97050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062163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328863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600"/>
              </a:lnSpc>
              <a:spcAft>
                <a:spcPts val="0"/>
              </a:spcAft>
              <a:defRPr/>
            </a:pPr>
            <a:r>
              <a:rPr lang="en-US" sz="1100" kern="0" dirty="0" smtClean="0">
                <a:solidFill>
                  <a:srgbClr val="404040"/>
                </a:solidFill>
                <a:cs typeface="Times New Roman"/>
              </a:rPr>
              <a:t>  TCMV </a:t>
            </a:r>
            <a:r>
              <a:rPr lang="en-US" sz="1100" kern="0" dirty="0">
                <a:solidFill>
                  <a:srgbClr val="404040"/>
                </a:solidFill>
                <a:cs typeface="Times New Roman"/>
              </a:rPr>
              <a:t>Meetings</a:t>
            </a:r>
          </a:p>
          <a:p>
            <a:pPr>
              <a:lnSpc>
                <a:spcPts val="700"/>
              </a:lnSpc>
              <a:spcAft>
                <a:spcPts val="0"/>
              </a:spcAft>
              <a:defRPr/>
            </a:pPr>
            <a:r>
              <a:rPr lang="en-US" sz="1100" kern="0" dirty="0">
                <a:solidFill>
                  <a:srgbClr val="404040"/>
                </a:solidFill>
                <a:cs typeface="Times New Roman"/>
              </a:rPr>
              <a:t>    </a:t>
            </a:r>
            <a:endParaRPr lang="en-US" sz="1100" kern="0" dirty="0" smtClean="0">
              <a:solidFill>
                <a:srgbClr val="404040"/>
              </a:solidFill>
              <a:cs typeface="Times New Roman"/>
            </a:endParaRPr>
          </a:p>
          <a:p>
            <a:pPr>
              <a:lnSpc>
                <a:spcPts val="700"/>
              </a:lnSpc>
              <a:spcAft>
                <a:spcPts val="0"/>
              </a:spcAft>
              <a:defRPr/>
            </a:pPr>
            <a:r>
              <a:rPr lang="en-US" sz="1100" kern="0" dirty="0" smtClean="0">
                <a:solidFill>
                  <a:srgbClr val="404040"/>
                </a:solidFill>
                <a:cs typeface="Times New Roman"/>
              </a:rPr>
              <a:t>      </a:t>
            </a:r>
            <a:r>
              <a:rPr lang="en-US" sz="1100" b="0" kern="0" dirty="0" smtClean="0">
                <a:solidFill>
                  <a:srgbClr val="404040"/>
                </a:solidFill>
                <a:cs typeface="Times New Roman"/>
              </a:rPr>
              <a:t>- </a:t>
            </a:r>
            <a:r>
              <a:rPr lang="pt-BR" sz="1100" b="0" kern="0" dirty="0">
                <a:solidFill>
                  <a:srgbClr val="404040"/>
                </a:solidFill>
                <a:cs typeface="Times New Roman"/>
              </a:rPr>
              <a:t> compromise package by EU com</a:t>
            </a:r>
          </a:p>
        </p:txBody>
      </p:sp>
      <p:cxnSp>
        <p:nvCxnSpPr>
          <p:cNvPr id="238" name="Gerade Verbindung 237"/>
          <p:cNvCxnSpPr/>
          <p:nvPr/>
        </p:nvCxnSpPr>
        <p:spPr>
          <a:xfrm>
            <a:off x="735224" y="2717923"/>
            <a:ext cx="8009491" cy="0"/>
          </a:xfrm>
          <a:prstGeom prst="line">
            <a:avLst/>
          </a:prstGeom>
          <a:noFill/>
          <a:ln w="9525" cap="flat" cmpd="sng" algn="ctr">
            <a:solidFill>
              <a:srgbClr val="C0C0C0"/>
            </a:solidFill>
            <a:prstDash val="solid"/>
          </a:ln>
          <a:effectLst/>
        </p:spPr>
      </p:cxnSp>
      <p:sp>
        <p:nvSpPr>
          <p:cNvPr id="239" name="Textplatzhalter 2"/>
          <p:cNvSpPr txBox="1">
            <a:spLocks/>
          </p:cNvSpPr>
          <p:nvPr/>
        </p:nvSpPr>
        <p:spPr>
          <a:xfrm>
            <a:off x="727660" y="3243900"/>
            <a:ext cx="2540960" cy="362906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C0C0"/>
              </a:buClr>
              <a:buSzTx/>
              <a:buFontTx/>
              <a:buNone/>
              <a:tabLst/>
              <a:defRPr sz="1400" b="1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184150" marR="0" indent="-1841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C0C0"/>
              </a:buClr>
              <a:buSzTx/>
              <a:buFont typeface="Arial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361950" marR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C0C0"/>
              </a:buClr>
              <a:buSzTx/>
              <a:buFont typeface="Symbol" pitchFamily="18" charset="2"/>
              <a:buChar char="-"/>
              <a:tabLst/>
              <a:defRPr sz="1400" b="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3pPr>
            <a:lvl4pPr marL="542925" marR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C0C0"/>
              </a:buClr>
              <a:buSzTx/>
              <a:buFont typeface="Arial" pitchFamily="34" charset="0"/>
              <a:buChar char="•"/>
              <a:tabLst/>
              <a:defRPr sz="1400" b="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4pPr>
            <a:lvl5pPr marL="715963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C0C0"/>
              </a:buClr>
              <a:buSzTx/>
              <a:buFont typeface="Symbol" pitchFamily="18" charset="2"/>
              <a:buChar char="-"/>
              <a:tabLst/>
              <a:defRPr sz="1400" kern="1200" baseline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5pPr>
            <a:lvl6pPr marL="1520825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97050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062163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328863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0"/>
              </a:spcAft>
              <a:defRPr/>
            </a:pPr>
            <a:r>
              <a:rPr lang="en-US" sz="1100" kern="0" dirty="0" smtClean="0">
                <a:solidFill>
                  <a:srgbClr val="404040"/>
                </a:solidFill>
                <a:cs typeface="Times New Roman"/>
              </a:rPr>
              <a:t>Interservice </a:t>
            </a:r>
            <a:r>
              <a:rPr lang="en-US" sz="1100" kern="0" dirty="0">
                <a:solidFill>
                  <a:srgbClr val="404040"/>
                </a:solidFill>
                <a:cs typeface="Times New Roman"/>
              </a:rPr>
              <a:t>Consultation </a:t>
            </a:r>
            <a:r>
              <a:rPr lang="en-US" sz="1100" kern="0" dirty="0" smtClean="0">
                <a:solidFill>
                  <a:srgbClr val="404040"/>
                </a:solidFill>
                <a:cs typeface="Times New Roman"/>
              </a:rPr>
              <a:t>of </a:t>
            </a:r>
            <a:r>
              <a:rPr lang="en-US" sz="1100" kern="0" dirty="0">
                <a:solidFill>
                  <a:srgbClr val="404040"/>
                </a:solidFill>
                <a:cs typeface="Times New Roman"/>
              </a:rPr>
              <a:t>RDE </a:t>
            </a:r>
            <a:endParaRPr lang="en-US" sz="1100" kern="0" dirty="0" smtClean="0">
              <a:solidFill>
                <a:srgbClr val="404040"/>
              </a:solidFill>
              <a:cs typeface="Times New Roman"/>
            </a:endParaRPr>
          </a:p>
          <a:p>
            <a:pPr>
              <a:spcAft>
                <a:spcPts val="0"/>
              </a:spcAft>
              <a:defRPr/>
            </a:pPr>
            <a:r>
              <a:rPr lang="en-US" sz="1100" kern="0" dirty="0" smtClean="0">
                <a:solidFill>
                  <a:srgbClr val="404040"/>
                </a:solidFill>
                <a:cs typeface="Times New Roman"/>
              </a:rPr>
              <a:t>DraftV11</a:t>
            </a:r>
            <a:endParaRPr lang="en-US" sz="1100" kern="0" dirty="0">
              <a:solidFill>
                <a:srgbClr val="404040"/>
              </a:solidFill>
              <a:cs typeface="Times New Roman"/>
            </a:endParaRPr>
          </a:p>
        </p:txBody>
      </p:sp>
      <p:sp>
        <p:nvSpPr>
          <p:cNvPr id="240" name="Textplatzhalter 2"/>
          <p:cNvSpPr txBox="1">
            <a:spLocks/>
          </p:cNvSpPr>
          <p:nvPr/>
        </p:nvSpPr>
        <p:spPr>
          <a:xfrm>
            <a:off x="859959" y="3708352"/>
            <a:ext cx="2275388" cy="362906"/>
          </a:xfrm>
          <a:prstGeom prst="rect">
            <a:avLst/>
          </a:prstGeom>
          <a:noFill/>
        </p:spPr>
        <p:txBody>
          <a:bodyPr vert="horz" lIns="0" tIns="0" rIns="0" bIns="0" rtlCol="0"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C0C0"/>
              </a:buClr>
              <a:buSzTx/>
              <a:buFontTx/>
              <a:buNone/>
              <a:tabLst/>
              <a:defRPr sz="1400" b="1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184150" marR="0" indent="-1841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C0C0"/>
              </a:buClr>
              <a:buSzTx/>
              <a:buFont typeface="Arial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361950" marR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C0C0"/>
              </a:buClr>
              <a:buSzTx/>
              <a:buFont typeface="Symbol" pitchFamily="18" charset="2"/>
              <a:buChar char="-"/>
              <a:tabLst/>
              <a:defRPr sz="1400" b="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3pPr>
            <a:lvl4pPr marL="542925" marR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C0C0"/>
              </a:buClr>
              <a:buSzTx/>
              <a:buFont typeface="Arial" pitchFamily="34" charset="0"/>
              <a:buChar char="•"/>
              <a:tabLst/>
              <a:defRPr sz="1400" b="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4pPr>
            <a:lvl5pPr marL="715963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C0C0"/>
              </a:buClr>
              <a:buSzTx/>
              <a:buFont typeface="Symbol" pitchFamily="18" charset="2"/>
              <a:buChar char="-"/>
              <a:tabLst/>
              <a:defRPr sz="1400" kern="1200" baseline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5pPr>
            <a:lvl6pPr marL="1520825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97050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062163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328863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0"/>
              </a:spcAft>
              <a:defRPr/>
            </a:pPr>
            <a:r>
              <a:rPr lang="en-US" sz="1100" b="0" kern="0" dirty="0">
                <a:solidFill>
                  <a:srgbClr val="404040"/>
                </a:solidFill>
                <a:cs typeface="Times New Roman"/>
              </a:rPr>
              <a:t>- </a:t>
            </a:r>
            <a:r>
              <a:rPr lang="en-US" sz="1100" b="0" kern="0" dirty="0" smtClean="0">
                <a:solidFill>
                  <a:srgbClr val="404040"/>
                </a:solidFill>
                <a:cs typeface="Times New Roman"/>
              </a:rPr>
              <a:t>Release by Commissioner </a:t>
            </a:r>
            <a:r>
              <a:rPr lang="en-US" sz="1100" b="0" kern="0" dirty="0">
                <a:solidFill>
                  <a:srgbClr val="404040"/>
                </a:solidFill>
                <a:cs typeface="Times New Roman"/>
              </a:rPr>
              <a:t>Timmermans</a:t>
            </a:r>
          </a:p>
        </p:txBody>
      </p:sp>
      <p:sp>
        <p:nvSpPr>
          <p:cNvPr id="241" name="Rechteck 240"/>
          <p:cNvSpPr/>
          <p:nvPr/>
        </p:nvSpPr>
        <p:spPr>
          <a:xfrm>
            <a:off x="5014893" y="2053916"/>
            <a:ext cx="881355" cy="180734"/>
          </a:xfrm>
          <a:prstGeom prst="rect">
            <a:avLst/>
          </a:prstGeom>
          <a:solidFill>
            <a:srgbClr val="EAEAEA"/>
          </a:solidFill>
          <a:ln w="3175" cap="flat" cmpd="sng" algn="ctr">
            <a:noFill/>
            <a:prstDash val="solid"/>
          </a:ln>
          <a:effectLst/>
        </p:spPr>
        <p:txBody>
          <a:bodyPr wrap="none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b="0" kern="0" dirty="0" smtClean="0">
                <a:solidFill>
                  <a:srgbClr val="404040"/>
                </a:solidFill>
                <a:latin typeface="Calibri"/>
                <a:ea typeface="+mn-ea"/>
                <a:cs typeface="Calibri" pitchFamily="34" charset="0"/>
              </a:rPr>
              <a:t>Feb</a:t>
            </a:r>
          </a:p>
        </p:txBody>
      </p:sp>
      <p:sp>
        <p:nvSpPr>
          <p:cNvPr id="242" name="Rechteck 241"/>
          <p:cNvSpPr/>
          <p:nvPr/>
        </p:nvSpPr>
        <p:spPr>
          <a:xfrm>
            <a:off x="5957343" y="2053916"/>
            <a:ext cx="881355" cy="180734"/>
          </a:xfrm>
          <a:prstGeom prst="rect">
            <a:avLst/>
          </a:prstGeom>
          <a:solidFill>
            <a:srgbClr val="EAEAEA"/>
          </a:solidFill>
          <a:ln w="3175" cap="flat" cmpd="sng" algn="ctr">
            <a:noFill/>
            <a:prstDash val="solid"/>
          </a:ln>
          <a:effectLst/>
        </p:spPr>
        <p:txBody>
          <a:bodyPr wrap="none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b="0" kern="0" dirty="0" smtClean="0">
                <a:solidFill>
                  <a:srgbClr val="404040"/>
                </a:solidFill>
                <a:latin typeface="Calibri"/>
                <a:ea typeface="+mn-ea"/>
                <a:cs typeface="Calibri" pitchFamily="34" charset="0"/>
              </a:rPr>
              <a:t>Mrz</a:t>
            </a:r>
          </a:p>
        </p:txBody>
      </p:sp>
      <p:sp>
        <p:nvSpPr>
          <p:cNvPr id="243" name="Rechteck 242"/>
          <p:cNvSpPr/>
          <p:nvPr/>
        </p:nvSpPr>
        <p:spPr>
          <a:xfrm>
            <a:off x="7842245" y="2053916"/>
            <a:ext cx="881355" cy="180734"/>
          </a:xfrm>
          <a:prstGeom prst="rect">
            <a:avLst/>
          </a:prstGeom>
          <a:solidFill>
            <a:srgbClr val="EAEAEA"/>
          </a:solidFill>
          <a:ln w="3175" cap="flat" cmpd="sng" algn="ctr">
            <a:noFill/>
            <a:prstDash val="solid"/>
          </a:ln>
          <a:effectLst/>
        </p:spPr>
        <p:txBody>
          <a:bodyPr wrap="none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b="0" kern="0" dirty="0" smtClean="0">
                <a:solidFill>
                  <a:srgbClr val="404040"/>
                </a:solidFill>
                <a:latin typeface="Calibri"/>
                <a:ea typeface="+mn-ea"/>
                <a:cs typeface="Calibri" pitchFamily="34" charset="0"/>
              </a:rPr>
              <a:t>Mai</a:t>
            </a:r>
          </a:p>
        </p:txBody>
      </p:sp>
      <p:sp>
        <p:nvSpPr>
          <p:cNvPr id="244" name="Rechteck 243"/>
          <p:cNvSpPr/>
          <p:nvPr/>
        </p:nvSpPr>
        <p:spPr>
          <a:xfrm>
            <a:off x="6899794" y="2053916"/>
            <a:ext cx="881355" cy="180734"/>
          </a:xfrm>
          <a:prstGeom prst="rect">
            <a:avLst/>
          </a:prstGeom>
          <a:solidFill>
            <a:srgbClr val="EAEAEA"/>
          </a:solidFill>
          <a:ln w="3175" cap="flat" cmpd="sng" algn="ctr">
            <a:noFill/>
            <a:prstDash val="solid"/>
          </a:ln>
          <a:effectLst/>
        </p:spPr>
        <p:txBody>
          <a:bodyPr wrap="none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b="0" kern="0" dirty="0" smtClean="0">
                <a:solidFill>
                  <a:srgbClr val="404040"/>
                </a:solidFill>
                <a:latin typeface="Calibri"/>
                <a:ea typeface="+mn-ea"/>
                <a:cs typeface="Calibri" pitchFamily="34" charset="0"/>
              </a:rPr>
              <a:t>Apr</a:t>
            </a:r>
          </a:p>
        </p:txBody>
      </p:sp>
      <p:sp>
        <p:nvSpPr>
          <p:cNvPr id="245" name="Textplatzhalter 2"/>
          <p:cNvSpPr txBox="1">
            <a:spLocks/>
          </p:cNvSpPr>
          <p:nvPr/>
        </p:nvSpPr>
        <p:spPr>
          <a:xfrm>
            <a:off x="846444" y="4199071"/>
            <a:ext cx="2279356" cy="368239"/>
          </a:xfrm>
          <a:prstGeom prst="rect">
            <a:avLst/>
          </a:prstGeom>
          <a:noFill/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0C0C0"/>
              </a:buClr>
              <a:buSzTx/>
              <a:buFontTx/>
              <a:buNone/>
              <a:tabLst/>
              <a:defRPr sz="1100" b="0" kern="0">
                <a:solidFill>
                  <a:srgbClr val="404040"/>
                </a:solidFill>
                <a:latin typeface="Calibri" pitchFamily="34" charset="0"/>
                <a:ea typeface="+mn-ea"/>
                <a:cs typeface="Times New Roman"/>
              </a:defRPr>
            </a:lvl1pPr>
            <a:lvl2pPr marL="184150" marR="0" indent="-1841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C0C0"/>
              </a:buClr>
              <a:buSzTx/>
              <a:buFont typeface="Arial" pitchFamily="34" charset="0"/>
              <a:buChar char="•"/>
              <a:tabLst/>
              <a:defRPr sz="14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361950" marR="0" indent="-1778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C0C0"/>
              </a:buClr>
              <a:buSzTx/>
              <a:buFont typeface="Symbol" pitchFamily="18" charset="2"/>
              <a:buChar char="-"/>
              <a:tabLst/>
              <a:defRPr sz="1400" b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3pPr>
            <a:lvl4pPr marL="542925" marR="0" indent="-1778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C0C0"/>
              </a:buClr>
              <a:buSzTx/>
              <a:buFont typeface="Arial" pitchFamily="34" charset="0"/>
              <a:buChar char="•"/>
              <a:tabLst/>
              <a:defRPr sz="1400" b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4pPr>
            <a:lvl5pPr marL="715963" marR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C0C0"/>
              </a:buClr>
              <a:buSzTx/>
              <a:buFont typeface="Symbol" pitchFamily="18" charset="2"/>
              <a:buChar char="-"/>
              <a:tabLst/>
              <a:defRPr sz="1400" baseline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5pPr>
            <a:lvl6pPr marL="1520825" marR="0" indent="-18097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>
                <a:solidFill>
                  <a:schemeClr val="tx1"/>
                </a:solidFill>
                <a:latin typeface="+mn-lt"/>
                <a:ea typeface="+mn-ea"/>
              </a:defRPr>
            </a:lvl6pPr>
            <a:lvl7pPr marL="1797050" marR="0" indent="-18097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>
                <a:solidFill>
                  <a:schemeClr val="tx1"/>
                </a:solidFill>
                <a:latin typeface="+mn-lt"/>
                <a:ea typeface="+mn-ea"/>
              </a:defRPr>
            </a:lvl7pPr>
            <a:lvl8pPr marL="2062163" marR="0" indent="-18097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>
                <a:solidFill>
                  <a:schemeClr val="tx1"/>
                </a:solidFill>
                <a:latin typeface="+mn-lt"/>
                <a:ea typeface="+mn-ea"/>
              </a:defRPr>
            </a:lvl8pPr>
            <a:lvl9pPr marL="2328863" marR="0" indent="-18097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r>
              <a:rPr lang="en-US" dirty="0"/>
              <a:t>- Internal turnaround and </a:t>
            </a:r>
            <a:r>
              <a:rPr lang="en-US" dirty="0" smtClean="0"/>
              <a:t>commentary </a:t>
            </a:r>
            <a:r>
              <a:rPr lang="en-US" dirty="0"/>
              <a:t>by the directorates of the EU </a:t>
            </a:r>
            <a:r>
              <a:rPr lang="en-US" dirty="0" smtClean="0"/>
              <a:t>COM</a:t>
            </a:r>
            <a:endParaRPr lang="en-US" dirty="0"/>
          </a:p>
        </p:txBody>
      </p:sp>
      <p:sp>
        <p:nvSpPr>
          <p:cNvPr id="246" name="Textplatzhalter 2"/>
          <p:cNvSpPr txBox="1">
            <a:spLocks/>
          </p:cNvSpPr>
          <p:nvPr/>
        </p:nvSpPr>
        <p:spPr>
          <a:xfrm>
            <a:off x="727660" y="4818694"/>
            <a:ext cx="2398139" cy="362906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defPPr>
              <a:defRPr lang="en-US"/>
            </a:defPPr>
            <a:lvl1pPr marL="0" marR="0" indent="0" defTabSz="91440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>
                <a:srgbClr val="C0C0C0"/>
              </a:buClr>
              <a:buSzTx/>
              <a:buFontTx/>
              <a:buNone/>
              <a:tabLst/>
              <a:defRPr sz="1100" kern="0">
                <a:solidFill>
                  <a:srgbClr val="404040"/>
                </a:solidFill>
                <a:latin typeface="Calibri" pitchFamily="34" charset="0"/>
                <a:ea typeface="+mn-ea"/>
                <a:cs typeface="Times New Roman"/>
              </a:defRPr>
            </a:lvl1pPr>
            <a:lvl2pPr marL="184150" marR="0" indent="-1841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C0C0"/>
              </a:buClr>
              <a:buSzTx/>
              <a:buFont typeface="Arial" pitchFamily="34" charset="0"/>
              <a:buChar char="•"/>
              <a:tabLst/>
              <a:defRPr sz="14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361950" marR="0" indent="-1778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C0C0"/>
              </a:buClr>
              <a:buSzTx/>
              <a:buFont typeface="Symbol" pitchFamily="18" charset="2"/>
              <a:buChar char="-"/>
              <a:tabLst/>
              <a:defRPr sz="1400" b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3pPr>
            <a:lvl4pPr marL="542925" marR="0" indent="-1778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C0C0"/>
              </a:buClr>
              <a:buSzTx/>
              <a:buFont typeface="Arial" pitchFamily="34" charset="0"/>
              <a:buChar char="•"/>
              <a:tabLst/>
              <a:defRPr sz="1400" b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4pPr>
            <a:lvl5pPr marL="715963" marR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C0C0"/>
              </a:buClr>
              <a:buSzTx/>
              <a:buFont typeface="Symbol" pitchFamily="18" charset="2"/>
              <a:buChar char="-"/>
              <a:tabLst/>
              <a:defRPr sz="1400" baseline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5pPr>
            <a:lvl6pPr marL="1520825" marR="0" indent="-18097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>
                <a:solidFill>
                  <a:schemeClr val="tx1"/>
                </a:solidFill>
                <a:latin typeface="+mn-lt"/>
                <a:ea typeface="+mn-ea"/>
              </a:defRPr>
            </a:lvl6pPr>
            <a:lvl7pPr marL="1797050" marR="0" indent="-18097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>
                <a:solidFill>
                  <a:schemeClr val="tx1"/>
                </a:solidFill>
                <a:latin typeface="+mn-lt"/>
                <a:ea typeface="+mn-ea"/>
              </a:defRPr>
            </a:lvl7pPr>
            <a:lvl8pPr marL="2062163" marR="0" indent="-18097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>
                <a:solidFill>
                  <a:schemeClr val="tx1"/>
                </a:solidFill>
                <a:latin typeface="+mn-lt"/>
                <a:ea typeface="+mn-ea"/>
              </a:defRPr>
            </a:lvl8pPr>
            <a:lvl9pPr marL="2328863" marR="0" indent="-18097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r>
              <a:rPr lang="en-US" dirty="0"/>
              <a:t>Preparation for TCMV 03/24/2015</a:t>
            </a:r>
          </a:p>
        </p:txBody>
      </p:sp>
      <p:cxnSp>
        <p:nvCxnSpPr>
          <p:cNvPr id="248" name="Gerade Verbindung 247"/>
          <p:cNvCxnSpPr/>
          <p:nvPr/>
        </p:nvCxnSpPr>
        <p:spPr>
          <a:xfrm>
            <a:off x="863222" y="5738593"/>
            <a:ext cx="7865162" cy="0"/>
          </a:xfrm>
          <a:prstGeom prst="line">
            <a:avLst/>
          </a:prstGeom>
          <a:noFill/>
          <a:ln w="9525" cap="flat" cmpd="sng" algn="ctr">
            <a:solidFill>
              <a:srgbClr val="C0C0C0"/>
            </a:solidFill>
            <a:prstDash val="solid"/>
          </a:ln>
          <a:effectLst/>
        </p:spPr>
      </p:cxnSp>
      <p:sp>
        <p:nvSpPr>
          <p:cNvPr id="249" name="Textplatzhalter 2"/>
          <p:cNvSpPr txBox="1">
            <a:spLocks/>
          </p:cNvSpPr>
          <p:nvPr/>
        </p:nvSpPr>
        <p:spPr>
          <a:xfrm>
            <a:off x="868348" y="5269539"/>
            <a:ext cx="2263313" cy="362906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C0C0"/>
              </a:buClr>
              <a:buSzTx/>
              <a:buFontTx/>
              <a:buNone/>
              <a:tabLst/>
              <a:defRPr sz="1400" b="1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184150" marR="0" indent="-1841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C0C0"/>
              </a:buClr>
              <a:buSzTx/>
              <a:buFont typeface="Arial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361950" marR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C0C0"/>
              </a:buClr>
              <a:buSzTx/>
              <a:buFont typeface="Symbol" pitchFamily="18" charset="2"/>
              <a:buChar char="-"/>
              <a:tabLst/>
              <a:defRPr sz="1400" b="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3pPr>
            <a:lvl4pPr marL="542925" marR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C0C0"/>
              </a:buClr>
              <a:buSzTx/>
              <a:buFont typeface="Arial" pitchFamily="34" charset="0"/>
              <a:buChar char="•"/>
              <a:tabLst/>
              <a:defRPr sz="1400" b="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4pPr>
            <a:lvl5pPr marL="715963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C0C0"/>
              </a:buClr>
              <a:buSzTx/>
              <a:buFont typeface="Symbol" pitchFamily="18" charset="2"/>
              <a:buChar char="-"/>
              <a:tabLst/>
              <a:defRPr sz="1400" kern="1200" baseline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5pPr>
            <a:lvl6pPr marL="1520825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97050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062163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328863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200"/>
              </a:lnSpc>
              <a:spcAft>
                <a:spcPts val="0"/>
              </a:spcAft>
              <a:defRPr/>
            </a:pPr>
            <a:r>
              <a:rPr lang="en-US" sz="1100" b="0" kern="0" dirty="0" smtClean="0">
                <a:solidFill>
                  <a:srgbClr val="404040"/>
                </a:solidFill>
                <a:cs typeface="Times New Roman"/>
              </a:rPr>
              <a:t>- a </a:t>
            </a:r>
            <a:r>
              <a:rPr lang="en-US" sz="1100" b="0" kern="0" dirty="0">
                <a:solidFill>
                  <a:srgbClr val="404040"/>
                </a:solidFill>
                <a:cs typeface="Times New Roman"/>
              </a:rPr>
              <a:t>compromise may be </a:t>
            </a:r>
            <a:r>
              <a:rPr lang="en-US" sz="1100" b="0" kern="0" dirty="0" smtClean="0">
                <a:solidFill>
                  <a:srgbClr val="404040"/>
                </a:solidFill>
                <a:cs typeface="Times New Roman"/>
              </a:rPr>
              <a:t>distributed to</a:t>
            </a:r>
          </a:p>
          <a:p>
            <a:pPr>
              <a:lnSpc>
                <a:spcPts val="1200"/>
              </a:lnSpc>
              <a:spcAft>
                <a:spcPts val="0"/>
              </a:spcAft>
              <a:defRPr/>
            </a:pPr>
            <a:r>
              <a:rPr lang="en-US" sz="1100" b="0" kern="0" dirty="0" smtClean="0">
                <a:solidFill>
                  <a:srgbClr val="404040"/>
                </a:solidFill>
                <a:cs typeface="Times New Roman"/>
              </a:rPr>
              <a:t>  MS</a:t>
            </a:r>
            <a:endParaRPr lang="en-US" sz="1100" b="0" kern="0" dirty="0">
              <a:solidFill>
                <a:srgbClr val="404040"/>
              </a:solidFill>
              <a:cs typeface="Times New Roman"/>
            </a:endParaRPr>
          </a:p>
        </p:txBody>
      </p:sp>
      <p:sp>
        <p:nvSpPr>
          <p:cNvPr id="250" name="Textplatzhalter 2"/>
          <p:cNvSpPr txBox="1">
            <a:spLocks/>
          </p:cNvSpPr>
          <p:nvPr/>
        </p:nvSpPr>
        <p:spPr>
          <a:xfrm>
            <a:off x="857361" y="5856458"/>
            <a:ext cx="2291722" cy="362906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defPPr>
              <a:defRPr lang="en-US"/>
            </a:defPPr>
            <a:lvl1pPr marL="0" marR="0" indent="0" defTabSz="91440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>
                <a:srgbClr val="C0C0C0"/>
              </a:buClr>
              <a:buSzTx/>
              <a:buFontTx/>
              <a:buNone/>
              <a:tabLst/>
              <a:defRPr sz="1100" b="0" kern="0">
                <a:solidFill>
                  <a:srgbClr val="404040"/>
                </a:solidFill>
                <a:latin typeface="Calibri" pitchFamily="34" charset="0"/>
                <a:ea typeface="+mn-ea"/>
                <a:cs typeface="Times New Roman"/>
              </a:defRPr>
            </a:lvl1pPr>
            <a:lvl2pPr marL="184150" marR="0" indent="-1841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C0C0"/>
              </a:buClr>
              <a:buSzTx/>
              <a:buFont typeface="Arial" pitchFamily="34" charset="0"/>
              <a:buChar char="•"/>
              <a:tabLst/>
              <a:defRPr sz="14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361950" marR="0" indent="-1778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C0C0"/>
              </a:buClr>
              <a:buSzTx/>
              <a:buFont typeface="Symbol" pitchFamily="18" charset="2"/>
              <a:buChar char="-"/>
              <a:tabLst/>
              <a:defRPr sz="1400" b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3pPr>
            <a:lvl4pPr marL="542925" marR="0" indent="-1778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C0C0"/>
              </a:buClr>
              <a:buSzTx/>
              <a:buFont typeface="Arial" pitchFamily="34" charset="0"/>
              <a:buChar char="•"/>
              <a:tabLst/>
              <a:defRPr sz="1400" b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4pPr>
            <a:lvl5pPr marL="715963" marR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C0C0"/>
              </a:buClr>
              <a:buSzTx/>
              <a:buFont typeface="Symbol" pitchFamily="18" charset="2"/>
              <a:buChar char="-"/>
              <a:tabLst/>
              <a:defRPr sz="1400" baseline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5pPr>
            <a:lvl6pPr marL="1520825" marR="0" indent="-18097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>
                <a:solidFill>
                  <a:schemeClr val="tx1"/>
                </a:solidFill>
                <a:latin typeface="+mn-lt"/>
                <a:ea typeface="+mn-ea"/>
              </a:defRPr>
            </a:lvl6pPr>
            <a:lvl7pPr marL="1797050" marR="0" indent="-18097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>
                <a:solidFill>
                  <a:schemeClr val="tx1"/>
                </a:solidFill>
                <a:latin typeface="+mn-lt"/>
                <a:ea typeface="+mn-ea"/>
              </a:defRPr>
            </a:lvl7pPr>
            <a:lvl8pPr marL="2062163" marR="0" indent="-18097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>
                <a:solidFill>
                  <a:schemeClr val="tx1"/>
                </a:solidFill>
                <a:latin typeface="+mn-lt"/>
                <a:ea typeface="+mn-ea"/>
              </a:defRPr>
            </a:lvl8pPr>
            <a:lvl9pPr marL="2328863" marR="0" indent="-18097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r>
              <a:rPr lang="en-US" dirty="0"/>
              <a:t> - Confirmation in TCMV</a:t>
            </a:r>
          </a:p>
        </p:txBody>
      </p:sp>
      <p:cxnSp>
        <p:nvCxnSpPr>
          <p:cNvPr id="251" name="Gerade Verbindung 250"/>
          <p:cNvCxnSpPr/>
          <p:nvPr/>
        </p:nvCxnSpPr>
        <p:spPr>
          <a:xfrm>
            <a:off x="4052254" y="2163584"/>
            <a:ext cx="0" cy="4227636"/>
          </a:xfrm>
          <a:prstGeom prst="line">
            <a:avLst/>
          </a:prstGeom>
          <a:noFill/>
          <a:ln w="9525" cap="flat" cmpd="sng" algn="ctr">
            <a:solidFill>
              <a:srgbClr val="C0C0C0"/>
            </a:solidFill>
            <a:prstDash val="solid"/>
          </a:ln>
          <a:effectLst/>
        </p:spPr>
      </p:cxnSp>
      <p:cxnSp>
        <p:nvCxnSpPr>
          <p:cNvPr id="252" name="Gerade Verbindung 251"/>
          <p:cNvCxnSpPr/>
          <p:nvPr/>
        </p:nvCxnSpPr>
        <p:spPr>
          <a:xfrm>
            <a:off x="3131392" y="1816505"/>
            <a:ext cx="0" cy="4577516"/>
          </a:xfrm>
          <a:prstGeom prst="line">
            <a:avLst/>
          </a:prstGeom>
          <a:noFill/>
          <a:ln w="9525" cap="flat" cmpd="sng" algn="ctr">
            <a:solidFill>
              <a:srgbClr val="808080"/>
            </a:solidFill>
            <a:prstDash val="solid"/>
          </a:ln>
          <a:effectLst/>
        </p:spPr>
      </p:cxnSp>
      <p:sp>
        <p:nvSpPr>
          <p:cNvPr id="253" name="Rechteck 252"/>
          <p:cNvSpPr/>
          <p:nvPr/>
        </p:nvSpPr>
        <p:spPr>
          <a:xfrm>
            <a:off x="3149082" y="2060320"/>
            <a:ext cx="881355" cy="180734"/>
          </a:xfrm>
          <a:prstGeom prst="rect">
            <a:avLst/>
          </a:prstGeom>
          <a:solidFill>
            <a:srgbClr val="EAEAEA"/>
          </a:solidFill>
          <a:ln w="3175" cap="flat" cmpd="sng" algn="ctr">
            <a:noFill/>
            <a:prstDash val="solid"/>
          </a:ln>
          <a:effectLst/>
        </p:spPr>
        <p:txBody>
          <a:bodyPr wrap="none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b="0" kern="0" dirty="0" smtClean="0">
                <a:solidFill>
                  <a:srgbClr val="404040"/>
                </a:solidFill>
                <a:latin typeface="Calibri"/>
                <a:ea typeface="+mn-ea"/>
                <a:cs typeface="Calibri" pitchFamily="34" charset="0"/>
              </a:rPr>
              <a:t>Dez</a:t>
            </a:r>
          </a:p>
        </p:txBody>
      </p:sp>
      <p:cxnSp>
        <p:nvCxnSpPr>
          <p:cNvPr id="254" name="Gerade Verbindung 253"/>
          <p:cNvCxnSpPr/>
          <p:nvPr/>
        </p:nvCxnSpPr>
        <p:spPr bwMode="auto">
          <a:xfrm>
            <a:off x="647882" y="2060320"/>
            <a:ext cx="0" cy="4257874"/>
          </a:xfrm>
          <a:prstGeom prst="line">
            <a:avLst/>
          </a:prstGeom>
          <a:solidFill>
            <a:srgbClr val="FFFFFF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  <a:effectLst/>
        </p:spPr>
      </p:cxnSp>
      <p:sp>
        <p:nvSpPr>
          <p:cNvPr id="255" name="Rechteck 254"/>
          <p:cNvSpPr/>
          <p:nvPr/>
        </p:nvSpPr>
        <p:spPr>
          <a:xfrm>
            <a:off x="3149082" y="1803944"/>
            <a:ext cx="881355" cy="199794"/>
          </a:xfrm>
          <a:prstGeom prst="rect">
            <a:avLst/>
          </a:prstGeom>
          <a:solidFill>
            <a:srgbClr val="69A2E1"/>
          </a:solidFill>
          <a:ln w="3175" cap="flat" cmpd="sng" algn="ctr">
            <a:noFill/>
            <a:prstDash val="solid"/>
          </a:ln>
          <a:effectLst/>
        </p:spPr>
        <p:txBody>
          <a:bodyPr wrap="none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kern="0" dirty="0" smtClean="0">
                <a:solidFill>
                  <a:srgbClr val="FFFFFF"/>
                </a:solidFill>
                <a:latin typeface="Calibri"/>
                <a:ea typeface="+mn-ea"/>
                <a:cs typeface="Calibri" pitchFamily="34" charset="0"/>
              </a:rPr>
              <a:t>2014</a:t>
            </a:r>
          </a:p>
        </p:txBody>
      </p:sp>
      <p:grpSp>
        <p:nvGrpSpPr>
          <p:cNvPr id="256" name="Group 4"/>
          <p:cNvGrpSpPr>
            <a:grpSpLocks/>
          </p:cNvGrpSpPr>
          <p:nvPr/>
        </p:nvGrpSpPr>
        <p:grpSpPr bwMode="auto">
          <a:xfrm>
            <a:off x="6572321" y="5668870"/>
            <a:ext cx="779324" cy="747185"/>
            <a:chOff x="1415" y="1338"/>
            <a:chExt cx="2621" cy="2687"/>
          </a:xfrm>
          <a:solidFill>
            <a:srgbClr val="FFFFFF">
              <a:lumMod val="50000"/>
            </a:srgbClr>
          </a:solidFill>
        </p:grpSpPr>
        <p:sp>
          <p:nvSpPr>
            <p:cNvPr id="257" name="Freeform 5"/>
            <p:cNvSpPr>
              <a:spLocks noChangeAspect="1"/>
            </p:cNvSpPr>
            <p:nvPr/>
          </p:nvSpPr>
          <p:spPr bwMode="auto">
            <a:xfrm>
              <a:off x="2804" y="3997"/>
              <a:ext cx="25" cy="28"/>
            </a:xfrm>
            <a:custGeom>
              <a:avLst/>
              <a:gdLst>
                <a:gd name="T0" fmla="*/ 0 w 24"/>
                <a:gd name="T1" fmla="*/ 0 h 28"/>
                <a:gd name="T2" fmla="*/ 213 w 24"/>
                <a:gd name="T3" fmla="*/ 13 h 28"/>
                <a:gd name="T4" fmla="*/ 272 w 24"/>
                <a:gd name="T5" fmla="*/ 22 h 28"/>
                <a:gd name="T6" fmla="*/ 180 w 24"/>
                <a:gd name="T7" fmla="*/ 25 h 28"/>
                <a:gd name="T8" fmla="*/ 8 w 24"/>
                <a:gd name="T9" fmla="*/ 17 h 28"/>
                <a:gd name="T10" fmla="*/ 2 w 24"/>
                <a:gd name="T11" fmla="*/ 10 h 28"/>
                <a:gd name="T12" fmla="*/ 7 w 24"/>
                <a:gd name="T13" fmla="*/ 3 h 28"/>
                <a:gd name="T14" fmla="*/ 0 w 24"/>
                <a:gd name="T15" fmla="*/ 0 h 2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4"/>
                <a:gd name="T25" fmla="*/ 0 h 28"/>
                <a:gd name="T26" fmla="*/ 24 w 24"/>
                <a:gd name="T27" fmla="*/ 28 h 2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4" h="28">
                  <a:moveTo>
                    <a:pt x="0" y="0"/>
                  </a:moveTo>
                  <a:cubicBezTo>
                    <a:pt x="10" y="1"/>
                    <a:pt x="13" y="5"/>
                    <a:pt x="18" y="13"/>
                  </a:cubicBezTo>
                  <a:cubicBezTo>
                    <a:pt x="20" y="16"/>
                    <a:pt x="24" y="22"/>
                    <a:pt x="24" y="22"/>
                  </a:cubicBezTo>
                  <a:cubicBezTo>
                    <a:pt x="22" y="28"/>
                    <a:pt x="19" y="27"/>
                    <a:pt x="14" y="25"/>
                  </a:cubicBezTo>
                  <a:cubicBezTo>
                    <a:pt x="12" y="21"/>
                    <a:pt x="12" y="19"/>
                    <a:pt x="8" y="17"/>
                  </a:cubicBezTo>
                  <a:cubicBezTo>
                    <a:pt x="7" y="14"/>
                    <a:pt x="3" y="13"/>
                    <a:pt x="2" y="10"/>
                  </a:cubicBezTo>
                  <a:cubicBezTo>
                    <a:pt x="1" y="7"/>
                    <a:pt x="9" y="5"/>
                    <a:pt x="7" y="3"/>
                  </a:cubicBezTo>
                  <a:cubicBezTo>
                    <a:pt x="5" y="1"/>
                    <a:pt x="2" y="1"/>
                    <a:pt x="0" y="0"/>
                  </a:cubicBez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  <p:sp>
          <p:nvSpPr>
            <p:cNvPr id="258" name="Freeform 6"/>
            <p:cNvSpPr>
              <a:spLocks noChangeAspect="1"/>
            </p:cNvSpPr>
            <p:nvPr/>
          </p:nvSpPr>
          <p:spPr bwMode="auto">
            <a:xfrm>
              <a:off x="3919" y="3781"/>
              <a:ext cx="117" cy="114"/>
            </a:xfrm>
            <a:custGeom>
              <a:avLst/>
              <a:gdLst>
                <a:gd name="T0" fmla="*/ 26 w 116"/>
                <a:gd name="T1" fmla="*/ 194 h 112"/>
                <a:gd name="T2" fmla="*/ 36 w 116"/>
                <a:gd name="T3" fmla="*/ 179 h 112"/>
                <a:gd name="T4" fmla="*/ 33 w 116"/>
                <a:gd name="T5" fmla="*/ 149 h 112"/>
                <a:gd name="T6" fmla="*/ 120 w 116"/>
                <a:gd name="T7" fmla="*/ 130 h 112"/>
                <a:gd name="T8" fmla="*/ 134 w 116"/>
                <a:gd name="T9" fmla="*/ 114 h 112"/>
                <a:gd name="T10" fmla="*/ 146 w 116"/>
                <a:gd name="T11" fmla="*/ 94 h 112"/>
                <a:gd name="T12" fmla="*/ 176 w 116"/>
                <a:gd name="T13" fmla="*/ 0 h 112"/>
                <a:gd name="T14" fmla="*/ 156 w 116"/>
                <a:gd name="T15" fmla="*/ 122 h 112"/>
                <a:gd name="T16" fmla="*/ 163 w 116"/>
                <a:gd name="T17" fmla="*/ 161 h 112"/>
                <a:gd name="T18" fmla="*/ 148 w 116"/>
                <a:gd name="T19" fmla="*/ 194 h 112"/>
                <a:gd name="T20" fmla="*/ 135 w 116"/>
                <a:gd name="T21" fmla="*/ 245 h 112"/>
                <a:gd name="T22" fmla="*/ 57 w 116"/>
                <a:gd name="T23" fmla="*/ 293 h 112"/>
                <a:gd name="T24" fmla="*/ 48 w 116"/>
                <a:gd name="T25" fmla="*/ 321 h 112"/>
                <a:gd name="T26" fmla="*/ 12 w 116"/>
                <a:gd name="T27" fmla="*/ 314 h 112"/>
                <a:gd name="T28" fmla="*/ 0 w 116"/>
                <a:gd name="T29" fmla="*/ 269 h 112"/>
                <a:gd name="T30" fmla="*/ 15 w 116"/>
                <a:gd name="T31" fmla="*/ 213 h 112"/>
                <a:gd name="T32" fmla="*/ 23 w 116"/>
                <a:gd name="T33" fmla="*/ 205 h 112"/>
                <a:gd name="T34" fmla="*/ 26 w 116"/>
                <a:gd name="T35" fmla="*/ 194 h 11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16"/>
                <a:gd name="T55" fmla="*/ 0 h 112"/>
                <a:gd name="T56" fmla="*/ 116 w 116"/>
                <a:gd name="T57" fmla="*/ 112 h 112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16" h="112">
                  <a:moveTo>
                    <a:pt x="26" y="69"/>
                  </a:moveTo>
                  <a:cubicBezTo>
                    <a:pt x="31" y="68"/>
                    <a:pt x="31" y="66"/>
                    <a:pt x="36" y="64"/>
                  </a:cubicBezTo>
                  <a:cubicBezTo>
                    <a:pt x="37" y="62"/>
                    <a:pt x="30" y="57"/>
                    <a:pt x="33" y="54"/>
                  </a:cubicBezTo>
                  <a:cubicBezTo>
                    <a:pt x="27" y="48"/>
                    <a:pt x="50" y="47"/>
                    <a:pt x="59" y="46"/>
                  </a:cubicBezTo>
                  <a:cubicBezTo>
                    <a:pt x="66" y="44"/>
                    <a:pt x="65" y="39"/>
                    <a:pt x="73" y="38"/>
                  </a:cubicBezTo>
                  <a:cubicBezTo>
                    <a:pt x="78" y="37"/>
                    <a:pt x="85" y="28"/>
                    <a:pt x="85" y="28"/>
                  </a:cubicBezTo>
                  <a:cubicBezTo>
                    <a:pt x="99" y="20"/>
                    <a:pt x="98" y="5"/>
                    <a:pt x="114" y="0"/>
                  </a:cubicBezTo>
                  <a:cubicBezTo>
                    <a:pt x="116" y="2"/>
                    <a:pt x="97" y="32"/>
                    <a:pt x="95" y="42"/>
                  </a:cubicBezTo>
                  <a:cubicBezTo>
                    <a:pt x="91" y="49"/>
                    <a:pt x="96" y="49"/>
                    <a:pt x="102" y="58"/>
                  </a:cubicBezTo>
                  <a:cubicBezTo>
                    <a:pt x="101" y="61"/>
                    <a:pt x="91" y="67"/>
                    <a:pt x="87" y="69"/>
                  </a:cubicBezTo>
                  <a:cubicBezTo>
                    <a:pt x="85" y="75"/>
                    <a:pt x="80" y="80"/>
                    <a:pt x="74" y="82"/>
                  </a:cubicBezTo>
                  <a:cubicBezTo>
                    <a:pt x="73" y="84"/>
                    <a:pt x="60" y="99"/>
                    <a:pt x="57" y="100"/>
                  </a:cubicBezTo>
                  <a:cubicBezTo>
                    <a:pt x="54" y="104"/>
                    <a:pt x="51" y="108"/>
                    <a:pt x="48" y="111"/>
                  </a:cubicBezTo>
                  <a:cubicBezTo>
                    <a:pt x="32" y="110"/>
                    <a:pt x="24" y="112"/>
                    <a:pt x="12" y="108"/>
                  </a:cubicBezTo>
                  <a:cubicBezTo>
                    <a:pt x="9" y="100"/>
                    <a:pt x="4" y="97"/>
                    <a:pt x="0" y="91"/>
                  </a:cubicBezTo>
                  <a:cubicBezTo>
                    <a:pt x="1" y="85"/>
                    <a:pt x="8" y="76"/>
                    <a:pt x="15" y="74"/>
                  </a:cubicBezTo>
                  <a:cubicBezTo>
                    <a:pt x="18" y="73"/>
                    <a:pt x="23" y="72"/>
                    <a:pt x="23" y="72"/>
                  </a:cubicBezTo>
                  <a:cubicBezTo>
                    <a:pt x="26" y="70"/>
                    <a:pt x="26" y="71"/>
                    <a:pt x="26" y="69"/>
                  </a:cubicBez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  <p:grpSp>
          <p:nvGrpSpPr>
            <p:cNvPr id="259" name="Group 8"/>
            <p:cNvGrpSpPr>
              <a:grpSpLocks noChangeAspect="1"/>
            </p:cNvGrpSpPr>
            <p:nvPr/>
          </p:nvGrpSpPr>
          <p:grpSpPr bwMode="auto">
            <a:xfrm>
              <a:off x="3000" y="2184"/>
              <a:ext cx="229" cy="165"/>
              <a:chOff x="3131" y="2031"/>
              <a:chExt cx="227" cy="163"/>
            </a:xfrm>
            <a:grpFill/>
          </p:grpSpPr>
          <p:sp>
            <p:nvSpPr>
              <p:cNvPr id="375" name="Freeform 9"/>
              <p:cNvSpPr>
                <a:spLocks noChangeAspect="1"/>
              </p:cNvSpPr>
              <p:nvPr/>
            </p:nvSpPr>
            <p:spPr bwMode="auto">
              <a:xfrm>
                <a:off x="3131" y="2103"/>
                <a:ext cx="40" cy="31"/>
              </a:xfrm>
              <a:custGeom>
                <a:avLst/>
                <a:gdLst>
                  <a:gd name="T0" fmla="*/ 18 w 40"/>
                  <a:gd name="T1" fmla="*/ 1 h 31"/>
                  <a:gd name="T2" fmla="*/ 26 w 40"/>
                  <a:gd name="T3" fmla="*/ 4 h 31"/>
                  <a:gd name="T4" fmla="*/ 36 w 40"/>
                  <a:gd name="T5" fmla="*/ 13 h 31"/>
                  <a:gd name="T6" fmla="*/ 26 w 40"/>
                  <a:gd name="T7" fmla="*/ 25 h 31"/>
                  <a:gd name="T8" fmla="*/ 16 w 40"/>
                  <a:gd name="T9" fmla="*/ 30 h 31"/>
                  <a:gd name="T10" fmla="*/ 12 w 40"/>
                  <a:gd name="T11" fmla="*/ 19 h 31"/>
                  <a:gd name="T12" fmla="*/ 0 w 40"/>
                  <a:gd name="T13" fmla="*/ 23 h 31"/>
                  <a:gd name="T14" fmla="*/ 15 w 40"/>
                  <a:gd name="T15" fmla="*/ 12 h 31"/>
                  <a:gd name="T16" fmla="*/ 18 w 40"/>
                  <a:gd name="T17" fmla="*/ 1 h 31"/>
                  <a:gd name="T18" fmla="*/ 22 w 40"/>
                  <a:gd name="T19" fmla="*/ 3 h 31"/>
                  <a:gd name="T20" fmla="*/ 18 w 40"/>
                  <a:gd name="T21" fmla="*/ 1 h 31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40"/>
                  <a:gd name="T34" fmla="*/ 0 h 31"/>
                  <a:gd name="T35" fmla="*/ 40 w 40"/>
                  <a:gd name="T36" fmla="*/ 31 h 31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40" h="31">
                    <a:moveTo>
                      <a:pt x="18" y="1"/>
                    </a:moveTo>
                    <a:cubicBezTo>
                      <a:pt x="21" y="2"/>
                      <a:pt x="24" y="2"/>
                      <a:pt x="26" y="4"/>
                    </a:cubicBezTo>
                    <a:cubicBezTo>
                      <a:pt x="32" y="9"/>
                      <a:pt x="29" y="11"/>
                      <a:pt x="36" y="13"/>
                    </a:cubicBezTo>
                    <a:cubicBezTo>
                      <a:pt x="40" y="22"/>
                      <a:pt x="32" y="21"/>
                      <a:pt x="26" y="25"/>
                    </a:cubicBezTo>
                    <a:cubicBezTo>
                      <a:pt x="22" y="31"/>
                      <a:pt x="25" y="31"/>
                      <a:pt x="16" y="30"/>
                    </a:cubicBezTo>
                    <a:cubicBezTo>
                      <a:pt x="15" y="26"/>
                      <a:pt x="14" y="23"/>
                      <a:pt x="12" y="19"/>
                    </a:cubicBezTo>
                    <a:cubicBezTo>
                      <a:pt x="5" y="21"/>
                      <a:pt x="6" y="24"/>
                      <a:pt x="0" y="23"/>
                    </a:cubicBezTo>
                    <a:cubicBezTo>
                      <a:pt x="4" y="16"/>
                      <a:pt x="7" y="15"/>
                      <a:pt x="15" y="12"/>
                    </a:cubicBezTo>
                    <a:cubicBezTo>
                      <a:pt x="17" y="9"/>
                      <a:pt x="16" y="4"/>
                      <a:pt x="18" y="1"/>
                    </a:cubicBezTo>
                    <a:cubicBezTo>
                      <a:pt x="19" y="0"/>
                      <a:pt x="22" y="3"/>
                      <a:pt x="22" y="3"/>
                    </a:cubicBezTo>
                    <a:cubicBezTo>
                      <a:pt x="22" y="3"/>
                      <a:pt x="19" y="2"/>
                      <a:pt x="18" y="1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76" name="Freeform 10"/>
              <p:cNvSpPr>
                <a:spLocks noChangeAspect="1"/>
              </p:cNvSpPr>
              <p:nvPr/>
            </p:nvSpPr>
            <p:spPr bwMode="auto">
              <a:xfrm>
                <a:off x="3131" y="2136"/>
                <a:ext cx="52" cy="58"/>
              </a:xfrm>
              <a:custGeom>
                <a:avLst/>
                <a:gdLst>
                  <a:gd name="T0" fmla="*/ 35 w 52"/>
                  <a:gd name="T1" fmla="*/ 3 h 58"/>
                  <a:gd name="T2" fmla="*/ 51 w 52"/>
                  <a:gd name="T3" fmla="*/ 10 h 58"/>
                  <a:gd name="T4" fmla="*/ 44 w 52"/>
                  <a:gd name="T5" fmla="*/ 15 h 58"/>
                  <a:gd name="T6" fmla="*/ 33 w 52"/>
                  <a:gd name="T7" fmla="*/ 33 h 58"/>
                  <a:gd name="T8" fmla="*/ 18 w 52"/>
                  <a:gd name="T9" fmla="*/ 34 h 58"/>
                  <a:gd name="T10" fmla="*/ 11 w 52"/>
                  <a:gd name="T11" fmla="*/ 58 h 58"/>
                  <a:gd name="T12" fmla="*/ 14 w 52"/>
                  <a:gd name="T13" fmla="*/ 44 h 58"/>
                  <a:gd name="T14" fmla="*/ 0 w 52"/>
                  <a:gd name="T15" fmla="*/ 33 h 58"/>
                  <a:gd name="T16" fmla="*/ 15 w 52"/>
                  <a:gd name="T17" fmla="*/ 13 h 58"/>
                  <a:gd name="T18" fmla="*/ 35 w 52"/>
                  <a:gd name="T19" fmla="*/ 3 h 58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52"/>
                  <a:gd name="T31" fmla="*/ 0 h 58"/>
                  <a:gd name="T32" fmla="*/ 52 w 52"/>
                  <a:gd name="T33" fmla="*/ 58 h 58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52" h="58">
                    <a:moveTo>
                      <a:pt x="35" y="3"/>
                    </a:moveTo>
                    <a:cubicBezTo>
                      <a:pt x="41" y="4"/>
                      <a:pt x="45" y="8"/>
                      <a:pt x="51" y="10"/>
                    </a:cubicBezTo>
                    <a:cubicBezTo>
                      <a:pt x="49" y="19"/>
                      <a:pt x="52" y="10"/>
                      <a:pt x="44" y="15"/>
                    </a:cubicBezTo>
                    <a:cubicBezTo>
                      <a:pt x="38" y="19"/>
                      <a:pt x="41" y="30"/>
                      <a:pt x="33" y="33"/>
                    </a:cubicBezTo>
                    <a:cubicBezTo>
                      <a:pt x="29" y="30"/>
                      <a:pt x="18" y="34"/>
                      <a:pt x="18" y="34"/>
                    </a:cubicBezTo>
                    <a:cubicBezTo>
                      <a:pt x="15" y="42"/>
                      <a:pt x="18" y="53"/>
                      <a:pt x="11" y="58"/>
                    </a:cubicBezTo>
                    <a:cubicBezTo>
                      <a:pt x="3" y="55"/>
                      <a:pt x="10" y="47"/>
                      <a:pt x="14" y="44"/>
                    </a:cubicBezTo>
                    <a:cubicBezTo>
                      <a:pt x="11" y="32"/>
                      <a:pt x="6" y="42"/>
                      <a:pt x="0" y="33"/>
                    </a:cubicBezTo>
                    <a:cubicBezTo>
                      <a:pt x="2" y="24"/>
                      <a:pt x="5" y="16"/>
                      <a:pt x="15" y="13"/>
                    </a:cubicBezTo>
                    <a:cubicBezTo>
                      <a:pt x="18" y="0"/>
                      <a:pt x="17" y="3"/>
                      <a:pt x="35" y="3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77" name="Freeform 11"/>
              <p:cNvSpPr>
                <a:spLocks noChangeAspect="1"/>
              </p:cNvSpPr>
              <p:nvPr/>
            </p:nvSpPr>
            <p:spPr bwMode="auto">
              <a:xfrm>
                <a:off x="3177" y="2031"/>
                <a:ext cx="181" cy="157"/>
              </a:xfrm>
              <a:custGeom>
                <a:avLst/>
                <a:gdLst>
                  <a:gd name="T0" fmla="*/ 176 w 181"/>
                  <a:gd name="T1" fmla="*/ 145 h 157"/>
                  <a:gd name="T2" fmla="*/ 181 w 181"/>
                  <a:gd name="T3" fmla="*/ 121 h 157"/>
                  <a:gd name="T4" fmla="*/ 169 w 181"/>
                  <a:gd name="T5" fmla="*/ 101 h 157"/>
                  <a:gd name="T6" fmla="*/ 157 w 181"/>
                  <a:gd name="T7" fmla="*/ 82 h 157"/>
                  <a:gd name="T8" fmla="*/ 139 w 181"/>
                  <a:gd name="T9" fmla="*/ 58 h 157"/>
                  <a:gd name="T10" fmla="*/ 155 w 181"/>
                  <a:gd name="T11" fmla="*/ 45 h 157"/>
                  <a:gd name="T12" fmla="*/ 166 w 181"/>
                  <a:gd name="T13" fmla="*/ 41 h 157"/>
                  <a:gd name="T14" fmla="*/ 173 w 181"/>
                  <a:gd name="T15" fmla="*/ 21 h 157"/>
                  <a:gd name="T16" fmla="*/ 169 w 181"/>
                  <a:gd name="T17" fmla="*/ 5 h 157"/>
                  <a:gd name="T18" fmla="*/ 168 w 181"/>
                  <a:gd name="T19" fmla="*/ 1 h 157"/>
                  <a:gd name="T20" fmla="*/ 157 w 181"/>
                  <a:gd name="T21" fmla="*/ 7 h 157"/>
                  <a:gd name="T22" fmla="*/ 139 w 181"/>
                  <a:gd name="T23" fmla="*/ 12 h 157"/>
                  <a:gd name="T24" fmla="*/ 74 w 181"/>
                  <a:gd name="T25" fmla="*/ 18 h 157"/>
                  <a:gd name="T26" fmla="*/ 50 w 181"/>
                  <a:gd name="T27" fmla="*/ 33 h 157"/>
                  <a:gd name="T28" fmla="*/ 20 w 181"/>
                  <a:gd name="T29" fmla="*/ 49 h 157"/>
                  <a:gd name="T30" fmla="*/ 11 w 181"/>
                  <a:gd name="T31" fmla="*/ 55 h 157"/>
                  <a:gd name="T32" fmla="*/ 2 w 181"/>
                  <a:gd name="T33" fmla="*/ 65 h 157"/>
                  <a:gd name="T34" fmla="*/ 10 w 181"/>
                  <a:gd name="T35" fmla="*/ 89 h 157"/>
                  <a:gd name="T36" fmla="*/ 17 w 181"/>
                  <a:gd name="T37" fmla="*/ 101 h 157"/>
                  <a:gd name="T38" fmla="*/ 26 w 181"/>
                  <a:gd name="T39" fmla="*/ 111 h 157"/>
                  <a:gd name="T40" fmla="*/ 53 w 181"/>
                  <a:gd name="T41" fmla="*/ 114 h 157"/>
                  <a:gd name="T42" fmla="*/ 54 w 181"/>
                  <a:gd name="T43" fmla="*/ 126 h 157"/>
                  <a:gd name="T44" fmla="*/ 58 w 181"/>
                  <a:gd name="T45" fmla="*/ 132 h 157"/>
                  <a:gd name="T46" fmla="*/ 58 w 181"/>
                  <a:gd name="T47" fmla="*/ 144 h 157"/>
                  <a:gd name="T48" fmla="*/ 85 w 181"/>
                  <a:gd name="T49" fmla="*/ 131 h 157"/>
                  <a:gd name="T50" fmla="*/ 109 w 181"/>
                  <a:gd name="T51" fmla="*/ 138 h 157"/>
                  <a:gd name="T52" fmla="*/ 119 w 181"/>
                  <a:gd name="T53" fmla="*/ 147 h 157"/>
                  <a:gd name="T54" fmla="*/ 128 w 181"/>
                  <a:gd name="T55" fmla="*/ 150 h 157"/>
                  <a:gd name="T56" fmla="*/ 146 w 181"/>
                  <a:gd name="T57" fmla="*/ 154 h 157"/>
                  <a:gd name="T58" fmla="*/ 176 w 181"/>
                  <a:gd name="T59" fmla="*/ 145 h 157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w 181"/>
                  <a:gd name="T91" fmla="*/ 0 h 157"/>
                  <a:gd name="T92" fmla="*/ 181 w 181"/>
                  <a:gd name="T93" fmla="*/ 157 h 157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T90" t="T91" r="T92" b="T93"/>
                <a:pathLst>
                  <a:path w="181" h="157">
                    <a:moveTo>
                      <a:pt x="176" y="145"/>
                    </a:moveTo>
                    <a:cubicBezTo>
                      <a:pt x="165" y="141"/>
                      <a:pt x="179" y="128"/>
                      <a:pt x="181" y="121"/>
                    </a:cubicBezTo>
                    <a:cubicBezTo>
                      <a:pt x="179" y="111"/>
                      <a:pt x="178" y="107"/>
                      <a:pt x="169" y="101"/>
                    </a:cubicBezTo>
                    <a:cubicBezTo>
                      <a:pt x="166" y="95"/>
                      <a:pt x="162" y="87"/>
                      <a:pt x="157" y="82"/>
                    </a:cubicBezTo>
                    <a:cubicBezTo>
                      <a:pt x="154" y="73"/>
                      <a:pt x="142" y="68"/>
                      <a:pt x="139" y="58"/>
                    </a:cubicBezTo>
                    <a:cubicBezTo>
                      <a:pt x="140" y="45"/>
                      <a:pt x="143" y="46"/>
                      <a:pt x="155" y="45"/>
                    </a:cubicBezTo>
                    <a:cubicBezTo>
                      <a:pt x="158" y="43"/>
                      <a:pt x="166" y="41"/>
                      <a:pt x="166" y="41"/>
                    </a:cubicBezTo>
                    <a:cubicBezTo>
                      <a:pt x="169" y="37"/>
                      <a:pt x="172" y="27"/>
                      <a:pt x="173" y="21"/>
                    </a:cubicBezTo>
                    <a:cubicBezTo>
                      <a:pt x="175" y="15"/>
                      <a:pt x="174" y="8"/>
                      <a:pt x="169" y="5"/>
                    </a:cubicBezTo>
                    <a:cubicBezTo>
                      <a:pt x="169" y="4"/>
                      <a:pt x="169" y="1"/>
                      <a:pt x="168" y="1"/>
                    </a:cubicBezTo>
                    <a:cubicBezTo>
                      <a:pt x="164" y="0"/>
                      <a:pt x="157" y="7"/>
                      <a:pt x="157" y="7"/>
                    </a:cubicBezTo>
                    <a:cubicBezTo>
                      <a:pt x="153" y="18"/>
                      <a:pt x="157" y="13"/>
                      <a:pt x="139" y="12"/>
                    </a:cubicBezTo>
                    <a:cubicBezTo>
                      <a:pt x="116" y="14"/>
                      <a:pt x="98" y="17"/>
                      <a:pt x="74" y="18"/>
                    </a:cubicBezTo>
                    <a:cubicBezTo>
                      <a:pt x="69" y="26"/>
                      <a:pt x="58" y="28"/>
                      <a:pt x="50" y="33"/>
                    </a:cubicBezTo>
                    <a:cubicBezTo>
                      <a:pt x="40" y="39"/>
                      <a:pt x="29" y="43"/>
                      <a:pt x="20" y="49"/>
                    </a:cubicBezTo>
                    <a:cubicBezTo>
                      <a:pt x="17" y="53"/>
                      <a:pt x="15" y="52"/>
                      <a:pt x="11" y="55"/>
                    </a:cubicBezTo>
                    <a:cubicBezTo>
                      <a:pt x="10" y="58"/>
                      <a:pt x="5" y="63"/>
                      <a:pt x="2" y="65"/>
                    </a:cubicBezTo>
                    <a:cubicBezTo>
                      <a:pt x="0" y="74"/>
                      <a:pt x="2" y="84"/>
                      <a:pt x="10" y="89"/>
                    </a:cubicBezTo>
                    <a:cubicBezTo>
                      <a:pt x="11" y="94"/>
                      <a:pt x="13" y="98"/>
                      <a:pt x="17" y="101"/>
                    </a:cubicBezTo>
                    <a:cubicBezTo>
                      <a:pt x="18" y="106"/>
                      <a:pt x="21" y="109"/>
                      <a:pt x="26" y="111"/>
                    </a:cubicBezTo>
                    <a:cubicBezTo>
                      <a:pt x="31" y="118"/>
                      <a:pt x="46" y="113"/>
                      <a:pt x="53" y="114"/>
                    </a:cubicBezTo>
                    <a:cubicBezTo>
                      <a:pt x="60" y="119"/>
                      <a:pt x="47" y="116"/>
                      <a:pt x="54" y="126"/>
                    </a:cubicBezTo>
                    <a:cubicBezTo>
                      <a:pt x="55" y="128"/>
                      <a:pt x="58" y="132"/>
                      <a:pt x="58" y="132"/>
                    </a:cubicBezTo>
                    <a:cubicBezTo>
                      <a:pt x="58" y="136"/>
                      <a:pt x="55" y="141"/>
                      <a:pt x="58" y="144"/>
                    </a:cubicBezTo>
                    <a:cubicBezTo>
                      <a:pt x="62" y="144"/>
                      <a:pt x="77" y="132"/>
                      <a:pt x="85" y="131"/>
                    </a:cubicBezTo>
                    <a:cubicBezTo>
                      <a:pt x="93" y="132"/>
                      <a:pt x="101" y="131"/>
                      <a:pt x="109" y="138"/>
                    </a:cubicBezTo>
                    <a:cubicBezTo>
                      <a:pt x="110" y="141"/>
                      <a:pt x="115" y="145"/>
                      <a:pt x="119" y="147"/>
                    </a:cubicBezTo>
                    <a:cubicBezTo>
                      <a:pt x="122" y="148"/>
                      <a:pt x="128" y="150"/>
                      <a:pt x="128" y="150"/>
                    </a:cubicBezTo>
                    <a:cubicBezTo>
                      <a:pt x="135" y="157"/>
                      <a:pt x="134" y="155"/>
                      <a:pt x="146" y="154"/>
                    </a:cubicBezTo>
                    <a:cubicBezTo>
                      <a:pt x="160" y="149"/>
                      <a:pt x="151" y="150"/>
                      <a:pt x="176" y="145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</p:grpSp>
        <p:sp>
          <p:nvSpPr>
            <p:cNvPr id="260" name="Freeform 12"/>
            <p:cNvSpPr>
              <a:spLocks noChangeAspect="1"/>
            </p:cNvSpPr>
            <p:nvPr/>
          </p:nvSpPr>
          <p:spPr bwMode="auto">
            <a:xfrm>
              <a:off x="3185" y="1986"/>
              <a:ext cx="279" cy="252"/>
            </a:xfrm>
            <a:custGeom>
              <a:avLst/>
              <a:gdLst>
                <a:gd name="T0" fmla="*/ 0 w 1104"/>
                <a:gd name="T1" fmla="*/ 0 h 995"/>
                <a:gd name="T2" fmla="*/ 0 w 1104"/>
                <a:gd name="T3" fmla="*/ 0 h 995"/>
                <a:gd name="T4" fmla="*/ 0 w 1104"/>
                <a:gd name="T5" fmla="*/ 0 h 995"/>
                <a:gd name="T6" fmla="*/ 0 w 1104"/>
                <a:gd name="T7" fmla="*/ 0 h 995"/>
                <a:gd name="T8" fmla="*/ 0 w 1104"/>
                <a:gd name="T9" fmla="*/ 0 h 995"/>
                <a:gd name="T10" fmla="*/ 0 w 1104"/>
                <a:gd name="T11" fmla="*/ 0 h 995"/>
                <a:gd name="T12" fmla="*/ 0 w 1104"/>
                <a:gd name="T13" fmla="*/ 0 h 995"/>
                <a:gd name="T14" fmla="*/ 0 w 1104"/>
                <a:gd name="T15" fmla="*/ 0 h 995"/>
                <a:gd name="T16" fmla="*/ 0 w 1104"/>
                <a:gd name="T17" fmla="*/ 0 h 995"/>
                <a:gd name="T18" fmla="*/ 0 w 1104"/>
                <a:gd name="T19" fmla="*/ 0 h 995"/>
                <a:gd name="T20" fmla="*/ 0 w 1104"/>
                <a:gd name="T21" fmla="*/ 0 h 995"/>
                <a:gd name="T22" fmla="*/ 0 w 1104"/>
                <a:gd name="T23" fmla="*/ 0 h 995"/>
                <a:gd name="T24" fmla="*/ 0 w 1104"/>
                <a:gd name="T25" fmla="*/ 0 h 995"/>
                <a:gd name="T26" fmla="*/ 0 w 1104"/>
                <a:gd name="T27" fmla="*/ 0 h 995"/>
                <a:gd name="T28" fmla="*/ 0 w 1104"/>
                <a:gd name="T29" fmla="*/ 0 h 995"/>
                <a:gd name="T30" fmla="*/ 0 w 1104"/>
                <a:gd name="T31" fmla="*/ 0 h 995"/>
                <a:gd name="T32" fmla="*/ 0 w 1104"/>
                <a:gd name="T33" fmla="*/ 0 h 995"/>
                <a:gd name="T34" fmla="*/ 0 w 1104"/>
                <a:gd name="T35" fmla="*/ 0 h 995"/>
                <a:gd name="T36" fmla="*/ 0 w 1104"/>
                <a:gd name="T37" fmla="*/ 0 h 995"/>
                <a:gd name="T38" fmla="*/ 0 w 1104"/>
                <a:gd name="T39" fmla="*/ 0 h 995"/>
                <a:gd name="T40" fmla="*/ 0 w 1104"/>
                <a:gd name="T41" fmla="*/ 0 h 995"/>
                <a:gd name="T42" fmla="*/ 0 w 1104"/>
                <a:gd name="T43" fmla="*/ 0 h 995"/>
                <a:gd name="T44" fmla="*/ 0 w 1104"/>
                <a:gd name="T45" fmla="*/ 0 h 995"/>
                <a:gd name="T46" fmla="*/ 0 w 1104"/>
                <a:gd name="T47" fmla="*/ 0 h 995"/>
                <a:gd name="T48" fmla="*/ 0 w 1104"/>
                <a:gd name="T49" fmla="*/ 0 h 995"/>
                <a:gd name="T50" fmla="*/ 0 w 1104"/>
                <a:gd name="T51" fmla="*/ 0 h 995"/>
                <a:gd name="T52" fmla="*/ 0 w 1104"/>
                <a:gd name="T53" fmla="*/ 0 h 995"/>
                <a:gd name="T54" fmla="*/ 0 w 1104"/>
                <a:gd name="T55" fmla="*/ 0 h 995"/>
                <a:gd name="T56" fmla="*/ 0 w 1104"/>
                <a:gd name="T57" fmla="*/ 0 h 995"/>
                <a:gd name="T58" fmla="*/ 0 w 1104"/>
                <a:gd name="T59" fmla="*/ 0 h 995"/>
                <a:gd name="T60" fmla="*/ 0 w 1104"/>
                <a:gd name="T61" fmla="*/ 0 h 995"/>
                <a:gd name="T62" fmla="*/ 0 w 1104"/>
                <a:gd name="T63" fmla="*/ 0 h 995"/>
                <a:gd name="T64" fmla="*/ 0 w 1104"/>
                <a:gd name="T65" fmla="*/ 0 h 995"/>
                <a:gd name="T66" fmla="*/ 0 w 1104"/>
                <a:gd name="T67" fmla="*/ 0 h 995"/>
                <a:gd name="T68" fmla="*/ 0 w 1104"/>
                <a:gd name="T69" fmla="*/ 0 h 995"/>
                <a:gd name="T70" fmla="*/ 0 w 1104"/>
                <a:gd name="T71" fmla="*/ 0 h 995"/>
                <a:gd name="T72" fmla="*/ 0 w 1104"/>
                <a:gd name="T73" fmla="*/ 0 h 995"/>
                <a:gd name="T74" fmla="*/ 0 w 1104"/>
                <a:gd name="T75" fmla="*/ 0 h 995"/>
                <a:gd name="T76" fmla="*/ 0 w 1104"/>
                <a:gd name="T77" fmla="*/ 0 h 995"/>
                <a:gd name="T78" fmla="*/ 0 w 1104"/>
                <a:gd name="T79" fmla="*/ 0 h 995"/>
                <a:gd name="T80" fmla="*/ 0 w 1104"/>
                <a:gd name="T81" fmla="*/ 0 h 995"/>
                <a:gd name="T82" fmla="*/ 0 w 1104"/>
                <a:gd name="T83" fmla="*/ 0 h 995"/>
                <a:gd name="T84" fmla="*/ 0 w 1104"/>
                <a:gd name="T85" fmla="*/ 0 h 995"/>
                <a:gd name="T86" fmla="*/ 0 w 1104"/>
                <a:gd name="T87" fmla="*/ 0 h 995"/>
                <a:gd name="T88" fmla="*/ 0 w 1104"/>
                <a:gd name="T89" fmla="*/ 0 h 995"/>
                <a:gd name="T90" fmla="*/ 0 w 1104"/>
                <a:gd name="T91" fmla="*/ 0 h 995"/>
                <a:gd name="T92" fmla="*/ 0 w 1104"/>
                <a:gd name="T93" fmla="*/ 0 h 995"/>
                <a:gd name="T94" fmla="*/ 0 w 1104"/>
                <a:gd name="T95" fmla="*/ 0 h 995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1104"/>
                <a:gd name="T145" fmla="*/ 0 h 995"/>
                <a:gd name="T146" fmla="*/ 1104 w 1104"/>
                <a:gd name="T147" fmla="*/ 995 h 995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1104" h="995">
                  <a:moveTo>
                    <a:pt x="172" y="927"/>
                  </a:moveTo>
                  <a:cubicBezTo>
                    <a:pt x="228" y="935"/>
                    <a:pt x="260" y="955"/>
                    <a:pt x="312" y="967"/>
                  </a:cubicBezTo>
                  <a:cubicBezTo>
                    <a:pt x="336" y="971"/>
                    <a:pt x="352" y="983"/>
                    <a:pt x="372" y="991"/>
                  </a:cubicBezTo>
                  <a:cubicBezTo>
                    <a:pt x="376" y="991"/>
                    <a:pt x="384" y="995"/>
                    <a:pt x="384" y="995"/>
                  </a:cubicBezTo>
                  <a:cubicBezTo>
                    <a:pt x="412" y="987"/>
                    <a:pt x="404" y="983"/>
                    <a:pt x="428" y="967"/>
                  </a:cubicBezTo>
                  <a:cubicBezTo>
                    <a:pt x="440" y="927"/>
                    <a:pt x="448" y="875"/>
                    <a:pt x="480" y="843"/>
                  </a:cubicBezTo>
                  <a:cubicBezTo>
                    <a:pt x="500" y="823"/>
                    <a:pt x="532" y="823"/>
                    <a:pt x="552" y="803"/>
                  </a:cubicBezTo>
                  <a:cubicBezTo>
                    <a:pt x="564" y="763"/>
                    <a:pt x="532" y="695"/>
                    <a:pt x="576" y="679"/>
                  </a:cubicBezTo>
                  <a:cubicBezTo>
                    <a:pt x="604" y="687"/>
                    <a:pt x="636" y="703"/>
                    <a:pt x="660" y="719"/>
                  </a:cubicBezTo>
                  <a:cubicBezTo>
                    <a:pt x="688" y="715"/>
                    <a:pt x="724" y="727"/>
                    <a:pt x="748" y="711"/>
                  </a:cubicBezTo>
                  <a:cubicBezTo>
                    <a:pt x="808" y="671"/>
                    <a:pt x="732" y="667"/>
                    <a:pt x="756" y="639"/>
                  </a:cubicBezTo>
                  <a:cubicBezTo>
                    <a:pt x="764" y="627"/>
                    <a:pt x="792" y="615"/>
                    <a:pt x="792" y="615"/>
                  </a:cubicBezTo>
                  <a:cubicBezTo>
                    <a:pt x="944" y="631"/>
                    <a:pt x="872" y="627"/>
                    <a:pt x="1008" y="623"/>
                  </a:cubicBezTo>
                  <a:cubicBezTo>
                    <a:pt x="1024" y="615"/>
                    <a:pt x="1036" y="611"/>
                    <a:pt x="1052" y="603"/>
                  </a:cubicBezTo>
                  <a:cubicBezTo>
                    <a:pt x="1056" y="587"/>
                    <a:pt x="1060" y="579"/>
                    <a:pt x="1076" y="575"/>
                  </a:cubicBezTo>
                  <a:cubicBezTo>
                    <a:pt x="1084" y="555"/>
                    <a:pt x="1096" y="547"/>
                    <a:pt x="1104" y="527"/>
                  </a:cubicBezTo>
                  <a:cubicBezTo>
                    <a:pt x="1100" y="476"/>
                    <a:pt x="1068" y="352"/>
                    <a:pt x="1020" y="320"/>
                  </a:cubicBezTo>
                  <a:cubicBezTo>
                    <a:pt x="1008" y="296"/>
                    <a:pt x="984" y="280"/>
                    <a:pt x="972" y="252"/>
                  </a:cubicBezTo>
                  <a:cubicBezTo>
                    <a:pt x="960" y="184"/>
                    <a:pt x="956" y="116"/>
                    <a:pt x="936" y="52"/>
                  </a:cubicBezTo>
                  <a:cubicBezTo>
                    <a:pt x="932" y="44"/>
                    <a:pt x="956" y="8"/>
                    <a:pt x="948" y="4"/>
                  </a:cubicBezTo>
                  <a:cubicBezTo>
                    <a:pt x="932" y="0"/>
                    <a:pt x="888" y="0"/>
                    <a:pt x="872" y="0"/>
                  </a:cubicBezTo>
                  <a:cubicBezTo>
                    <a:pt x="816" y="4"/>
                    <a:pt x="764" y="8"/>
                    <a:pt x="708" y="16"/>
                  </a:cubicBezTo>
                  <a:cubicBezTo>
                    <a:pt x="680" y="36"/>
                    <a:pt x="688" y="24"/>
                    <a:pt x="680" y="48"/>
                  </a:cubicBezTo>
                  <a:cubicBezTo>
                    <a:pt x="680" y="76"/>
                    <a:pt x="660" y="236"/>
                    <a:pt x="632" y="256"/>
                  </a:cubicBezTo>
                  <a:cubicBezTo>
                    <a:pt x="600" y="280"/>
                    <a:pt x="480" y="276"/>
                    <a:pt x="476" y="276"/>
                  </a:cubicBezTo>
                  <a:cubicBezTo>
                    <a:pt x="392" y="272"/>
                    <a:pt x="324" y="260"/>
                    <a:pt x="244" y="252"/>
                  </a:cubicBezTo>
                  <a:cubicBezTo>
                    <a:pt x="212" y="252"/>
                    <a:pt x="176" y="252"/>
                    <a:pt x="144" y="256"/>
                  </a:cubicBezTo>
                  <a:cubicBezTo>
                    <a:pt x="128" y="260"/>
                    <a:pt x="108" y="280"/>
                    <a:pt x="108" y="280"/>
                  </a:cubicBezTo>
                  <a:cubicBezTo>
                    <a:pt x="84" y="316"/>
                    <a:pt x="16" y="440"/>
                    <a:pt x="0" y="480"/>
                  </a:cubicBezTo>
                  <a:cubicBezTo>
                    <a:pt x="0" y="488"/>
                    <a:pt x="0" y="499"/>
                    <a:pt x="4" y="507"/>
                  </a:cubicBezTo>
                  <a:cubicBezTo>
                    <a:pt x="8" y="511"/>
                    <a:pt x="8" y="499"/>
                    <a:pt x="12" y="496"/>
                  </a:cubicBezTo>
                  <a:cubicBezTo>
                    <a:pt x="20" y="488"/>
                    <a:pt x="36" y="480"/>
                    <a:pt x="36" y="480"/>
                  </a:cubicBezTo>
                  <a:cubicBezTo>
                    <a:pt x="44" y="468"/>
                    <a:pt x="48" y="448"/>
                    <a:pt x="60" y="444"/>
                  </a:cubicBezTo>
                  <a:cubicBezTo>
                    <a:pt x="68" y="440"/>
                    <a:pt x="84" y="436"/>
                    <a:pt x="84" y="436"/>
                  </a:cubicBezTo>
                  <a:cubicBezTo>
                    <a:pt x="128" y="444"/>
                    <a:pt x="120" y="488"/>
                    <a:pt x="140" y="519"/>
                  </a:cubicBezTo>
                  <a:cubicBezTo>
                    <a:pt x="156" y="583"/>
                    <a:pt x="136" y="551"/>
                    <a:pt x="248" y="543"/>
                  </a:cubicBezTo>
                  <a:cubicBezTo>
                    <a:pt x="276" y="535"/>
                    <a:pt x="264" y="539"/>
                    <a:pt x="284" y="527"/>
                  </a:cubicBezTo>
                  <a:cubicBezTo>
                    <a:pt x="308" y="527"/>
                    <a:pt x="340" y="515"/>
                    <a:pt x="356" y="535"/>
                  </a:cubicBezTo>
                  <a:cubicBezTo>
                    <a:pt x="364" y="547"/>
                    <a:pt x="368" y="575"/>
                    <a:pt x="368" y="575"/>
                  </a:cubicBezTo>
                  <a:cubicBezTo>
                    <a:pt x="320" y="623"/>
                    <a:pt x="268" y="623"/>
                    <a:pt x="216" y="631"/>
                  </a:cubicBezTo>
                  <a:cubicBezTo>
                    <a:pt x="208" y="635"/>
                    <a:pt x="200" y="635"/>
                    <a:pt x="192" y="639"/>
                  </a:cubicBezTo>
                  <a:cubicBezTo>
                    <a:pt x="188" y="643"/>
                    <a:pt x="184" y="647"/>
                    <a:pt x="180" y="647"/>
                  </a:cubicBezTo>
                  <a:cubicBezTo>
                    <a:pt x="166" y="664"/>
                    <a:pt x="118" y="720"/>
                    <a:pt x="108" y="743"/>
                  </a:cubicBezTo>
                  <a:cubicBezTo>
                    <a:pt x="104" y="763"/>
                    <a:pt x="100" y="775"/>
                    <a:pt x="120" y="783"/>
                  </a:cubicBezTo>
                  <a:cubicBezTo>
                    <a:pt x="124" y="803"/>
                    <a:pt x="124" y="811"/>
                    <a:pt x="140" y="823"/>
                  </a:cubicBezTo>
                  <a:cubicBezTo>
                    <a:pt x="148" y="855"/>
                    <a:pt x="124" y="895"/>
                    <a:pt x="108" y="923"/>
                  </a:cubicBezTo>
                  <a:cubicBezTo>
                    <a:pt x="112" y="927"/>
                    <a:pt x="112" y="931"/>
                    <a:pt x="116" y="935"/>
                  </a:cubicBezTo>
                  <a:cubicBezTo>
                    <a:pt x="128" y="935"/>
                    <a:pt x="140" y="923"/>
                    <a:pt x="172" y="927"/>
                  </a:cubicBez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  <p:grpSp>
          <p:nvGrpSpPr>
            <p:cNvPr id="261" name="Group 13"/>
            <p:cNvGrpSpPr>
              <a:grpSpLocks/>
            </p:cNvGrpSpPr>
            <p:nvPr/>
          </p:nvGrpSpPr>
          <p:grpSpPr bwMode="auto">
            <a:xfrm>
              <a:off x="3091" y="3473"/>
              <a:ext cx="555" cy="524"/>
              <a:chOff x="4862" y="8018"/>
              <a:chExt cx="2196" cy="2072"/>
            </a:xfrm>
            <a:grpFill/>
          </p:grpSpPr>
          <p:sp>
            <p:nvSpPr>
              <p:cNvPr id="353" name="Freeform 14"/>
              <p:cNvSpPr>
                <a:spLocks noChangeAspect="1"/>
              </p:cNvSpPr>
              <p:nvPr/>
            </p:nvSpPr>
            <p:spPr bwMode="auto">
              <a:xfrm>
                <a:off x="5802" y="9746"/>
                <a:ext cx="60" cy="96"/>
              </a:xfrm>
              <a:custGeom>
                <a:avLst/>
                <a:gdLst>
                  <a:gd name="T0" fmla="*/ 2147483647 w 15"/>
                  <a:gd name="T1" fmla="*/ 0 h 24"/>
                  <a:gd name="T2" fmla="*/ 2147483647 w 15"/>
                  <a:gd name="T3" fmla="*/ 2147483647 h 24"/>
                  <a:gd name="T4" fmla="*/ 2147483647 w 15"/>
                  <a:gd name="T5" fmla="*/ 2147483647 h 24"/>
                  <a:gd name="T6" fmla="*/ 2147483647 w 15"/>
                  <a:gd name="T7" fmla="*/ 2147483647 h 24"/>
                  <a:gd name="T8" fmla="*/ 0 w 15"/>
                  <a:gd name="T9" fmla="*/ 2147483647 h 24"/>
                  <a:gd name="T10" fmla="*/ 2147483647 w 15"/>
                  <a:gd name="T11" fmla="*/ 0 h 2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5"/>
                  <a:gd name="T19" fmla="*/ 0 h 24"/>
                  <a:gd name="T20" fmla="*/ 15 w 15"/>
                  <a:gd name="T21" fmla="*/ 24 h 2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5" h="24">
                    <a:moveTo>
                      <a:pt x="3" y="0"/>
                    </a:moveTo>
                    <a:cubicBezTo>
                      <a:pt x="11" y="1"/>
                      <a:pt x="13" y="0"/>
                      <a:pt x="14" y="8"/>
                    </a:cubicBezTo>
                    <a:cubicBezTo>
                      <a:pt x="12" y="19"/>
                      <a:pt x="15" y="12"/>
                      <a:pt x="10" y="18"/>
                    </a:cubicBezTo>
                    <a:cubicBezTo>
                      <a:pt x="9" y="20"/>
                      <a:pt x="6" y="24"/>
                      <a:pt x="6" y="24"/>
                    </a:cubicBezTo>
                    <a:cubicBezTo>
                      <a:pt x="3" y="21"/>
                      <a:pt x="0" y="12"/>
                      <a:pt x="0" y="12"/>
                    </a:cubicBezTo>
                    <a:cubicBezTo>
                      <a:pt x="1" y="8"/>
                      <a:pt x="2" y="4"/>
                      <a:pt x="3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54" name="Freeform 15"/>
              <p:cNvSpPr>
                <a:spLocks noChangeAspect="1"/>
              </p:cNvSpPr>
              <p:nvPr/>
            </p:nvSpPr>
            <p:spPr bwMode="auto">
              <a:xfrm>
                <a:off x="4862" y="8862"/>
                <a:ext cx="136" cy="116"/>
              </a:xfrm>
              <a:custGeom>
                <a:avLst/>
                <a:gdLst>
                  <a:gd name="T0" fmla="*/ 2147483647 w 34"/>
                  <a:gd name="T1" fmla="*/ 2147483647 h 29"/>
                  <a:gd name="T2" fmla="*/ 2147483647 w 34"/>
                  <a:gd name="T3" fmla="*/ 2147483647 h 29"/>
                  <a:gd name="T4" fmla="*/ 2147483647 w 34"/>
                  <a:gd name="T5" fmla="*/ 2147483647 h 29"/>
                  <a:gd name="T6" fmla="*/ 2147483647 w 34"/>
                  <a:gd name="T7" fmla="*/ 2147483647 h 29"/>
                  <a:gd name="T8" fmla="*/ 2147483647 w 34"/>
                  <a:gd name="T9" fmla="*/ 2147483647 h 29"/>
                  <a:gd name="T10" fmla="*/ 2147483647 w 34"/>
                  <a:gd name="T11" fmla="*/ 2147483647 h 29"/>
                  <a:gd name="T12" fmla="*/ 2147483647 w 34"/>
                  <a:gd name="T13" fmla="*/ 0 h 29"/>
                  <a:gd name="T14" fmla="*/ 2147483647 w 34"/>
                  <a:gd name="T15" fmla="*/ 2147483647 h 2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"/>
                  <a:gd name="T25" fmla="*/ 0 h 29"/>
                  <a:gd name="T26" fmla="*/ 34 w 34"/>
                  <a:gd name="T27" fmla="*/ 29 h 29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" h="29">
                    <a:moveTo>
                      <a:pt x="16" y="1"/>
                    </a:moveTo>
                    <a:cubicBezTo>
                      <a:pt x="2" y="3"/>
                      <a:pt x="0" y="8"/>
                      <a:pt x="14" y="13"/>
                    </a:cubicBezTo>
                    <a:cubicBezTo>
                      <a:pt x="17" y="16"/>
                      <a:pt x="20" y="17"/>
                      <a:pt x="23" y="19"/>
                    </a:cubicBezTo>
                    <a:cubicBezTo>
                      <a:pt x="26" y="28"/>
                      <a:pt x="25" y="29"/>
                      <a:pt x="34" y="26"/>
                    </a:cubicBezTo>
                    <a:cubicBezTo>
                      <a:pt x="33" y="22"/>
                      <a:pt x="27" y="21"/>
                      <a:pt x="23" y="17"/>
                    </a:cubicBezTo>
                    <a:cubicBezTo>
                      <a:pt x="22" y="14"/>
                      <a:pt x="21" y="4"/>
                      <a:pt x="19" y="2"/>
                    </a:cubicBezTo>
                    <a:cubicBezTo>
                      <a:pt x="17" y="0"/>
                      <a:pt x="11" y="0"/>
                      <a:pt x="11" y="0"/>
                    </a:cubicBezTo>
                    <a:cubicBezTo>
                      <a:pt x="11" y="0"/>
                      <a:pt x="14" y="1"/>
                      <a:pt x="16" y="1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55" name="Freeform 16"/>
              <p:cNvSpPr>
                <a:spLocks noChangeAspect="1"/>
              </p:cNvSpPr>
              <p:nvPr/>
            </p:nvSpPr>
            <p:spPr bwMode="auto">
              <a:xfrm>
                <a:off x="5122" y="9110"/>
                <a:ext cx="64" cy="92"/>
              </a:xfrm>
              <a:custGeom>
                <a:avLst/>
                <a:gdLst>
                  <a:gd name="T0" fmla="*/ 2147483647 w 16"/>
                  <a:gd name="T1" fmla="*/ 0 h 23"/>
                  <a:gd name="T2" fmla="*/ 2147483647 w 16"/>
                  <a:gd name="T3" fmla="*/ 2147483647 h 23"/>
                  <a:gd name="T4" fmla="*/ 2147483647 w 16"/>
                  <a:gd name="T5" fmla="*/ 2147483647 h 23"/>
                  <a:gd name="T6" fmla="*/ 0 w 16"/>
                  <a:gd name="T7" fmla="*/ 2147483647 h 23"/>
                  <a:gd name="T8" fmla="*/ 2147483647 w 16"/>
                  <a:gd name="T9" fmla="*/ 0 h 2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6"/>
                  <a:gd name="T16" fmla="*/ 0 h 23"/>
                  <a:gd name="T17" fmla="*/ 16 w 16"/>
                  <a:gd name="T18" fmla="*/ 23 h 2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6" h="23">
                    <a:moveTo>
                      <a:pt x="8" y="0"/>
                    </a:moveTo>
                    <a:cubicBezTo>
                      <a:pt x="11" y="3"/>
                      <a:pt x="14" y="4"/>
                      <a:pt x="15" y="8"/>
                    </a:cubicBezTo>
                    <a:cubicBezTo>
                      <a:pt x="14" y="19"/>
                      <a:pt x="16" y="20"/>
                      <a:pt x="8" y="23"/>
                    </a:cubicBezTo>
                    <a:cubicBezTo>
                      <a:pt x="2" y="22"/>
                      <a:pt x="5" y="19"/>
                      <a:pt x="0" y="16"/>
                    </a:cubicBezTo>
                    <a:cubicBezTo>
                      <a:pt x="1" y="13"/>
                      <a:pt x="8" y="0"/>
                      <a:pt x="8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56" name="Freeform 17"/>
              <p:cNvSpPr>
                <a:spLocks noChangeAspect="1"/>
              </p:cNvSpPr>
              <p:nvPr/>
            </p:nvSpPr>
            <p:spPr bwMode="auto">
              <a:xfrm>
                <a:off x="5098" y="9198"/>
                <a:ext cx="124" cy="144"/>
              </a:xfrm>
              <a:custGeom>
                <a:avLst/>
                <a:gdLst>
                  <a:gd name="T0" fmla="*/ 2147483647 w 31"/>
                  <a:gd name="T1" fmla="*/ 2147483647 h 36"/>
                  <a:gd name="T2" fmla="*/ 2147483647 w 31"/>
                  <a:gd name="T3" fmla="*/ 2147483647 h 36"/>
                  <a:gd name="T4" fmla="*/ 2147483647 w 31"/>
                  <a:gd name="T5" fmla="*/ 2147483647 h 36"/>
                  <a:gd name="T6" fmla="*/ 2147483647 w 31"/>
                  <a:gd name="T7" fmla="*/ 2147483647 h 36"/>
                  <a:gd name="T8" fmla="*/ 2147483647 w 31"/>
                  <a:gd name="T9" fmla="*/ 2147483647 h 36"/>
                  <a:gd name="T10" fmla="*/ 2147483647 w 31"/>
                  <a:gd name="T11" fmla="*/ 2147483647 h 36"/>
                  <a:gd name="T12" fmla="*/ 0 w 31"/>
                  <a:gd name="T13" fmla="*/ 2147483647 h 36"/>
                  <a:gd name="T14" fmla="*/ 2147483647 w 31"/>
                  <a:gd name="T15" fmla="*/ 2147483647 h 36"/>
                  <a:gd name="T16" fmla="*/ 2147483647 w 31"/>
                  <a:gd name="T17" fmla="*/ 2147483647 h 36"/>
                  <a:gd name="T18" fmla="*/ 2147483647 w 31"/>
                  <a:gd name="T19" fmla="*/ 2147483647 h 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31"/>
                  <a:gd name="T31" fmla="*/ 0 h 36"/>
                  <a:gd name="T32" fmla="*/ 31 w 31"/>
                  <a:gd name="T33" fmla="*/ 36 h 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31" h="36">
                    <a:moveTo>
                      <a:pt x="16" y="6"/>
                    </a:moveTo>
                    <a:cubicBezTo>
                      <a:pt x="20" y="8"/>
                      <a:pt x="23" y="9"/>
                      <a:pt x="24" y="13"/>
                    </a:cubicBezTo>
                    <a:cubicBezTo>
                      <a:pt x="23" y="19"/>
                      <a:pt x="21" y="22"/>
                      <a:pt x="27" y="24"/>
                    </a:cubicBezTo>
                    <a:cubicBezTo>
                      <a:pt x="28" y="29"/>
                      <a:pt x="31" y="34"/>
                      <a:pt x="24" y="36"/>
                    </a:cubicBezTo>
                    <a:cubicBezTo>
                      <a:pt x="21" y="35"/>
                      <a:pt x="17" y="34"/>
                      <a:pt x="14" y="34"/>
                    </a:cubicBezTo>
                    <a:cubicBezTo>
                      <a:pt x="12" y="34"/>
                      <a:pt x="8" y="36"/>
                      <a:pt x="8" y="36"/>
                    </a:cubicBezTo>
                    <a:cubicBezTo>
                      <a:pt x="5" y="31"/>
                      <a:pt x="3" y="33"/>
                      <a:pt x="0" y="28"/>
                    </a:cubicBezTo>
                    <a:cubicBezTo>
                      <a:pt x="3" y="23"/>
                      <a:pt x="6" y="21"/>
                      <a:pt x="11" y="19"/>
                    </a:cubicBezTo>
                    <a:cubicBezTo>
                      <a:pt x="11" y="13"/>
                      <a:pt x="11" y="8"/>
                      <a:pt x="12" y="2"/>
                    </a:cubicBezTo>
                    <a:cubicBezTo>
                      <a:pt x="12" y="0"/>
                      <a:pt x="16" y="4"/>
                      <a:pt x="16" y="6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57" name="Freeform 18"/>
              <p:cNvSpPr>
                <a:spLocks noChangeAspect="1"/>
              </p:cNvSpPr>
              <p:nvPr/>
            </p:nvSpPr>
            <p:spPr bwMode="auto">
              <a:xfrm>
                <a:off x="5182" y="9370"/>
                <a:ext cx="104" cy="88"/>
              </a:xfrm>
              <a:custGeom>
                <a:avLst/>
                <a:gdLst>
                  <a:gd name="T0" fmla="*/ 2147483647 w 26"/>
                  <a:gd name="T1" fmla="*/ 2147483647 h 22"/>
                  <a:gd name="T2" fmla="*/ 2147483647 w 26"/>
                  <a:gd name="T3" fmla="*/ 2147483647 h 22"/>
                  <a:gd name="T4" fmla="*/ 2147483647 w 26"/>
                  <a:gd name="T5" fmla="*/ 2147483647 h 22"/>
                  <a:gd name="T6" fmla="*/ 2147483647 w 26"/>
                  <a:gd name="T7" fmla="*/ 2147483647 h 22"/>
                  <a:gd name="T8" fmla="*/ 2147483647 w 26"/>
                  <a:gd name="T9" fmla="*/ 2147483647 h 22"/>
                  <a:gd name="T10" fmla="*/ 2147483647 w 26"/>
                  <a:gd name="T11" fmla="*/ 2147483647 h 22"/>
                  <a:gd name="T12" fmla="*/ 2147483647 w 26"/>
                  <a:gd name="T13" fmla="*/ 2147483647 h 22"/>
                  <a:gd name="T14" fmla="*/ 2147483647 w 26"/>
                  <a:gd name="T15" fmla="*/ 2147483647 h 2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6"/>
                  <a:gd name="T25" fmla="*/ 0 h 22"/>
                  <a:gd name="T26" fmla="*/ 26 w 26"/>
                  <a:gd name="T27" fmla="*/ 22 h 2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6" h="22">
                    <a:moveTo>
                      <a:pt x="5" y="4"/>
                    </a:moveTo>
                    <a:cubicBezTo>
                      <a:pt x="15" y="5"/>
                      <a:pt x="17" y="12"/>
                      <a:pt x="26" y="15"/>
                    </a:cubicBezTo>
                    <a:cubicBezTo>
                      <a:pt x="24" y="20"/>
                      <a:pt x="24" y="21"/>
                      <a:pt x="18" y="22"/>
                    </a:cubicBezTo>
                    <a:cubicBezTo>
                      <a:pt x="16" y="22"/>
                      <a:pt x="14" y="22"/>
                      <a:pt x="13" y="21"/>
                    </a:cubicBezTo>
                    <a:cubicBezTo>
                      <a:pt x="12" y="20"/>
                      <a:pt x="12" y="19"/>
                      <a:pt x="11" y="18"/>
                    </a:cubicBezTo>
                    <a:cubicBezTo>
                      <a:pt x="8" y="16"/>
                      <a:pt x="2" y="15"/>
                      <a:pt x="2" y="15"/>
                    </a:cubicBezTo>
                    <a:cubicBezTo>
                      <a:pt x="0" y="10"/>
                      <a:pt x="1" y="8"/>
                      <a:pt x="5" y="5"/>
                    </a:cubicBezTo>
                    <a:cubicBezTo>
                      <a:pt x="6" y="0"/>
                      <a:pt x="6" y="0"/>
                      <a:pt x="5" y="4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58" name="Freeform 19"/>
              <p:cNvSpPr>
                <a:spLocks noChangeAspect="1"/>
              </p:cNvSpPr>
              <p:nvPr/>
            </p:nvSpPr>
            <p:spPr bwMode="auto">
              <a:xfrm>
                <a:off x="5690" y="8950"/>
                <a:ext cx="316" cy="204"/>
              </a:xfrm>
              <a:custGeom>
                <a:avLst/>
                <a:gdLst>
                  <a:gd name="T0" fmla="*/ 2147483647 w 79"/>
                  <a:gd name="T1" fmla="*/ 2147483647 h 51"/>
                  <a:gd name="T2" fmla="*/ 2147483647 w 79"/>
                  <a:gd name="T3" fmla="*/ 2147483647 h 51"/>
                  <a:gd name="T4" fmla="*/ 2147483647 w 79"/>
                  <a:gd name="T5" fmla="*/ 2147483647 h 51"/>
                  <a:gd name="T6" fmla="*/ 2147483647 w 79"/>
                  <a:gd name="T7" fmla="*/ 2147483647 h 51"/>
                  <a:gd name="T8" fmla="*/ 2147483647 w 79"/>
                  <a:gd name="T9" fmla="*/ 2147483647 h 51"/>
                  <a:gd name="T10" fmla="*/ 2147483647 w 79"/>
                  <a:gd name="T11" fmla="*/ 2147483647 h 51"/>
                  <a:gd name="T12" fmla="*/ 2147483647 w 79"/>
                  <a:gd name="T13" fmla="*/ 2147483647 h 51"/>
                  <a:gd name="T14" fmla="*/ 2147483647 w 79"/>
                  <a:gd name="T15" fmla="*/ 2147483647 h 51"/>
                  <a:gd name="T16" fmla="*/ 2147483647 w 79"/>
                  <a:gd name="T17" fmla="*/ 2147483647 h 51"/>
                  <a:gd name="T18" fmla="*/ 2147483647 w 79"/>
                  <a:gd name="T19" fmla="*/ 2147483647 h 51"/>
                  <a:gd name="T20" fmla="*/ 2147483647 w 79"/>
                  <a:gd name="T21" fmla="*/ 2147483647 h 51"/>
                  <a:gd name="T22" fmla="*/ 2147483647 w 79"/>
                  <a:gd name="T23" fmla="*/ 2147483647 h 51"/>
                  <a:gd name="T24" fmla="*/ 2147483647 w 79"/>
                  <a:gd name="T25" fmla="*/ 2147483647 h 51"/>
                  <a:gd name="T26" fmla="*/ 0 w 79"/>
                  <a:gd name="T27" fmla="*/ 2147483647 h 51"/>
                  <a:gd name="T28" fmla="*/ 2147483647 w 79"/>
                  <a:gd name="T29" fmla="*/ 0 h 51"/>
                  <a:gd name="T30" fmla="*/ 2147483647 w 79"/>
                  <a:gd name="T31" fmla="*/ 2147483647 h 51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79"/>
                  <a:gd name="T49" fmla="*/ 0 h 51"/>
                  <a:gd name="T50" fmla="*/ 79 w 79"/>
                  <a:gd name="T51" fmla="*/ 51 h 51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79" h="51">
                    <a:moveTo>
                      <a:pt x="12" y="3"/>
                    </a:moveTo>
                    <a:cubicBezTo>
                      <a:pt x="25" y="4"/>
                      <a:pt x="21" y="3"/>
                      <a:pt x="28" y="10"/>
                    </a:cubicBezTo>
                    <a:cubicBezTo>
                      <a:pt x="30" y="20"/>
                      <a:pt x="40" y="20"/>
                      <a:pt x="49" y="21"/>
                    </a:cubicBezTo>
                    <a:cubicBezTo>
                      <a:pt x="54" y="22"/>
                      <a:pt x="64" y="19"/>
                      <a:pt x="64" y="19"/>
                    </a:cubicBezTo>
                    <a:cubicBezTo>
                      <a:pt x="72" y="21"/>
                      <a:pt x="71" y="28"/>
                      <a:pt x="76" y="33"/>
                    </a:cubicBezTo>
                    <a:cubicBezTo>
                      <a:pt x="77" y="37"/>
                      <a:pt x="79" y="44"/>
                      <a:pt x="79" y="44"/>
                    </a:cubicBezTo>
                    <a:cubicBezTo>
                      <a:pt x="78" y="47"/>
                      <a:pt x="79" y="51"/>
                      <a:pt x="74" y="51"/>
                    </a:cubicBezTo>
                    <a:cubicBezTo>
                      <a:pt x="72" y="51"/>
                      <a:pt x="68" y="49"/>
                      <a:pt x="68" y="49"/>
                    </a:cubicBezTo>
                    <a:cubicBezTo>
                      <a:pt x="66" y="43"/>
                      <a:pt x="60" y="45"/>
                      <a:pt x="54" y="44"/>
                    </a:cubicBezTo>
                    <a:cubicBezTo>
                      <a:pt x="49" y="42"/>
                      <a:pt x="49" y="38"/>
                      <a:pt x="43" y="36"/>
                    </a:cubicBezTo>
                    <a:cubicBezTo>
                      <a:pt x="40" y="33"/>
                      <a:pt x="31" y="30"/>
                      <a:pt x="31" y="30"/>
                    </a:cubicBezTo>
                    <a:cubicBezTo>
                      <a:pt x="26" y="25"/>
                      <a:pt x="21" y="25"/>
                      <a:pt x="14" y="24"/>
                    </a:cubicBezTo>
                    <a:cubicBezTo>
                      <a:pt x="11" y="22"/>
                      <a:pt x="8" y="21"/>
                      <a:pt x="5" y="19"/>
                    </a:cubicBezTo>
                    <a:cubicBezTo>
                      <a:pt x="4" y="14"/>
                      <a:pt x="1" y="14"/>
                      <a:pt x="0" y="10"/>
                    </a:cubicBezTo>
                    <a:cubicBezTo>
                      <a:pt x="4" y="4"/>
                      <a:pt x="4" y="2"/>
                      <a:pt x="10" y="0"/>
                    </a:cubicBezTo>
                    <a:cubicBezTo>
                      <a:pt x="17" y="1"/>
                      <a:pt x="18" y="0"/>
                      <a:pt x="12" y="3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59" name="Freeform 20"/>
              <p:cNvSpPr>
                <a:spLocks noChangeAspect="1"/>
              </p:cNvSpPr>
              <p:nvPr/>
            </p:nvSpPr>
            <p:spPr bwMode="auto">
              <a:xfrm>
                <a:off x="5998" y="9150"/>
                <a:ext cx="136" cy="88"/>
              </a:xfrm>
              <a:custGeom>
                <a:avLst/>
                <a:gdLst>
                  <a:gd name="T0" fmla="*/ 2147483647 w 34"/>
                  <a:gd name="T1" fmla="*/ 0 h 22"/>
                  <a:gd name="T2" fmla="*/ 2147483647 w 34"/>
                  <a:gd name="T3" fmla="*/ 0 h 22"/>
                  <a:gd name="T4" fmla="*/ 2147483647 w 34"/>
                  <a:gd name="T5" fmla="*/ 2147483647 h 22"/>
                  <a:gd name="T6" fmla="*/ 2147483647 w 34"/>
                  <a:gd name="T7" fmla="*/ 2147483647 h 22"/>
                  <a:gd name="T8" fmla="*/ 2147483647 w 34"/>
                  <a:gd name="T9" fmla="*/ 2147483647 h 22"/>
                  <a:gd name="T10" fmla="*/ 2147483647 w 34"/>
                  <a:gd name="T11" fmla="*/ 0 h 2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4"/>
                  <a:gd name="T19" fmla="*/ 0 h 22"/>
                  <a:gd name="T20" fmla="*/ 34 w 34"/>
                  <a:gd name="T21" fmla="*/ 22 h 22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4" h="22">
                    <a:moveTo>
                      <a:pt x="6" y="0"/>
                    </a:moveTo>
                    <a:cubicBezTo>
                      <a:pt x="14" y="2"/>
                      <a:pt x="19" y="2"/>
                      <a:pt x="27" y="0"/>
                    </a:cubicBezTo>
                    <a:cubicBezTo>
                      <a:pt x="34" y="2"/>
                      <a:pt x="30" y="10"/>
                      <a:pt x="26" y="14"/>
                    </a:cubicBezTo>
                    <a:cubicBezTo>
                      <a:pt x="23" y="22"/>
                      <a:pt x="16" y="20"/>
                      <a:pt x="9" y="19"/>
                    </a:cubicBezTo>
                    <a:cubicBezTo>
                      <a:pt x="6" y="15"/>
                      <a:pt x="6" y="11"/>
                      <a:pt x="2" y="7"/>
                    </a:cubicBezTo>
                    <a:cubicBezTo>
                      <a:pt x="0" y="2"/>
                      <a:pt x="0" y="5"/>
                      <a:pt x="6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60" name="Freeform 21"/>
              <p:cNvSpPr>
                <a:spLocks noChangeAspect="1"/>
              </p:cNvSpPr>
              <p:nvPr/>
            </p:nvSpPr>
            <p:spPr bwMode="auto">
              <a:xfrm>
                <a:off x="6106" y="9202"/>
                <a:ext cx="100" cy="72"/>
              </a:xfrm>
              <a:custGeom>
                <a:avLst/>
                <a:gdLst>
                  <a:gd name="T0" fmla="*/ 2147483647 w 25"/>
                  <a:gd name="T1" fmla="*/ 0 h 18"/>
                  <a:gd name="T2" fmla="*/ 2147483647 w 25"/>
                  <a:gd name="T3" fmla="*/ 2147483647 h 18"/>
                  <a:gd name="T4" fmla="*/ 2147483647 w 25"/>
                  <a:gd name="T5" fmla="*/ 2147483647 h 18"/>
                  <a:gd name="T6" fmla="*/ 2147483647 w 25"/>
                  <a:gd name="T7" fmla="*/ 2147483647 h 18"/>
                  <a:gd name="T8" fmla="*/ 2147483647 w 25"/>
                  <a:gd name="T9" fmla="*/ 2147483647 h 18"/>
                  <a:gd name="T10" fmla="*/ 2147483647 w 25"/>
                  <a:gd name="T11" fmla="*/ 2147483647 h 18"/>
                  <a:gd name="T12" fmla="*/ 2147483647 w 25"/>
                  <a:gd name="T13" fmla="*/ 0 h 1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5"/>
                  <a:gd name="T22" fmla="*/ 0 h 18"/>
                  <a:gd name="T23" fmla="*/ 25 w 25"/>
                  <a:gd name="T24" fmla="*/ 18 h 18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5" h="18">
                    <a:moveTo>
                      <a:pt x="9" y="0"/>
                    </a:moveTo>
                    <a:cubicBezTo>
                      <a:pt x="13" y="0"/>
                      <a:pt x="16" y="0"/>
                      <a:pt x="20" y="1"/>
                    </a:cubicBezTo>
                    <a:cubicBezTo>
                      <a:pt x="23" y="2"/>
                      <a:pt x="24" y="10"/>
                      <a:pt x="24" y="10"/>
                    </a:cubicBezTo>
                    <a:cubicBezTo>
                      <a:pt x="24" y="12"/>
                      <a:pt x="25" y="16"/>
                      <a:pt x="23" y="17"/>
                    </a:cubicBezTo>
                    <a:cubicBezTo>
                      <a:pt x="22" y="18"/>
                      <a:pt x="21" y="14"/>
                      <a:pt x="20" y="13"/>
                    </a:cubicBezTo>
                    <a:cubicBezTo>
                      <a:pt x="18" y="11"/>
                      <a:pt x="11" y="9"/>
                      <a:pt x="11" y="9"/>
                    </a:cubicBezTo>
                    <a:cubicBezTo>
                      <a:pt x="8" y="5"/>
                      <a:pt x="0" y="2"/>
                      <a:pt x="9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61" name="Freeform 22"/>
              <p:cNvSpPr>
                <a:spLocks noChangeAspect="1"/>
              </p:cNvSpPr>
              <p:nvPr/>
            </p:nvSpPr>
            <p:spPr bwMode="auto">
              <a:xfrm>
                <a:off x="6574" y="9126"/>
                <a:ext cx="128" cy="76"/>
              </a:xfrm>
              <a:custGeom>
                <a:avLst/>
                <a:gdLst>
                  <a:gd name="T0" fmla="*/ 2147483647 w 32"/>
                  <a:gd name="T1" fmla="*/ 2147483647 h 19"/>
                  <a:gd name="T2" fmla="*/ 2147483647 w 32"/>
                  <a:gd name="T3" fmla="*/ 2147483647 h 19"/>
                  <a:gd name="T4" fmla="*/ 2147483647 w 32"/>
                  <a:gd name="T5" fmla="*/ 2147483647 h 19"/>
                  <a:gd name="T6" fmla="*/ 2147483647 w 32"/>
                  <a:gd name="T7" fmla="*/ 2147483647 h 19"/>
                  <a:gd name="T8" fmla="*/ 2147483647 w 32"/>
                  <a:gd name="T9" fmla="*/ 2147483647 h 19"/>
                  <a:gd name="T10" fmla="*/ 2147483647 w 32"/>
                  <a:gd name="T11" fmla="*/ 2147483647 h 19"/>
                  <a:gd name="T12" fmla="*/ 2147483647 w 32"/>
                  <a:gd name="T13" fmla="*/ 2147483647 h 1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2"/>
                  <a:gd name="T22" fmla="*/ 0 h 19"/>
                  <a:gd name="T23" fmla="*/ 32 w 32"/>
                  <a:gd name="T24" fmla="*/ 19 h 1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2" h="19">
                    <a:moveTo>
                      <a:pt x="29" y="2"/>
                    </a:moveTo>
                    <a:cubicBezTo>
                      <a:pt x="20" y="0"/>
                      <a:pt x="23" y="4"/>
                      <a:pt x="17" y="6"/>
                    </a:cubicBezTo>
                    <a:cubicBezTo>
                      <a:pt x="12" y="5"/>
                      <a:pt x="8" y="6"/>
                      <a:pt x="3" y="8"/>
                    </a:cubicBezTo>
                    <a:cubicBezTo>
                      <a:pt x="0" y="19"/>
                      <a:pt x="3" y="18"/>
                      <a:pt x="14" y="19"/>
                    </a:cubicBezTo>
                    <a:cubicBezTo>
                      <a:pt x="26" y="17"/>
                      <a:pt x="15" y="15"/>
                      <a:pt x="23" y="10"/>
                    </a:cubicBezTo>
                    <a:cubicBezTo>
                      <a:pt x="25" y="9"/>
                      <a:pt x="29" y="10"/>
                      <a:pt x="31" y="8"/>
                    </a:cubicBezTo>
                    <a:cubicBezTo>
                      <a:pt x="32" y="6"/>
                      <a:pt x="30" y="4"/>
                      <a:pt x="29" y="2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62" name="Freeform 23"/>
              <p:cNvSpPr>
                <a:spLocks noChangeAspect="1"/>
              </p:cNvSpPr>
              <p:nvPr/>
            </p:nvSpPr>
            <p:spPr bwMode="auto">
              <a:xfrm>
                <a:off x="5266" y="9210"/>
                <a:ext cx="636" cy="580"/>
              </a:xfrm>
              <a:custGeom>
                <a:avLst/>
                <a:gdLst>
                  <a:gd name="T0" fmla="*/ 2147483647 w 159"/>
                  <a:gd name="T1" fmla="*/ 2147483647 h 145"/>
                  <a:gd name="T2" fmla="*/ 2147483647 w 159"/>
                  <a:gd name="T3" fmla="*/ 2147483647 h 145"/>
                  <a:gd name="T4" fmla="*/ 2147483647 w 159"/>
                  <a:gd name="T5" fmla="*/ 2147483647 h 145"/>
                  <a:gd name="T6" fmla="*/ 2147483647 w 159"/>
                  <a:gd name="T7" fmla="*/ 2147483647 h 145"/>
                  <a:gd name="T8" fmla="*/ 0 w 159"/>
                  <a:gd name="T9" fmla="*/ 2147483647 h 145"/>
                  <a:gd name="T10" fmla="*/ 2147483647 w 159"/>
                  <a:gd name="T11" fmla="*/ 2147483647 h 145"/>
                  <a:gd name="T12" fmla="*/ 2147483647 w 159"/>
                  <a:gd name="T13" fmla="*/ 2147483647 h 145"/>
                  <a:gd name="T14" fmla="*/ 2147483647 w 159"/>
                  <a:gd name="T15" fmla="*/ 2147483647 h 145"/>
                  <a:gd name="T16" fmla="*/ 2147483647 w 159"/>
                  <a:gd name="T17" fmla="*/ 2147483647 h 145"/>
                  <a:gd name="T18" fmla="*/ 2147483647 w 159"/>
                  <a:gd name="T19" fmla="*/ 2147483647 h 145"/>
                  <a:gd name="T20" fmla="*/ 2147483647 w 159"/>
                  <a:gd name="T21" fmla="*/ 2147483647 h 145"/>
                  <a:gd name="T22" fmla="*/ 2147483647 w 159"/>
                  <a:gd name="T23" fmla="*/ 2147483647 h 145"/>
                  <a:gd name="T24" fmla="*/ 2147483647 w 159"/>
                  <a:gd name="T25" fmla="*/ 2147483647 h 145"/>
                  <a:gd name="T26" fmla="*/ 2147483647 w 159"/>
                  <a:gd name="T27" fmla="*/ 2147483647 h 145"/>
                  <a:gd name="T28" fmla="*/ 2147483647 w 159"/>
                  <a:gd name="T29" fmla="*/ 2147483647 h 145"/>
                  <a:gd name="T30" fmla="*/ 2147483647 w 159"/>
                  <a:gd name="T31" fmla="*/ 2147483647 h 145"/>
                  <a:gd name="T32" fmla="*/ 2147483647 w 159"/>
                  <a:gd name="T33" fmla="*/ 2147483647 h 145"/>
                  <a:gd name="T34" fmla="*/ 2147483647 w 159"/>
                  <a:gd name="T35" fmla="*/ 2147483647 h 145"/>
                  <a:gd name="T36" fmla="*/ 2147483647 w 159"/>
                  <a:gd name="T37" fmla="*/ 2147483647 h 145"/>
                  <a:gd name="T38" fmla="*/ 2147483647 w 159"/>
                  <a:gd name="T39" fmla="*/ 2147483647 h 145"/>
                  <a:gd name="T40" fmla="*/ 2147483647 w 159"/>
                  <a:gd name="T41" fmla="*/ 2147483647 h 145"/>
                  <a:gd name="T42" fmla="*/ 2147483647 w 159"/>
                  <a:gd name="T43" fmla="*/ 2147483647 h 145"/>
                  <a:gd name="T44" fmla="*/ 2147483647 w 159"/>
                  <a:gd name="T45" fmla="*/ 2147483647 h 145"/>
                  <a:gd name="T46" fmla="*/ 2147483647 w 159"/>
                  <a:gd name="T47" fmla="*/ 2147483647 h 145"/>
                  <a:gd name="T48" fmla="*/ 2147483647 w 159"/>
                  <a:gd name="T49" fmla="*/ 2147483647 h 145"/>
                  <a:gd name="T50" fmla="*/ 2147483647 w 159"/>
                  <a:gd name="T51" fmla="*/ 2147483647 h 145"/>
                  <a:gd name="T52" fmla="*/ 2147483647 w 159"/>
                  <a:gd name="T53" fmla="*/ 2147483647 h 145"/>
                  <a:gd name="T54" fmla="*/ 2147483647 w 159"/>
                  <a:gd name="T55" fmla="*/ 2147483647 h 145"/>
                  <a:gd name="T56" fmla="*/ 2147483647 w 159"/>
                  <a:gd name="T57" fmla="*/ 2147483647 h 145"/>
                  <a:gd name="T58" fmla="*/ 2147483647 w 159"/>
                  <a:gd name="T59" fmla="*/ 2147483647 h 145"/>
                  <a:gd name="T60" fmla="*/ 2147483647 w 159"/>
                  <a:gd name="T61" fmla="*/ 2147483647 h 145"/>
                  <a:gd name="T62" fmla="*/ 2147483647 w 159"/>
                  <a:gd name="T63" fmla="*/ 2147483647 h 145"/>
                  <a:gd name="T64" fmla="*/ 2147483647 w 159"/>
                  <a:gd name="T65" fmla="*/ 2147483647 h 145"/>
                  <a:gd name="T66" fmla="*/ 2147483647 w 159"/>
                  <a:gd name="T67" fmla="*/ 2147483647 h 145"/>
                  <a:gd name="T68" fmla="*/ 2147483647 w 159"/>
                  <a:gd name="T69" fmla="*/ 2147483647 h 145"/>
                  <a:gd name="T70" fmla="*/ 2147483647 w 159"/>
                  <a:gd name="T71" fmla="*/ 2147483647 h 145"/>
                  <a:gd name="T72" fmla="*/ 2147483647 w 159"/>
                  <a:gd name="T73" fmla="*/ 2147483647 h 145"/>
                  <a:gd name="T74" fmla="*/ 2147483647 w 159"/>
                  <a:gd name="T75" fmla="*/ 2147483647 h 145"/>
                  <a:gd name="T76" fmla="*/ 2147483647 w 159"/>
                  <a:gd name="T77" fmla="*/ 2147483647 h 145"/>
                  <a:gd name="T78" fmla="*/ 2147483647 w 159"/>
                  <a:gd name="T79" fmla="*/ 2147483647 h 145"/>
                  <a:gd name="T80" fmla="*/ 2147483647 w 159"/>
                  <a:gd name="T81" fmla="*/ 2147483647 h 145"/>
                  <a:gd name="T82" fmla="*/ 2147483647 w 159"/>
                  <a:gd name="T83" fmla="*/ 2147483647 h 145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159"/>
                  <a:gd name="T127" fmla="*/ 0 h 145"/>
                  <a:gd name="T128" fmla="*/ 159 w 159"/>
                  <a:gd name="T129" fmla="*/ 145 h 145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159" h="145">
                    <a:moveTo>
                      <a:pt x="47" y="3"/>
                    </a:moveTo>
                    <a:cubicBezTo>
                      <a:pt x="41" y="5"/>
                      <a:pt x="42" y="10"/>
                      <a:pt x="39" y="13"/>
                    </a:cubicBezTo>
                    <a:cubicBezTo>
                      <a:pt x="34" y="18"/>
                      <a:pt x="28" y="18"/>
                      <a:pt x="21" y="20"/>
                    </a:cubicBezTo>
                    <a:cubicBezTo>
                      <a:pt x="20" y="27"/>
                      <a:pt x="18" y="32"/>
                      <a:pt x="11" y="34"/>
                    </a:cubicBezTo>
                    <a:cubicBezTo>
                      <a:pt x="7" y="38"/>
                      <a:pt x="5" y="38"/>
                      <a:pt x="0" y="40"/>
                    </a:cubicBezTo>
                    <a:cubicBezTo>
                      <a:pt x="5" y="47"/>
                      <a:pt x="7" y="45"/>
                      <a:pt x="17" y="46"/>
                    </a:cubicBezTo>
                    <a:cubicBezTo>
                      <a:pt x="18" y="50"/>
                      <a:pt x="24" y="55"/>
                      <a:pt x="24" y="55"/>
                    </a:cubicBezTo>
                    <a:cubicBezTo>
                      <a:pt x="27" y="60"/>
                      <a:pt x="30" y="59"/>
                      <a:pt x="36" y="61"/>
                    </a:cubicBezTo>
                    <a:cubicBezTo>
                      <a:pt x="40" y="63"/>
                      <a:pt x="42" y="66"/>
                      <a:pt x="44" y="70"/>
                    </a:cubicBezTo>
                    <a:cubicBezTo>
                      <a:pt x="45" y="74"/>
                      <a:pt x="46" y="77"/>
                      <a:pt x="47" y="81"/>
                    </a:cubicBezTo>
                    <a:cubicBezTo>
                      <a:pt x="46" y="93"/>
                      <a:pt x="42" y="97"/>
                      <a:pt x="53" y="101"/>
                    </a:cubicBezTo>
                    <a:cubicBezTo>
                      <a:pt x="54" y="110"/>
                      <a:pt x="55" y="118"/>
                      <a:pt x="64" y="121"/>
                    </a:cubicBezTo>
                    <a:cubicBezTo>
                      <a:pt x="72" y="118"/>
                      <a:pt x="73" y="116"/>
                      <a:pt x="68" y="109"/>
                    </a:cubicBezTo>
                    <a:cubicBezTo>
                      <a:pt x="69" y="102"/>
                      <a:pt x="68" y="101"/>
                      <a:pt x="74" y="98"/>
                    </a:cubicBezTo>
                    <a:cubicBezTo>
                      <a:pt x="79" y="90"/>
                      <a:pt x="81" y="102"/>
                      <a:pt x="82" y="106"/>
                    </a:cubicBezTo>
                    <a:cubicBezTo>
                      <a:pt x="94" y="103"/>
                      <a:pt x="96" y="104"/>
                      <a:pt x="98" y="116"/>
                    </a:cubicBezTo>
                    <a:cubicBezTo>
                      <a:pt x="95" y="125"/>
                      <a:pt x="100" y="139"/>
                      <a:pt x="108" y="145"/>
                    </a:cubicBezTo>
                    <a:cubicBezTo>
                      <a:pt x="108" y="136"/>
                      <a:pt x="102" y="109"/>
                      <a:pt x="117" y="106"/>
                    </a:cubicBezTo>
                    <a:cubicBezTo>
                      <a:pt x="125" y="100"/>
                      <a:pt x="127" y="117"/>
                      <a:pt x="131" y="121"/>
                    </a:cubicBezTo>
                    <a:cubicBezTo>
                      <a:pt x="136" y="126"/>
                      <a:pt x="141" y="127"/>
                      <a:pt x="147" y="129"/>
                    </a:cubicBezTo>
                    <a:cubicBezTo>
                      <a:pt x="153" y="128"/>
                      <a:pt x="158" y="126"/>
                      <a:pt x="150" y="123"/>
                    </a:cubicBezTo>
                    <a:cubicBezTo>
                      <a:pt x="146" y="118"/>
                      <a:pt x="142" y="116"/>
                      <a:pt x="137" y="113"/>
                    </a:cubicBezTo>
                    <a:cubicBezTo>
                      <a:pt x="134" y="108"/>
                      <a:pt x="135" y="107"/>
                      <a:pt x="140" y="106"/>
                    </a:cubicBezTo>
                    <a:cubicBezTo>
                      <a:pt x="143" y="102"/>
                      <a:pt x="143" y="101"/>
                      <a:pt x="138" y="99"/>
                    </a:cubicBezTo>
                    <a:cubicBezTo>
                      <a:pt x="136" y="94"/>
                      <a:pt x="132" y="93"/>
                      <a:pt x="129" y="89"/>
                    </a:cubicBezTo>
                    <a:cubicBezTo>
                      <a:pt x="127" y="83"/>
                      <a:pt x="125" y="80"/>
                      <a:pt x="120" y="77"/>
                    </a:cubicBezTo>
                    <a:cubicBezTo>
                      <a:pt x="118" y="70"/>
                      <a:pt x="114" y="67"/>
                      <a:pt x="111" y="61"/>
                    </a:cubicBezTo>
                    <a:cubicBezTo>
                      <a:pt x="110" y="58"/>
                      <a:pt x="108" y="52"/>
                      <a:pt x="108" y="52"/>
                    </a:cubicBezTo>
                    <a:cubicBezTo>
                      <a:pt x="109" y="50"/>
                      <a:pt x="109" y="48"/>
                      <a:pt x="111" y="47"/>
                    </a:cubicBezTo>
                    <a:cubicBezTo>
                      <a:pt x="112" y="47"/>
                      <a:pt x="125" y="53"/>
                      <a:pt x="130" y="55"/>
                    </a:cubicBezTo>
                    <a:cubicBezTo>
                      <a:pt x="132" y="60"/>
                      <a:pt x="132" y="67"/>
                      <a:pt x="137" y="70"/>
                    </a:cubicBezTo>
                    <a:cubicBezTo>
                      <a:pt x="139" y="54"/>
                      <a:pt x="143" y="60"/>
                      <a:pt x="153" y="53"/>
                    </a:cubicBezTo>
                    <a:cubicBezTo>
                      <a:pt x="159" y="44"/>
                      <a:pt x="140" y="43"/>
                      <a:pt x="136" y="43"/>
                    </a:cubicBezTo>
                    <a:cubicBezTo>
                      <a:pt x="123" y="36"/>
                      <a:pt x="134" y="24"/>
                      <a:pt x="118" y="22"/>
                    </a:cubicBezTo>
                    <a:cubicBezTo>
                      <a:pt x="116" y="20"/>
                      <a:pt x="114" y="16"/>
                      <a:pt x="111" y="17"/>
                    </a:cubicBezTo>
                    <a:cubicBezTo>
                      <a:pt x="109" y="18"/>
                      <a:pt x="105" y="21"/>
                      <a:pt x="105" y="21"/>
                    </a:cubicBezTo>
                    <a:cubicBezTo>
                      <a:pt x="101" y="18"/>
                      <a:pt x="102" y="16"/>
                      <a:pt x="99" y="13"/>
                    </a:cubicBezTo>
                    <a:cubicBezTo>
                      <a:pt x="97" y="11"/>
                      <a:pt x="90" y="9"/>
                      <a:pt x="90" y="9"/>
                    </a:cubicBezTo>
                    <a:cubicBezTo>
                      <a:pt x="83" y="11"/>
                      <a:pt x="86" y="10"/>
                      <a:pt x="81" y="13"/>
                    </a:cubicBezTo>
                    <a:cubicBezTo>
                      <a:pt x="75" y="11"/>
                      <a:pt x="65" y="11"/>
                      <a:pt x="59" y="7"/>
                    </a:cubicBezTo>
                    <a:cubicBezTo>
                      <a:pt x="57" y="0"/>
                      <a:pt x="52" y="2"/>
                      <a:pt x="47" y="4"/>
                    </a:cubicBezTo>
                    <a:cubicBezTo>
                      <a:pt x="45" y="7"/>
                      <a:pt x="39" y="9"/>
                      <a:pt x="39" y="9"/>
                    </a:cubicBezTo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63" name="Freeform 24"/>
              <p:cNvSpPr>
                <a:spLocks noChangeAspect="1"/>
              </p:cNvSpPr>
              <p:nvPr/>
            </p:nvSpPr>
            <p:spPr bwMode="auto">
              <a:xfrm>
                <a:off x="5910" y="8378"/>
                <a:ext cx="76" cy="68"/>
              </a:xfrm>
              <a:custGeom>
                <a:avLst/>
                <a:gdLst>
                  <a:gd name="T0" fmla="*/ 2147483647 w 19"/>
                  <a:gd name="T1" fmla="*/ 0 h 17"/>
                  <a:gd name="T2" fmla="*/ 2147483647 w 19"/>
                  <a:gd name="T3" fmla="*/ 2147483647 h 17"/>
                  <a:gd name="T4" fmla="*/ 2147483647 w 19"/>
                  <a:gd name="T5" fmla="*/ 2147483647 h 17"/>
                  <a:gd name="T6" fmla="*/ 2147483647 w 19"/>
                  <a:gd name="T7" fmla="*/ 2147483647 h 17"/>
                  <a:gd name="T8" fmla="*/ 2147483647 w 19"/>
                  <a:gd name="T9" fmla="*/ 2147483647 h 17"/>
                  <a:gd name="T10" fmla="*/ 2147483647 w 19"/>
                  <a:gd name="T11" fmla="*/ 2147483647 h 17"/>
                  <a:gd name="T12" fmla="*/ 2147483647 w 19"/>
                  <a:gd name="T13" fmla="*/ 0 h 1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9"/>
                  <a:gd name="T22" fmla="*/ 0 h 17"/>
                  <a:gd name="T23" fmla="*/ 19 w 19"/>
                  <a:gd name="T24" fmla="*/ 17 h 17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9" h="17">
                    <a:moveTo>
                      <a:pt x="16" y="0"/>
                    </a:moveTo>
                    <a:cubicBezTo>
                      <a:pt x="13" y="1"/>
                      <a:pt x="9" y="2"/>
                      <a:pt x="6" y="3"/>
                    </a:cubicBezTo>
                    <a:cubicBezTo>
                      <a:pt x="5" y="5"/>
                      <a:pt x="2" y="6"/>
                      <a:pt x="1" y="9"/>
                    </a:cubicBezTo>
                    <a:cubicBezTo>
                      <a:pt x="0" y="13"/>
                      <a:pt x="9" y="15"/>
                      <a:pt x="12" y="17"/>
                    </a:cubicBezTo>
                    <a:cubicBezTo>
                      <a:pt x="14" y="16"/>
                      <a:pt x="16" y="16"/>
                      <a:pt x="17" y="15"/>
                    </a:cubicBezTo>
                    <a:cubicBezTo>
                      <a:pt x="18" y="13"/>
                      <a:pt x="19" y="9"/>
                      <a:pt x="19" y="9"/>
                    </a:cubicBezTo>
                    <a:cubicBezTo>
                      <a:pt x="19" y="7"/>
                      <a:pt x="16" y="0"/>
                      <a:pt x="16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64" name="Freeform 25"/>
              <p:cNvSpPr>
                <a:spLocks noChangeAspect="1"/>
              </p:cNvSpPr>
              <p:nvPr/>
            </p:nvSpPr>
            <p:spPr bwMode="auto">
              <a:xfrm>
                <a:off x="6134" y="8402"/>
                <a:ext cx="68" cy="52"/>
              </a:xfrm>
              <a:custGeom>
                <a:avLst/>
                <a:gdLst>
                  <a:gd name="T0" fmla="*/ 2147483647 w 17"/>
                  <a:gd name="T1" fmla="*/ 2147483647 h 13"/>
                  <a:gd name="T2" fmla="*/ 2147483647 w 17"/>
                  <a:gd name="T3" fmla="*/ 2147483647 h 13"/>
                  <a:gd name="T4" fmla="*/ 2147483647 w 17"/>
                  <a:gd name="T5" fmla="*/ 2147483647 h 13"/>
                  <a:gd name="T6" fmla="*/ 0 60000 65536"/>
                  <a:gd name="T7" fmla="*/ 0 60000 65536"/>
                  <a:gd name="T8" fmla="*/ 0 60000 65536"/>
                  <a:gd name="T9" fmla="*/ 0 w 17"/>
                  <a:gd name="T10" fmla="*/ 0 h 13"/>
                  <a:gd name="T11" fmla="*/ 17 w 17"/>
                  <a:gd name="T12" fmla="*/ 13 h 13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7" h="13">
                    <a:moveTo>
                      <a:pt x="15" y="3"/>
                    </a:moveTo>
                    <a:cubicBezTo>
                      <a:pt x="3" y="0"/>
                      <a:pt x="0" y="9"/>
                      <a:pt x="11" y="13"/>
                    </a:cubicBezTo>
                    <a:cubicBezTo>
                      <a:pt x="17" y="11"/>
                      <a:pt x="15" y="8"/>
                      <a:pt x="15" y="3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65" name="Freeform 26"/>
              <p:cNvSpPr>
                <a:spLocks noChangeAspect="1"/>
              </p:cNvSpPr>
              <p:nvPr/>
            </p:nvSpPr>
            <p:spPr bwMode="auto">
              <a:xfrm>
                <a:off x="6050" y="8570"/>
                <a:ext cx="120" cy="96"/>
              </a:xfrm>
              <a:custGeom>
                <a:avLst/>
                <a:gdLst>
                  <a:gd name="T0" fmla="*/ 2147483647 w 30"/>
                  <a:gd name="T1" fmla="*/ 0 h 24"/>
                  <a:gd name="T2" fmla="*/ 2147483647 w 30"/>
                  <a:gd name="T3" fmla="*/ 2147483647 h 24"/>
                  <a:gd name="T4" fmla="*/ 2147483647 w 30"/>
                  <a:gd name="T5" fmla="*/ 2147483647 h 24"/>
                  <a:gd name="T6" fmla="*/ 2147483647 w 30"/>
                  <a:gd name="T7" fmla="*/ 2147483647 h 24"/>
                  <a:gd name="T8" fmla="*/ 2147483647 w 30"/>
                  <a:gd name="T9" fmla="*/ 2147483647 h 24"/>
                  <a:gd name="T10" fmla="*/ 2147483647 w 30"/>
                  <a:gd name="T11" fmla="*/ 0 h 2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0"/>
                  <a:gd name="T19" fmla="*/ 0 h 24"/>
                  <a:gd name="T20" fmla="*/ 30 w 30"/>
                  <a:gd name="T21" fmla="*/ 24 h 2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0" h="24">
                    <a:moveTo>
                      <a:pt x="29" y="0"/>
                    </a:moveTo>
                    <a:cubicBezTo>
                      <a:pt x="28" y="3"/>
                      <a:pt x="26" y="6"/>
                      <a:pt x="25" y="9"/>
                    </a:cubicBezTo>
                    <a:cubicBezTo>
                      <a:pt x="22" y="8"/>
                      <a:pt x="16" y="6"/>
                      <a:pt x="16" y="6"/>
                    </a:cubicBezTo>
                    <a:cubicBezTo>
                      <a:pt x="10" y="7"/>
                      <a:pt x="0" y="8"/>
                      <a:pt x="10" y="13"/>
                    </a:cubicBezTo>
                    <a:cubicBezTo>
                      <a:pt x="12" y="24"/>
                      <a:pt x="16" y="20"/>
                      <a:pt x="28" y="19"/>
                    </a:cubicBezTo>
                    <a:cubicBezTo>
                      <a:pt x="30" y="12"/>
                      <a:pt x="30" y="7"/>
                      <a:pt x="29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66" name="Freeform 27"/>
              <p:cNvSpPr>
                <a:spLocks noChangeAspect="1"/>
              </p:cNvSpPr>
              <p:nvPr/>
            </p:nvSpPr>
            <p:spPr bwMode="auto">
              <a:xfrm>
                <a:off x="6330" y="9390"/>
                <a:ext cx="64" cy="88"/>
              </a:xfrm>
              <a:custGeom>
                <a:avLst/>
                <a:gdLst>
                  <a:gd name="T0" fmla="*/ 2147483647 w 16"/>
                  <a:gd name="T1" fmla="*/ 0 h 22"/>
                  <a:gd name="T2" fmla="*/ 2147483647 w 16"/>
                  <a:gd name="T3" fmla="*/ 2147483647 h 22"/>
                  <a:gd name="T4" fmla="*/ 2147483647 w 16"/>
                  <a:gd name="T5" fmla="*/ 2147483647 h 22"/>
                  <a:gd name="T6" fmla="*/ 2147483647 w 16"/>
                  <a:gd name="T7" fmla="*/ 2147483647 h 22"/>
                  <a:gd name="T8" fmla="*/ 2147483647 w 16"/>
                  <a:gd name="T9" fmla="*/ 0 h 2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6"/>
                  <a:gd name="T16" fmla="*/ 0 h 22"/>
                  <a:gd name="T17" fmla="*/ 16 w 16"/>
                  <a:gd name="T18" fmla="*/ 22 h 2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6" h="22">
                    <a:moveTo>
                      <a:pt x="6" y="0"/>
                    </a:moveTo>
                    <a:cubicBezTo>
                      <a:pt x="13" y="2"/>
                      <a:pt x="14" y="4"/>
                      <a:pt x="16" y="11"/>
                    </a:cubicBezTo>
                    <a:cubicBezTo>
                      <a:pt x="14" y="19"/>
                      <a:pt x="13" y="18"/>
                      <a:pt x="7" y="22"/>
                    </a:cubicBezTo>
                    <a:cubicBezTo>
                      <a:pt x="5" y="15"/>
                      <a:pt x="0" y="12"/>
                      <a:pt x="7" y="5"/>
                    </a:cubicBezTo>
                    <a:cubicBezTo>
                      <a:pt x="8" y="1"/>
                      <a:pt x="9" y="3"/>
                      <a:pt x="6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67" name="Freeform 28"/>
              <p:cNvSpPr>
                <a:spLocks noChangeAspect="1"/>
              </p:cNvSpPr>
              <p:nvPr/>
            </p:nvSpPr>
            <p:spPr bwMode="auto">
              <a:xfrm>
                <a:off x="6310" y="8702"/>
                <a:ext cx="180" cy="136"/>
              </a:xfrm>
              <a:custGeom>
                <a:avLst/>
                <a:gdLst>
                  <a:gd name="T0" fmla="*/ 2147483647 w 45"/>
                  <a:gd name="T1" fmla="*/ 0 h 34"/>
                  <a:gd name="T2" fmla="*/ 2147483647 w 45"/>
                  <a:gd name="T3" fmla="*/ 2147483647 h 34"/>
                  <a:gd name="T4" fmla="*/ 2147483647 w 45"/>
                  <a:gd name="T5" fmla="*/ 2147483647 h 34"/>
                  <a:gd name="T6" fmla="*/ 2147483647 w 45"/>
                  <a:gd name="T7" fmla="*/ 2147483647 h 34"/>
                  <a:gd name="T8" fmla="*/ 2147483647 w 45"/>
                  <a:gd name="T9" fmla="*/ 2147483647 h 34"/>
                  <a:gd name="T10" fmla="*/ 2147483647 w 45"/>
                  <a:gd name="T11" fmla="*/ 2147483647 h 34"/>
                  <a:gd name="T12" fmla="*/ 2147483647 w 45"/>
                  <a:gd name="T13" fmla="*/ 2147483647 h 34"/>
                  <a:gd name="T14" fmla="*/ 2147483647 w 45"/>
                  <a:gd name="T15" fmla="*/ 2147483647 h 34"/>
                  <a:gd name="T16" fmla="*/ 2147483647 w 45"/>
                  <a:gd name="T17" fmla="*/ 2147483647 h 34"/>
                  <a:gd name="T18" fmla="*/ 0 w 45"/>
                  <a:gd name="T19" fmla="*/ 2147483647 h 34"/>
                  <a:gd name="T20" fmla="*/ 2147483647 w 45"/>
                  <a:gd name="T21" fmla="*/ 2147483647 h 34"/>
                  <a:gd name="T22" fmla="*/ 2147483647 w 45"/>
                  <a:gd name="T23" fmla="*/ 2147483647 h 34"/>
                  <a:gd name="T24" fmla="*/ 2147483647 w 45"/>
                  <a:gd name="T25" fmla="*/ 0 h 34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45"/>
                  <a:gd name="T40" fmla="*/ 0 h 34"/>
                  <a:gd name="T41" fmla="*/ 45 w 45"/>
                  <a:gd name="T42" fmla="*/ 34 h 34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45" h="34">
                    <a:moveTo>
                      <a:pt x="26" y="0"/>
                    </a:moveTo>
                    <a:cubicBezTo>
                      <a:pt x="27" y="4"/>
                      <a:pt x="31" y="8"/>
                      <a:pt x="35" y="10"/>
                    </a:cubicBezTo>
                    <a:cubicBezTo>
                      <a:pt x="37" y="11"/>
                      <a:pt x="41" y="14"/>
                      <a:pt x="41" y="14"/>
                    </a:cubicBezTo>
                    <a:cubicBezTo>
                      <a:pt x="43" y="17"/>
                      <a:pt x="45" y="23"/>
                      <a:pt x="45" y="23"/>
                    </a:cubicBezTo>
                    <a:cubicBezTo>
                      <a:pt x="43" y="29"/>
                      <a:pt x="37" y="31"/>
                      <a:pt x="32" y="33"/>
                    </a:cubicBezTo>
                    <a:cubicBezTo>
                      <a:pt x="29" y="33"/>
                      <a:pt x="25" y="34"/>
                      <a:pt x="23" y="32"/>
                    </a:cubicBezTo>
                    <a:cubicBezTo>
                      <a:pt x="19" y="28"/>
                      <a:pt x="29" y="17"/>
                      <a:pt x="29" y="17"/>
                    </a:cubicBezTo>
                    <a:cubicBezTo>
                      <a:pt x="26" y="10"/>
                      <a:pt x="26" y="11"/>
                      <a:pt x="19" y="12"/>
                    </a:cubicBezTo>
                    <a:cubicBezTo>
                      <a:pt x="17" y="19"/>
                      <a:pt x="16" y="26"/>
                      <a:pt x="8" y="28"/>
                    </a:cubicBezTo>
                    <a:cubicBezTo>
                      <a:pt x="4" y="27"/>
                      <a:pt x="0" y="18"/>
                      <a:pt x="0" y="18"/>
                    </a:cubicBezTo>
                    <a:cubicBezTo>
                      <a:pt x="2" y="12"/>
                      <a:pt x="5" y="12"/>
                      <a:pt x="11" y="11"/>
                    </a:cubicBezTo>
                    <a:cubicBezTo>
                      <a:pt x="13" y="10"/>
                      <a:pt x="15" y="10"/>
                      <a:pt x="17" y="8"/>
                    </a:cubicBezTo>
                    <a:cubicBezTo>
                      <a:pt x="21" y="4"/>
                      <a:pt x="19" y="0"/>
                      <a:pt x="26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68" name="Freeform 29"/>
              <p:cNvSpPr>
                <a:spLocks noChangeAspect="1"/>
              </p:cNvSpPr>
              <p:nvPr/>
            </p:nvSpPr>
            <p:spPr bwMode="auto">
              <a:xfrm>
                <a:off x="6342" y="8942"/>
                <a:ext cx="108" cy="140"/>
              </a:xfrm>
              <a:custGeom>
                <a:avLst/>
                <a:gdLst>
                  <a:gd name="T0" fmla="*/ 2147483647 w 27"/>
                  <a:gd name="T1" fmla="*/ 2147483647 h 35"/>
                  <a:gd name="T2" fmla="*/ 2147483647 w 27"/>
                  <a:gd name="T3" fmla="*/ 2147483647 h 35"/>
                  <a:gd name="T4" fmla="*/ 2147483647 w 27"/>
                  <a:gd name="T5" fmla="*/ 2147483647 h 35"/>
                  <a:gd name="T6" fmla="*/ 2147483647 w 27"/>
                  <a:gd name="T7" fmla="*/ 2147483647 h 35"/>
                  <a:gd name="T8" fmla="*/ 0 w 27"/>
                  <a:gd name="T9" fmla="*/ 2147483647 h 35"/>
                  <a:gd name="T10" fmla="*/ 2147483647 w 27"/>
                  <a:gd name="T11" fmla="*/ 2147483647 h 3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7"/>
                  <a:gd name="T19" fmla="*/ 0 h 35"/>
                  <a:gd name="T20" fmla="*/ 27 w 27"/>
                  <a:gd name="T21" fmla="*/ 35 h 3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7" h="35">
                    <a:moveTo>
                      <a:pt x="13" y="4"/>
                    </a:moveTo>
                    <a:cubicBezTo>
                      <a:pt x="18" y="5"/>
                      <a:pt x="22" y="10"/>
                      <a:pt x="25" y="14"/>
                    </a:cubicBezTo>
                    <a:cubicBezTo>
                      <a:pt x="24" y="24"/>
                      <a:pt x="26" y="32"/>
                      <a:pt x="16" y="35"/>
                    </a:cubicBezTo>
                    <a:cubicBezTo>
                      <a:pt x="11" y="34"/>
                      <a:pt x="10" y="33"/>
                      <a:pt x="7" y="29"/>
                    </a:cubicBezTo>
                    <a:cubicBezTo>
                      <a:pt x="17" y="23"/>
                      <a:pt x="7" y="13"/>
                      <a:pt x="0" y="10"/>
                    </a:cubicBezTo>
                    <a:cubicBezTo>
                      <a:pt x="3" y="0"/>
                      <a:pt x="27" y="9"/>
                      <a:pt x="13" y="4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69" name="Freeform 30"/>
              <p:cNvSpPr>
                <a:spLocks noChangeAspect="1"/>
              </p:cNvSpPr>
              <p:nvPr/>
            </p:nvSpPr>
            <p:spPr bwMode="auto">
              <a:xfrm>
                <a:off x="6950" y="9454"/>
                <a:ext cx="108" cy="208"/>
              </a:xfrm>
              <a:custGeom>
                <a:avLst/>
                <a:gdLst>
                  <a:gd name="T0" fmla="*/ 2147483647 w 27"/>
                  <a:gd name="T1" fmla="*/ 2147483647 h 52"/>
                  <a:gd name="T2" fmla="*/ 2147483647 w 27"/>
                  <a:gd name="T3" fmla="*/ 2147483647 h 52"/>
                  <a:gd name="T4" fmla="*/ 2147483647 w 27"/>
                  <a:gd name="T5" fmla="*/ 2147483647 h 52"/>
                  <a:gd name="T6" fmla="*/ 2147483647 w 27"/>
                  <a:gd name="T7" fmla="*/ 2147483647 h 52"/>
                  <a:gd name="T8" fmla="*/ 2147483647 w 27"/>
                  <a:gd name="T9" fmla="*/ 2147483647 h 52"/>
                  <a:gd name="T10" fmla="*/ 2147483647 w 27"/>
                  <a:gd name="T11" fmla="*/ 2147483647 h 52"/>
                  <a:gd name="T12" fmla="*/ 2147483647 w 27"/>
                  <a:gd name="T13" fmla="*/ 2147483647 h 52"/>
                  <a:gd name="T14" fmla="*/ 2147483647 w 27"/>
                  <a:gd name="T15" fmla="*/ 2147483647 h 52"/>
                  <a:gd name="T16" fmla="*/ 2147483647 w 27"/>
                  <a:gd name="T17" fmla="*/ 2147483647 h 52"/>
                  <a:gd name="T18" fmla="*/ 2147483647 w 27"/>
                  <a:gd name="T19" fmla="*/ 2147483647 h 52"/>
                  <a:gd name="T20" fmla="*/ 2147483647 w 27"/>
                  <a:gd name="T21" fmla="*/ 2147483647 h 52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27"/>
                  <a:gd name="T34" fmla="*/ 0 h 52"/>
                  <a:gd name="T35" fmla="*/ 27 w 27"/>
                  <a:gd name="T36" fmla="*/ 52 h 52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27" h="52">
                    <a:moveTo>
                      <a:pt x="25" y="2"/>
                    </a:moveTo>
                    <a:cubicBezTo>
                      <a:pt x="20" y="4"/>
                      <a:pt x="19" y="9"/>
                      <a:pt x="14" y="12"/>
                    </a:cubicBezTo>
                    <a:cubicBezTo>
                      <a:pt x="11" y="14"/>
                      <a:pt x="5" y="15"/>
                      <a:pt x="5" y="15"/>
                    </a:cubicBezTo>
                    <a:cubicBezTo>
                      <a:pt x="2" y="24"/>
                      <a:pt x="0" y="40"/>
                      <a:pt x="8" y="46"/>
                    </a:cubicBezTo>
                    <a:cubicBezTo>
                      <a:pt x="12" y="52"/>
                      <a:pt x="15" y="46"/>
                      <a:pt x="19" y="43"/>
                    </a:cubicBezTo>
                    <a:cubicBezTo>
                      <a:pt x="21" y="38"/>
                      <a:pt x="22" y="33"/>
                      <a:pt x="23" y="28"/>
                    </a:cubicBezTo>
                    <a:cubicBezTo>
                      <a:pt x="22" y="21"/>
                      <a:pt x="22" y="19"/>
                      <a:pt x="25" y="13"/>
                    </a:cubicBezTo>
                    <a:cubicBezTo>
                      <a:pt x="26" y="11"/>
                      <a:pt x="27" y="7"/>
                      <a:pt x="27" y="7"/>
                    </a:cubicBezTo>
                    <a:cubicBezTo>
                      <a:pt x="26" y="5"/>
                      <a:pt x="27" y="2"/>
                      <a:pt x="25" y="1"/>
                    </a:cubicBezTo>
                    <a:cubicBezTo>
                      <a:pt x="24" y="0"/>
                      <a:pt x="22" y="3"/>
                      <a:pt x="22" y="4"/>
                    </a:cubicBezTo>
                    <a:cubicBezTo>
                      <a:pt x="22" y="5"/>
                      <a:pt x="24" y="3"/>
                      <a:pt x="25" y="2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70" name="Freeform 31"/>
              <p:cNvSpPr>
                <a:spLocks noChangeAspect="1"/>
              </p:cNvSpPr>
              <p:nvPr/>
            </p:nvSpPr>
            <p:spPr bwMode="auto">
              <a:xfrm>
                <a:off x="6790" y="9682"/>
                <a:ext cx="80" cy="164"/>
              </a:xfrm>
              <a:custGeom>
                <a:avLst/>
                <a:gdLst>
                  <a:gd name="T0" fmla="*/ 2147483647 w 20"/>
                  <a:gd name="T1" fmla="*/ 0 h 41"/>
                  <a:gd name="T2" fmla="*/ 2147483647 w 20"/>
                  <a:gd name="T3" fmla="*/ 2147483647 h 41"/>
                  <a:gd name="T4" fmla="*/ 2147483647 w 20"/>
                  <a:gd name="T5" fmla="*/ 0 h 41"/>
                  <a:gd name="T6" fmla="*/ 0 60000 65536"/>
                  <a:gd name="T7" fmla="*/ 0 60000 65536"/>
                  <a:gd name="T8" fmla="*/ 0 60000 65536"/>
                  <a:gd name="T9" fmla="*/ 0 w 20"/>
                  <a:gd name="T10" fmla="*/ 0 h 41"/>
                  <a:gd name="T11" fmla="*/ 20 w 20"/>
                  <a:gd name="T12" fmla="*/ 41 h 4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0" h="41">
                    <a:moveTo>
                      <a:pt x="20" y="0"/>
                    </a:moveTo>
                    <a:cubicBezTo>
                      <a:pt x="19" y="14"/>
                      <a:pt x="18" y="27"/>
                      <a:pt x="17" y="41"/>
                    </a:cubicBezTo>
                    <a:cubicBezTo>
                      <a:pt x="0" y="38"/>
                      <a:pt x="16" y="9"/>
                      <a:pt x="20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71" name="Freeform 32"/>
              <p:cNvSpPr>
                <a:spLocks noChangeAspect="1"/>
              </p:cNvSpPr>
              <p:nvPr/>
            </p:nvSpPr>
            <p:spPr bwMode="auto">
              <a:xfrm>
                <a:off x="6002" y="9894"/>
                <a:ext cx="700" cy="196"/>
              </a:xfrm>
              <a:custGeom>
                <a:avLst/>
                <a:gdLst>
                  <a:gd name="T0" fmla="*/ 2147483647 w 175"/>
                  <a:gd name="T1" fmla="*/ 2147483647 h 49"/>
                  <a:gd name="T2" fmla="*/ 2147483647 w 175"/>
                  <a:gd name="T3" fmla="*/ 2147483647 h 49"/>
                  <a:gd name="T4" fmla="*/ 2147483647 w 175"/>
                  <a:gd name="T5" fmla="*/ 2147483647 h 49"/>
                  <a:gd name="T6" fmla="*/ 2147483647 w 175"/>
                  <a:gd name="T7" fmla="*/ 2147483647 h 49"/>
                  <a:gd name="T8" fmla="*/ 2147483647 w 175"/>
                  <a:gd name="T9" fmla="*/ 2147483647 h 49"/>
                  <a:gd name="T10" fmla="*/ 2147483647 w 175"/>
                  <a:gd name="T11" fmla="*/ 2147483647 h 49"/>
                  <a:gd name="T12" fmla="*/ 2147483647 w 175"/>
                  <a:gd name="T13" fmla="*/ 2147483647 h 49"/>
                  <a:gd name="T14" fmla="*/ 2147483647 w 175"/>
                  <a:gd name="T15" fmla="*/ 2147483647 h 49"/>
                  <a:gd name="T16" fmla="*/ 2147483647 w 175"/>
                  <a:gd name="T17" fmla="*/ 2147483647 h 49"/>
                  <a:gd name="T18" fmla="*/ 2147483647 w 175"/>
                  <a:gd name="T19" fmla="*/ 2147483647 h 49"/>
                  <a:gd name="T20" fmla="*/ 2147483647 w 175"/>
                  <a:gd name="T21" fmla="*/ 2147483647 h 49"/>
                  <a:gd name="T22" fmla="*/ 2147483647 w 175"/>
                  <a:gd name="T23" fmla="*/ 2147483647 h 49"/>
                  <a:gd name="T24" fmla="*/ 2147483647 w 175"/>
                  <a:gd name="T25" fmla="*/ 2147483647 h 49"/>
                  <a:gd name="T26" fmla="*/ 2147483647 w 175"/>
                  <a:gd name="T27" fmla="*/ 2147483647 h 49"/>
                  <a:gd name="T28" fmla="*/ 2147483647 w 175"/>
                  <a:gd name="T29" fmla="*/ 2147483647 h 49"/>
                  <a:gd name="T30" fmla="*/ 2147483647 w 175"/>
                  <a:gd name="T31" fmla="*/ 2147483647 h 49"/>
                  <a:gd name="T32" fmla="*/ 2147483647 w 175"/>
                  <a:gd name="T33" fmla="*/ 2147483647 h 49"/>
                  <a:gd name="T34" fmla="*/ 2147483647 w 175"/>
                  <a:gd name="T35" fmla="*/ 2147483647 h 49"/>
                  <a:gd name="T36" fmla="*/ 2147483647 w 175"/>
                  <a:gd name="T37" fmla="*/ 2147483647 h 49"/>
                  <a:gd name="T38" fmla="*/ 2147483647 w 175"/>
                  <a:gd name="T39" fmla="*/ 2147483647 h 49"/>
                  <a:gd name="T40" fmla="*/ 2147483647 w 175"/>
                  <a:gd name="T41" fmla="*/ 2147483647 h 49"/>
                  <a:gd name="T42" fmla="*/ 2147483647 w 175"/>
                  <a:gd name="T43" fmla="*/ 2147483647 h 49"/>
                  <a:gd name="T44" fmla="*/ 2147483647 w 175"/>
                  <a:gd name="T45" fmla="*/ 2147483647 h 49"/>
                  <a:gd name="T46" fmla="*/ 0 w 175"/>
                  <a:gd name="T47" fmla="*/ 2147483647 h 49"/>
                  <a:gd name="T48" fmla="*/ 2147483647 w 175"/>
                  <a:gd name="T49" fmla="*/ 2147483647 h 49"/>
                  <a:gd name="T50" fmla="*/ 2147483647 w 175"/>
                  <a:gd name="T51" fmla="*/ 2147483647 h 49"/>
                  <a:gd name="T52" fmla="*/ 2147483647 w 175"/>
                  <a:gd name="T53" fmla="*/ 2147483647 h 49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w 175"/>
                  <a:gd name="T82" fmla="*/ 0 h 49"/>
                  <a:gd name="T83" fmla="*/ 175 w 175"/>
                  <a:gd name="T84" fmla="*/ 49 h 49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T81" t="T82" r="T83" b="T84"/>
                <a:pathLst>
                  <a:path w="175" h="49">
                    <a:moveTo>
                      <a:pt x="8" y="24"/>
                    </a:moveTo>
                    <a:cubicBezTo>
                      <a:pt x="13" y="21"/>
                      <a:pt x="13" y="6"/>
                      <a:pt x="13" y="6"/>
                    </a:cubicBezTo>
                    <a:cubicBezTo>
                      <a:pt x="23" y="9"/>
                      <a:pt x="9" y="17"/>
                      <a:pt x="25" y="19"/>
                    </a:cubicBezTo>
                    <a:cubicBezTo>
                      <a:pt x="32" y="18"/>
                      <a:pt x="29" y="16"/>
                      <a:pt x="34" y="11"/>
                    </a:cubicBezTo>
                    <a:cubicBezTo>
                      <a:pt x="38" y="0"/>
                      <a:pt x="32" y="25"/>
                      <a:pt x="40" y="23"/>
                    </a:cubicBezTo>
                    <a:cubicBezTo>
                      <a:pt x="41" y="19"/>
                      <a:pt x="47" y="22"/>
                      <a:pt x="52" y="23"/>
                    </a:cubicBezTo>
                    <a:cubicBezTo>
                      <a:pt x="57" y="22"/>
                      <a:pt x="64" y="14"/>
                      <a:pt x="70" y="12"/>
                    </a:cubicBezTo>
                    <a:cubicBezTo>
                      <a:pt x="76" y="10"/>
                      <a:pt x="83" y="12"/>
                      <a:pt x="88" y="13"/>
                    </a:cubicBezTo>
                    <a:cubicBezTo>
                      <a:pt x="92" y="7"/>
                      <a:pt x="97" y="12"/>
                      <a:pt x="101" y="16"/>
                    </a:cubicBezTo>
                    <a:cubicBezTo>
                      <a:pt x="111" y="13"/>
                      <a:pt x="107" y="14"/>
                      <a:pt x="114" y="12"/>
                    </a:cubicBezTo>
                    <a:cubicBezTo>
                      <a:pt x="121" y="14"/>
                      <a:pt x="120" y="14"/>
                      <a:pt x="128" y="12"/>
                    </a:cubicBezTo>
                    <a:cubicBezTo>
                      <a:pt x="130" y="7"/>
                      <a:pt x="131" y="4"/>
                      <a:pt x="136" y="6"/>
                    </a:cubicBezTo>
                    <a:cubicBezTo>
                      <a:pt x="137" y="12"/>
                      <a:pt x="137" y="13"/>
                      <a:pt x="134" y="18"/>
                    </a:cubicBezTo>
                    <a:cubicBezTo>
                      <a:pt x="136" y="23"/>
                      <a:pt x="150" y="19"/>
                      <a:pt x="150" y="19"/>
                    </a:cubicBezTo>
                    <a:cubicBezTo>
                      <a:pt x="156" y="16"/>
                      <a:pt x="155" y="11"/>
                      <a:pt x="162" y="10"/>
                    </a:cubicBezTo>
                    <a:cubicBezTo>
                      <a:pt x="174" y="11"/>
                      <a:pt x="173" y="9"/>
                      <a:pt x="175" y="18"/>
                    </a:cubicBezTo>
                    <a:cubicBezTo>
                      <a:pt x="173" y="25"/>
                      <a:pt x="169" y="25"/>
                      <a:pt x="163" y="28"/>
                    </a:cubicBezTo>
                    <a:cubicBezTo>
                      <a:pt x="158" y="36"/>
                      <a:pt x="154" y="25"/>
                      <a:pt x="142" y="30"/>
                    </a:cubicBezTo>
                    <a:cubicBezTo>
                      <a:pt x="135" y="31"/>
                      <a:pt x="129" y="35"/>
                      <a:pt x="122" y="35"/>
                    </a:cubicBezTo>
                    <a:cubicBezTo>
                      <a:pt x="114" y="36"/>
                      <a:pt x="108" y="43"/>
                      <a:pt x="100" y="43"/>
                    </a:cubicBezTo>
                    <a:cubicBezTo>
                      <a:pt x="95" y="44"/>
                      <a:pt x="92" y="46"/>
                      <a:pt x="88" y="49"/>
                    </a:cubicBezTo>
                    <a:cubicBezTo>
                      <a:pt x="63" y="43"/>
                      <a:pt x="100" y="42"/>
                      <a:pt x="52" y="38"/>
                    </a:cubicBezTo>
                    <a:cubicBezTo>
                      <a:pt x="42" y="35"/>
                      <a:pt x="33" y="34"/>
                      <a:pt x="24" y="37"/>
                    </a:cubicBezTo>
                    <a:cubicBezTo>
                      <a:pt x="8" y="36"/>
                      <a:pt x="3" y="45"/>
                      <a:pt x="0" y="32"/>
                    </a:cubicBezTo>
                    <a:cubicBezTo>
                      <a:pt x="1" y="31"/>
                      <a:pt x="2" y="30"/>
                      <a:pt x="2" y="29"/>
                    </a:cubicBezTo>
                    <a:cubicBezTo>
                      <a:pt x="4" y="28"/>
                      <a:pt x="10" y="24"/>
                      <a:pt x="11" y="23"/>
                    </a:cubicBezTo>
                    <a:lnTo>
                      <a:pt x="8" y="24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72" name="Freeform 33"/>
              <p:cNvSpPr>
                <a:spLocks noChangeAspect="1"/>
              </p:cNvSpPr>
              <p:nvPr/>
            </p:nvSpPr>
            <p:spPr bwMode="auto">
              <a:xfrm>
                <a:off x="6458" y="9194"/>
                <a:ext cx="84" cy="72"/>
              </a:xfrm>
              <a:custGeom>
                <a:avLst/>
                <a:gdLst>
                  <a:gd name="T0" fmla="*/ 2147483647 w 21"/>
                  <a:gd name="T1" fmla="*/ 2147483647 h 18"/>
                  <a:gd name="T2" fmla="*/ 2147483647 w 21"/>
                  <a:gd name="T3" fmla="*/ 2147483647 h 18"/>
                  <a:gd name="T4" fmla="*/ 0 w 21"/>
                  <a:gd name="T5" fmla="*/ 2147483647 h 18"/>
                  <a:gd name="T6" fmla="*/ 2147483647 w 21"/>
                  <a:gd name="T7" fmla="*/ 2147483647 h 18"/>
                  <a:gd name="T8" fmla="*/ 2147483647 w 21"/>
                  <a:gd name="T9" fmla="*/ 2147483647 h 18"/>
                  <a:gd name="T10" fmla="*/ 2147483647 w 21"/>
                  <a:gd name="T11" fmla="*/ 2147483647 h 1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1"/>
                  <a:gd name="T19" fmla="*/ 0 h 18"/>
                  <a:gd name="T20" fmla="*/ 21 w 21"/>
                  <a:gd name="T21" fmla="*/ 18 h 1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1" h="18">
                    <a:moveTo>
                      <a:pt x="17" y="2"/>
                    </a:moveTo>
                    <a:cubicBezTo>
                      <a:pt x="13" y="3"/>
                      <a:pt x="12" y="6"/>
                      <a:pt x="8" y="7"/>
                    </a:cubicBezTo>
                    <a:cubicBezTo>
                      <a:pt x="6" y="13"/>
                      <a:pt x="3" y="11"/>
                      <a:pt x="0" y="17"/>
                    </a:cubicBezTo>
                    <a:cubicBezTo>
                      <a:pt x="6" y="18"/>
                      <a:pt x="5" y="16"/>
                      <a:pt x="10" y="13"/>
                    </a:cubicBezTo>
                    <a:cubicBezTo>
                      <a:pt x="13" y="9"/>
                      <a:pt x="15" y="9"/>
                      <a:pt x="19" y="5"/>
                    </a:cubicBezTo>
                    <a:cubicBezTo>
                      <a:pt x="20" y="0"/>
                      <a:pt x="21" y="1"/>
                      <a:pt x="17" y="2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73" name="Freeform 34"/>
              <p:cNvSpPr>
                <a:spLocks noChangeAspect="1"/>
              </p:cNvSpPr>
              <p:nvPr/>
            </p:nvSpPr>
            <p:spPr bwMode="auto">
              <a:xfrm>
                <a:off x="6718" y="9378"/>
                <a:ext cx="84" cy="96"/>
              </a:xfrm>
              <a:custGeom>
                <a:avLst/>
                <a:gdLst>
                  <a:gd name="T0" fmla="*/ 2147483647 w 21"/>
                  <a:gd name="T1" fmla="*/ 2147483647 h 24"/>
                  <a:gd name="T2" fmla="*/ 2147483647 w 21"/>
                  <a:gd name="T3" fmla="*/ 2147483647 h 24"/>
                  <a:gd name="T4" fmla="*/ 2147483647 w 21"/>
                  <a:gd name="T5" fmla="*/ 2147483647 h 24"/>
                  <a:gd name="T6" fmla="*/ 2147483647 w 21"/>
                  <a:gd name="T7" fmla="*/ 2147483647 h 24"/>
                  <a:gd name="T8" fmla="*/ 2147483647 w 21"/>
                  <a:gd name="T9" fmla="*/ 0 h 24"/>
                  <a:gd name="T10" fmla="*/ 2147483647 w 21"/>
                  <a:gd name="T11" fmla="*/ 2147483647 h 2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1"/>
                  <a:gd name="T19" fmla="*/ 0 h 24"/>
                  <a:gd name="T20" fmla="*/ 21 w 21"/>
                  <a:gd name="T21" fmla="*/ 24 h 2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1" h="24">
                    <a:moveTo>
                      <a:pt x="12" y="5"/>
                    </a:moveTo>
                    <a:cubicBezTo>
                      <a:pt x="11" y="9"/>
                      <a:pt x="7" y="13"/>
                      <a:pt x="3" y="16"/>
                    </a:cubicBezTo>
                    <a:cubicBezTo>
                      <a:pt x="0" y="24"/>
                      <a:pt x="4" y="22"/>
                      <a:pt x="12" y="21"/>
                    </a:cubicBezTo>
                    <a:cubicBezTo>
                      <a:pt x="16" y="14"/>
                      <a:pt x="19" y="14"/>
                      <a:pt x="21" y="4"/>
                    </a:cubicBezTo>
                    <a:cubicBezTo>
                      <a:pt x="21" y="1"/>
                      <a:pt x="10" y="0"/>
                      <a:pt x="9" y="0"/>
                    </a:cubicBezTo>
                    <a:cubicBezTo>
                      <a:pt x="8" y="0"/>
                      <a:pt x="13" y="2"/>
                      <a:pt x="12" y="5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74" name="Freeform 35"/>
              <p:cNvSpPr>
                <a:spLocks noChangeAspect="1"/>
              </p:cNvSpPr>
              <p:nvPr/>
            </p:nvSpPr>
            <p:spPr bwMode="auto">
              <a:xfrm>
                <a:off x="5022" y="8018"/>
                <a:ext cx="1316" cy="1284"/>
              </a:xfrm>
              <a:custGeom>
                <a:avLst/>
                <a:gdLst>
                  <a:gd name="T0" fmla="*/ 2147483647 w 329"/>
                  <a:gd name="T1" fmla="*/ 2147483647 h 321"/>
                  <a:gd name="T2" fmla="*/ 2147483647 w 329"/>
                  <a:gd name="T3" fmla="*/ 2147483647 h 321"/>
                  <a:gd name="T4" fmla="*/ 2147483647 w 329"/>
                  <a:gd name="T5" fmla="*/ 2147483647 h 321"/>
                  <a:gd name="T6" fmla="*/ 2147483647 w 329"/>
                  <a:gd name="T7" fmla="*/ 2147483647 h 321"/>
                  <a:gd name="T8" fmla="*/ 2147483647 w 329"/>
                  <a:gd name="T9" fmla="*/ 2147483647 h 321"/>
                  <a:gd name="T10" fmla="*/ 2147483647 w 329"/>
                  <a:gd name="T11" fmla="*/ 2147483647 h 321"/>
                  <a:gd name="T12" fmla="*/ 2147483647 w 329"/>
                  <a:gd name="T13" fmla="*/ 2147483647 h 321"/>
                  <a:gd name="T14" fmla="*/ 2147483647 w 329"/>
                  <a:gd name="T15" fmla="*/ 2147483647 h 321"/>
                  <a:gd name="T16" fmla="*/ 2147483647 w 329"/>
                  <a:gd name="T17" fmla="*/ 2147483647 h 321"/>
                  <a:gd name="T18" fmla="*/ 2147483647 w 329"/>
                  <a:gd name="T19" fmla="*/ 2147483647 h 321"/>
                  <a:gd name="T20" fmla="*/ 2147483647 w 329"/>
                  <a:gd name="T21" fmla="*/ 2147483647 h 321"/>
                  <a:gd name="T22" fmla="*/ 2147483647 w 329"/>
                  <a:gd name="T23" fmla="*/ 2147483647 h 321"/>
                  <a:gd name="T24" fmla="*/ 2147483647 w 329"/>
                  <a:gd name="T25" fmla="*/ 2147483647 h 321"/>
                  <a:gd name="T26" fmla="*/ 2147483647 w 329"/>
                  <a:gd name="T27" fmla="*/ 2147483647 h 321"/>
                  <a:gd name="T28" fmla="*/ 2147483647 w 329"/>
                  <a:gd name="T29" fmla="*/ 2147483647 h 321"/>
                  <a:gd name="T30" fmla="*/ 2147483647 w 329"/>
                  <a:gd name="T31" fmla="*/ 2147483647 h 321"/>
                  <a:gd name="T32" fmla="*/ 2147483647 w 329"/>
                  <a:gd name="T33" fmla="*/ 2147483647 h 321"/>
                  <a:gd name="T34" fmla="*/ 2147483647 w 329"/>
                  <a:gd name="T35" fmla="*/ 2147483647 h 321"/>
                  <a:gd name="T36" fmla="*/ 2147483647 w 329"/>
                  <a:gd name="T37" fmla="*/ 2147483647 h 321"/>
                  <a:gd name="T38" fmla="*/ 2147483647 w 329"/>
                  <a:gd name="T39" fmla="*/ 2147483647 h 321"/>
                  <a:gd name="T40" fmla="*/ 2147483647 w 329"/>
                  <a:gd name="T41" fmla="*/ 2147483647 h 321"/>
                  <a:gd name="T42" fmla="*/ 2147483647 w 329"/>
                  <a:gd name="T43" fmla="*/ 2147483647 h 321"/>
                  <a:gd name="T44" fmla="*/ 2147483647 w 329"/>
                  <a:gd name="T45" fmla="*/ 2147483647 h 321"/>
                  <a:gd name="T46" fmla="*/ 2147483647 w 329"/>
                  <a:gd name="T47" fmla="*/ 2147483647 h 321"/>
                  <a:gd name="T48" fmla="*/ 2147483647 w 329"/>
                  <a:gd name="T49" fmla="*/ 2147483647 h 321"/>
                  <a:gd name="T50" fmla="*/ 2147483647 w 329"/>
                  <a:gd name="T51" fmla="*/ 2147483647 h 321"/>
                  <a:gd name="T52" fmla="*/ 2147483647 w 329"/>
                  <a:gd name="T53" fmla="*/ 2147483647 h 321"/>
                  <a:gd name="T54" fmla="*/ 2147483647 w 329"/>
                  <a:gd name="T55" fmla="*/ 2147483647 h 321"/>
                  <a:gd name="T56" fmla="*/ 2147483647 w 329"/>
                  <a:gd name="T57" fmla="*/ 2147483647 h 321"/>
                  <a:gd name="T58" fmla="*/ 2147483647 w 329"/>
                  <a:gd name="T59" fmla="*/ 2147483647 h 321"/>
                  <a:gd name="T60" fmla="*/ 2147483647 w 329"/>
                  <a:gd name="T61" fmla="*/ 2147483647 h 321"/>
                  <a:gd name="T62" fmla="*/ 2147483647 w 329"/>
                  <a:gd name="T63" fmla="*/ 2147483647 h 321"/>
                  <a:gd name="T64" fmla="*/ 2147483647 w 329"/>
                  <a:gd name="T65" fmla="*/ 2147483647 h 321"/>
                  <a:gd name="T66" fmla="*/ 2147483647 w 329"/>
                  <a:gd name="T67" fmla="*/ 2147483647 h 321"/>
                  <a:gd name="T68" fmla="*/ 2147483647 w 329"/>
                  <a:gd name="T69" fmla="*/ 2147483647 h 321"/>
                  <a:gd name="T70" fmla="*/ 2147483647 w 329"/>
                  <a:gd name="T71" fmla="*/ 2147483647 h 321"/>
                  <a:gd name="T72" fmla="*/ 2147483647 w 329"/>
                  <a:gd name="T73" fmla="*/ 2147483647 h 321"/>
                  <a:gd name="T74" fmla="*/ 2147483647 w 329"/>
                  <a:gd name="T75" fmla="*/ 2147483647 h 321"/>
                  <a:gd name="T76" fmla="*/ 2147483647 w 329"/>
                  <a:gd name="T77" fmla="*/ 2147483647 h 321"/>
                  <a:gd name="T78" fmla="*/ 2147483647 w 329"/>
                  <a:gd name="T79" fmla="*/ 2147483647 h 321"/>
                  <a:gd name="T80" fmla="*/ 2147483647 w 329"/>
                  <a:gd name="T81" fmla="*/ 2147483647 h 321"/>
                  <a:gd name="T82" fmla="*/ 2147483647 w 329"/>
                  <a:gd name="T83" fmla="*/ 2147483647 h 321"/>
                  <a:gd name="T84" fmla="*/ 2147483647 w 329"/>
                  <a:gd name="T85" fmla="*/ 2147483647 h 321"/>
                  <a:gd name="T86" fmla="*/ 2147483647 w 329"/>
                  <a:gd name="T87" fmla="*/ 2147483647 h 321"/>
                  <a:gd name="T88" fmla="*/ 2147483647 w 329"/>
                  <a:gd name="T89" fmla="*/ 2147483647 h 321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329"/>
                  <a:gd name="T136" fmla="*/ 0 h 321"/>
                  <a:gd name="T137" fmla="*/ 329 w 329"/>
                  <a:gd name="T138" fmla="*/ 321 h 321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329" h="321">
                    <a:moveTo>
                      <a:pt x="310" y="79"/>
                    </a:moveTo>
                    <a:cubicBezTo>
                      <a:pt x="311" y="78"/>
                      <a:pt x="311" y="76"/>
                      <a:pt x="312" y="75"/>
                    </a:cubicBezTo>
                    <a:cubicBezTo>
                      <a:pt x="313" y="74"/>
                      <a:pt x="314" y="74"/>
                      <a:pt x="315" y="73"/>
                    </a:cubicBezTo>
                    <a:cubicBezTo>
                      <a:pt x="318" y="69"/>
                      <a:pt x="318" y="62"/>
                      <a:pt x="321" y="57"/>
                    </a:cubicBezTo>
                    <a:cubicBezTo>
                      <a:pt x="317" y="41"/>
                      <a:pt x="321" y="36"/>
                      <a:pt x="329" y="24"/>
                    </a:cubicBezTo>
                    <a:cubicBezTo>
                      <a:pt x="326" y="15"/>
                      <a:pt x="310" y="8"/>
                      <a:pt x="305" y="5"/>
                    </a:cubicBezTo>
                    <a:cubicBezTo>
                      <a:pt x="301" y="0"/>
                      <a:pt x="299" y="0"/>
                      <a:pt x="297" y="6"/>
                    </a:cubicBezTo>
                    <a:cubicBezTo>
                      <a:pt x="299" y="13"/>
                      <a:pt x="302" y="19"/>
                      <a:pt x="304" y="26"/>
                    </a:cubicBezTo>
                    <a:cubicBezTo>
                      <a:pt x="302" y="37"/>
                      <a:pt x="297" y="36"/>
                      <a:pt x="287" y="37"/>
                    </a:cubicBezTo>
                    <a:cubicBezTo>
                      <a:pt x="273" y="48"/>
                      <a:pt x="271" y="48"/>
                      <a:pt x="250" y="49"/>
                    </a:cubicBezTo>
                    <a:cubicBezTo>
                      <a:pt x="243" y="49"/>
                      <a:pt x="235" y="50"/>
                      <a:pt x="228" y="47"/>
                    </a:cubicBezTo>
                    <a:cubicBezTo>
                      <a:pt x="224" y="45"/>
                      <a:pt x="216" y="42"/>
                      <a:pt x="216" y="42"/>
                    </a:cubicBezTo>
                    <a:cubicBezTo>
                      <a:pt x="213" y="39"/>
                      <a:pt x="203" y="37"/>
                      <a:pt x="203" y="37"/>
                    </a:cubicBezTo>
                    <a:cubicBezTo>
                      <a:pt x="197" y="38"/>
                      <a:pt x="192" y="43"/>
                      <a:pt x="187" y="47"/>
                    </a:cubicBezTo>
                    <a:cubicBezTo>
                      <a:pt x="185" y="49"/>
                      <a:pt x="181" y="53"/>
                      <a:pt x="181" y="53"/>
                    </a:cubicBezTo>
                    <a:cubicBezTo>
                      <a:pt x="180" y="55"/>
                      <a:pt x="180" y="58"/>
                      <a:pt x="178" y="59"/>
                    </a:cubicBezTo>
                    <a:cubicBezTo>
                      <a:pt x="176" y="60"/>
                      <a:pt x="172" y="61"/>
                      <a:pt x="172" y="61"/>
                    </a:cubicBezTo>
                    <a:cubicBezTo>
                      <a:pt x="155" y="60"/>
                      <a:pt x="147" y="62"/>
                      <a:pt x="132" y="67"/>
                    </a:cubicBezTo>
                    <a:cubicBezTo>
                      <a:pt x="126" y="92"/>
                      <a:pt x="119" y="89"/>
                      <a:pt x="90" y="90"/>
                    </a:cubicBezTo>
                    <a:cubicBezTo>
                      <a:pt x="82" y="97"/>
                      <a:pt x="79" y="99"/>
                      <a:pt x="75" y="103"/>
                    </a:cubicBezTo>
                    <a:cubicBezTo>
                      <a:pt x="71" y="108"/>
                      <a:pt x="71" y="110"/>
                      <a:pt x="64" y="113"/>
                    </a:cubicBezTo>
                    <a:cubicBezTo>
                      <a:pt x="51" y="119"/>
                      <a:pt x="36" y="121"/>
                      <a:pt x="22" y="126"/>
                    </a:cubicBezTo>
                    <a:cubicBezTo>
                      <a:pt x="31" y="128"/>
                      <a:pt x="27" y="133"/>
                      <a:pt x="31" y="140"/>
                    </a:cubicBezTo>
                    <a:cubicBezTo>
                      <a:pt x="33" y="143"/>
                      <a:pt x="35" y="149"/>
                      <a:pt x="35" y="149"/>
                    </a:cubicBezTo>
                    <a:cubicBezTo>
                      <a:pt x="33" y="155"/>
                      <a:pt x="36" y="150"/>
                      <a:pt x="27" y="153"/>
                    </a:cubicBezTo>
                    <a:cubicBezTo>
                      <a:pt x="24" y="154"/>
                      <a:pt x="19" y="157"/>
                      <a:pt x="19" y="157"/>
                    </a:cubicBezTo>
                    <a:cubicBezTo>
                      <a:pt x="22" y="163"/>
                      <a:pt x="22" y="179"/>
                      <a:pt x="16" y="183"/>
                    </a:cubicBezTo>
                    <a:cubicBezTo>
                      <a:pt x="12" y="185"/>
                      <a:pt x="4" y="188"/>
                      <a:pt x="4" y="188"/>
                    </a:cubicBezTo>
                    <a:cubicBezTo>
                      <a:pt x="2" y="193"/>
                      <a:pt x="0" y="193"/>
                      <a:pt x="3" y="198"/>
                    </a:cubicBezTo>
                    <a:cubicBezTo>
                      <a:pt x="2" y="205"/>
                      <a:pt x="6" y="224"/>
                      <a:pt x="4" y="233"/>
                    </a:cubicBezTo>
                    <a:cubicBezTo>
                      <a:pt x="5" y="238"/>
                      <a:pt x="15" y="240"/>
                      <a:pt x="15" y="240"/>
                    </a:cubicBezTo>
                    <a:cubicBezTo>
                      <a:pt x="17" y="241"/>
                      <a:pt x="17" y="244"/>
                      <a:pt x="19" y="245"/>
                    </a:cubicBezTo>
                    <a:cubicBezTo>
                      <a:pt x="22" y="246"/>
                      <a:pt x="31" y="248"/>
                      <a:pt x="34" y="249"/>
                    </a:cubicBezTo>
                    <a:cubicBezTo>
                      <a:pt x="37" y="251"/>
                      <a:pt x="40" y="252"/>
                      <a:pt x="43" y="254"/>
                    </a:cubicBezTo>
                    <a:cubicBezTo>
                      <a:pt x="47" y="260"/>
                      <a:pt x="51" y="260"/>
                      <a:pt x="57" y="261"/>
                    </a:cubicBezTo>
                    <a:cubicBezTo>
                      <a:pt x="49" y="263"/>
                      <a:pt x="46" y="262"/>
                      <a:pt x="43" y="269"/>
                    </a:cubicBezTo>
                    <a:cubicBezTo>
                      <a:pt x="44" y="273"/>
                      <a:pt x="44" y="283"/>
                      <a:pt x="47" y="287"/>
                    </a:cubicBezTo>
                    <a:cubicBezTo>
                      <a:pt x="52" y="293"/>
                      <a:pt x="60" y="296"/>
                      <a:pt x="66" y="302"/>
                    </a:cubicBezTo>
                    <a:cubicBezTo>
                      <a:pt x="67" y="306"/>
                      <a:pt x="69" y="306"/>
                      <a:pt x="73" y="305"/>
                    </a:cubicBezTo>
                    <a:cubicBezTo>
                      <a:pt x="80" y="298"/>
                      <a:pt x="79" y="298"/>
                      <a:pt x="90" y="302"/>
                    </a:cubicBezTo>
                    <a:cubicBezTo>
                      <a:pt x="98" y="301"/>
                      <a:pt x="100" y="297"/>
                      <a:pt x="108" y="294"/>
                    </a:cubicBezTo>
                    <a:cubicBezTo>
                      <a:pt x="124" y="296"/>
                      <a:pt x="138" y="296"/>
                      <a:pt x="154" y="295"/>
                    </a:cubicBezTo>
                    <a:cubicBezTo>
                      <a:pt x="160" y="294"/>
                      <a:pt x="168" y="293"/>
                      <a:pt x="174" y="295"/>
                    </a:cubicBezTo>
                    <a:cubicBezTo>
                      <a:pt x="176" y="296"/>
                      <a:pt x="176" y="300"/>
                      <a:pt x="178" y="301"/>
                    </a:cubicBezTo>
                    <a:cubicBezTo>
                      <a:pt x="187" y="299"/>
                      <a:pt x="185" y="303"/>
                      <a:pt x="183" y="311"/>
                    </a:cubicBezTo>
                    <a:cubicBezTo>
                      <a:pt x="185" y="321"/>
                      <a:pt x="193" y="310"/>
                      <a:pt x="198" y="308"/>
                    </a:cubicBezTo>
                    <a:cubicBezTo>
                      <a:pt x="212" y="309"/>
                      <a:pt x="211" y="311"/>
                      <a:pt x="221" y="315"/>
                    </a:cubicBezTo>
                    <a:cubicBezTo>
                      <a:pt x="224" y="316"/>
                      <a:pt x="231" y="319"/>
                      <a:pt x="231" y="319"/>
                    </a:cubicBezTo>
                    <a:cubicBezTo>
                      <a:pt x="234" y="319"/>
                      <a:pt x="238" y="320"/>
                      <a:pt x="241" y="318"/>
                    </a:cubicBezTo>
                    <a:cubicBezTo>
                      <a:pt x="243" y="317"/>
                      <a:pt x="239" y="312"/>
                      <a:pt x="239" y="312"/>
                    </a:cubicBezTo>
                    <a:cubicBezTo>
                      <a:pt x="238" y="298"/>
                      <a:pt x="235" y="297"/>
                      <a:pt x="226" y="288"/>
                    </a:cubicBezTo>
                    <a:cubicBezTo>
                      <a:pt x="225" y="285"/>
                      <a:pt x="220" y="278"/>
                      <a:pt x="216" y="277"/>
                    </a:cubicBezTo>
                    <a:cubicBezTo>
                      <a:pt x="212" y="269"/>
                      <a:pt x="205" y="271"/>
                      <a:pt x="197" y="270"/>
                    </a:cubicBezTo>
                    <a:cubicBezTo>
                      <a:pt x="180" y="257"/>
                      <a:pt x="154" y="259"/>
                      <a:pt x="135" y="253"/>
                    </a:cubicBezTo>
                    <a:cubicBezTo>
                      <a:pt x="139" y="245"/>
                      <a:pt x="150" y="248"/>
                      <a:pt x="159" y="247"/>
                    </a:cubicBezTo>
                    <a:cubicBezTo>
                      <a:pt x="162" y="242"/>
                      <a:pt x="161" y="237"/>
                      <a:pt x="156" y="234"/>
                    </a:cubicBezTo>
                    <a:cubicBezTo>
                      <a:pt x="154" y="231"/>
                      <a:pt x="153" y="228"/>
                      <a:pt x="151" y="225"/>
                    </a:cubicBezTo>
                    <a:cubicBezTo>
                      <a:pt x="156" y="217"/>
                      <a:pt x="171" y="223"/>
                      <a:pt x="180" y="222"/>
                    </a:cubicBezTo>
                    <a:cubicBezTo>
                      <a:pt x="179" y="218"/>
                      <a:pt x="178" y="216"/>
                      <a:pt x="174" y="215"/>
                    </a:cubicBezTo>
                    <a:cubicBezTo>
                      <a:pt x="172" y="208"/>
                      <a:pt x="164" y="199"/>
                      <a:pt x="157" y="197"/>
                    </a:cubicBezTo>
                    <a:cubicBezTo>
                      <a:pt x="156" y="193"/>
                      <a:pt x="154" y="193"/>
                      <a:pt x="150" y="191"/>
                    </a:cubicBezTo>
                    <a:cubicBezTo>
                      <a:pt x="148" y="185"/>
                      <a:pt x="149" y="183"/>
                      <a:pt x="144" y="180"/>
                    </a:cubicBezTo>
                    <a:cubicBezTo>
                      <a:pt x="142" y="177"/>
                      <a:pt x="136" y="175"/>
                      <a:pt x="136" y="175"/>
                    </a:cubicBezTo>
                    <a:cubicBezTo>
                      <a:pt x="133" y="171"/>
                      <a:pt x="131" y="166"/>
                      <a:pt x="127" y="162"/>
                    </a:cubicBezTo>
                    <a:cubicBezTo>
                      <a:pt x="125" y="157"/>
                      <a:pt x="124" y="152"/>
                      <a:pt x="121" y="147"/>
                    </a:cubicBezTo>
                    <a:cubicBezTo>
                      <a:pt x="122" y="136"/>
                      <a:pt x="120" y="128"/>
                      <a:pt x="130" y="125"/>
                    </a:cubicBezTo>
                    <a:cubicBezTo>
                      <a:pt x="132" y="122"/>
                      <a:pt x="138" y="120"/>
                      <a:pt x="138" y="120"/>
                    </a:cubicBezTo>
                    <a:cubicBezTo>
                      <a:pt x="150" y="122"/>
                      <a:pt x="152" y="127"/>
                      <a:pt x="147" y="135"/>
                    </a:cubicBezTo>
                    <a:cubicBezTo>
                      <a:pt x="150" y="145"/>
                      <a:pt x="161" y="139"/>
                      <a:pt x="169" y="144"/>
                    </a:cubicBezTo>
                    <a:cubicBezTo>
                      <a:pt x="170" y="150"/>
                      <a:pt x="170" y="166"/>
                      <a:pt x="177" y="168"/>
                    </a:cubicBezTo>
                    <a:cubicBezTo>
                      <a:pt x="186" y="167"/>
                      <a:pt x="197" y="168"/>
                      <a:pt x="187" y="162"/>
                    </a:cubicBezTo>
                    <a:cubicBezTo>
                      <a:pt x="185" y="156"/>
                      <a:pt x="181" y="149"/>
                      <a:pt x="177" y="144"/>
                    </a:cubicBezTo>
                    <a:cubicBezTo>
                      <a:pt x="174" y="141"/>
                      <a:pt x="166" y="133"/>
                      <a:pt x="169" y="135"/>
                    </a:cubicBezTo>
                    <a:cubicBezTo>
                      <a:pt x="170" y="136"/>
                      <a:pt x="171" y="136"/>
                      <a:pt x="172" y="137"/>
                    </a:cubicBezTo>
                    <a:cubicBezTo>
                      <a:pt x="178" y="147"/>
                      <a:pt x="194" y="153"/>
                      <a:pt x="205" y="156"/>
                    </a:cubicBezTo>
                    <a:cubicBezTo>
                      <a:pt x="215" y="153"/>
                      <a:pt x="207" y="147"/>
                      <a:pt x="199" y="144"/>
                    </a:cubicBezTo>
                    <a:cubicBezTo>
                      <a:pt x="197" y="138"/>
                      <a:pt x="195" y="138"/>
                      <a:pt x="190" y="135"/>
                    </a:cubicBezTo>
                    <a:cubicBezTo>
                      <a:pt x="195" y="131"/>
                      <a:pt x="201" y="134"/>
                      <a:pt x="207" y="135"/>
                    </a:cubicBezTo>
                    <a:cubicBezTo>
                      <a:pt x="210" y="140"/>
                      <a:pt x="217" y="140"/>
                      <a:pt x="222" y="143"/>
                    </a:cubicBezTo>
                    <a:cubicBezTo>
                      <a:pt x="224" y="142"/>
                      <a:pt x="227" y="142"/>
                      <a:pt x="228" y="141"/>
                    </a:cubicBezTo>
                    <a:cubicBezTo>
                      <a:pt x="230" y="139"/>
                      <a:pt x="225" y="136"/>
                      <a:pt x="223" y="135"/>
                    </a:cubicBezTo>
                    <a:cubicBezTo>
                      <a:pt x="215" y="131"/>
                      <a:pt x="207" y="124"/>
                      <a:pt x="199" y="121"/>
                    </a:cubicBezTo>
                    <a:cubicBezTo>
                      <a:pt x="197" y="117"/>
                      <a:pt x="196" y="114"/>
                      <a:pt x="192" y="113"/>
                    </a:cubicBezTo>
                    <a:cubicBezTo>
                      <a:pt x="191" y="109"/>
                      <a:pt x="187" y="109"/>
                      <a:pt x="186" y="105"/>
                    </a:cubicBezTo>
                    <a:cubicBezTo>
                      <a:pt x="188" y="96"/>
                      <a:pt x="197" y="98"/>
                      <a:pt x="205" y="97"/>
                    </a:cubicBezTo>
                    <a:cubicBezTo>
                      <a:pt x="211" y="95"/>
                      <a:pt x="212" y="90"/>
                      <a:pt x="217" y="87"/>
                    </a:cubicBezTo>
                    <a:cubicBezTo>
                      <a:pt x="222" y="84"/>
                      <a:pt x="232" y="83"/>
                      <a:pt x="237" y="83"/>
                    </a:cubicBezTo>
                    <a:cubicBezTo>
                      <a:pt x="243" y="79"/>
                      <a:pt x="250" y="78"/>
                      <a:pt x="257" y="77"/>
                    </a:cubicBezTo>
                    <a:cubicBezTo>
                      <a:pt x="262" y="74"/>
                      <a:pt x="268" y="73"/>
                      <a:pt x="274" y="72"/>
                    </a:cubicBezTo>
                    <a:cubicBezTo>
                      <a:pt x="282" y="73"/>
                      <a:pt x="297" y="75"/>
                      <a:pt x="297" y="75"/>
                    </a:cubicBezTo>
                    <a:cubicBezTo>
                      <a:pt x="301" y="78"/>
                      <a:pt x="305" y="79"/>
                      <a:pt x="310" y="79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</p:grpSp>
        <p:sp>
          <p:nvSpPr>
            <p:cNvPr id="262" name="Freeform 36"/>
            <p:cNvSpPr>
              <a:spLocks noChangeAspect="1"/>
            </p:cNvSpPr>
            <p:nvPr/>
          </p:nvSpPr>
          <p:spPr bwMode="auto">
            <a:xfrm>
              <a:off x="2879" y="2969"/>
              <a:ext cx="273" cy="143"/>
            </a:xfrm>
            <a:custGeom>
              <a:avLst/>
              <a:gdLst>
                <a:gd name="T0" fmla="*/ 495 w 270"/>
                <a:gd name="T1" fmla="*/ 67 h 142"/>
                <a:gd name="T2" fmla="*/ 519 w 270"/>
                <a:gd name="T3" fmla="*/ 26 h 142"/>
                <a:gd name="T4" fmla="*/ 526 w 270"/>
                <a:gd name="T5" fmla="*/ 16 h 142"/>
                <a:gd name="T6" fmla="*/ 423 w 270"/>
                <a:gd name="T7" fmla="*/ 0 h 142"/>
                <a:gd name="T8" fmla="*/ 359 w 270"/>
                <a:gd name="T9" fmla="*/ 9 h 142"/>
                <a:gd name="T10" fmla="*/ 329 w 270"/>
                <a:gd name="T11" fmla="*/ 9 h 142"/>
                <a:gd name="T12" fmla="*/ 291 w 270"/>
                <a:gd name="T13" fmla="*/ 18 h 142"/>
                <a:gd name="T14" fmla="*/ 274 w 270"/>
                <a:gd name="T15" fmla="*/ 25 h 142"/>
                <a:gd name="T16" fmla="*/ 246 w 270"/>
                <a:gd name="T17" fmla="*/ 18 h 142"/>
                <a:gd name="T18" fmla="*/ 213 w 270"/>
                <a:gd name="T19" fmla="*/ 7 h 142"/>
                <a:gd name="T20" fmla="*/ 203 w 270"/>
                <a:gd name="T21" fmla="*/ 2 h 142"/>
                <a:gd name="T22" fmla="*/ 189 w 270"/>
                <a:gd name="T23" fmla="*/ 14 h 142"/>
                <a:gd name="T24" fmla="*/ 159 w 270"/>
                <a:gd name="T25" fmla="*/ 8 h 142"/>
                <a:gd name="T26" fmla="*/ 131 w 270"/>
                <a:gd name="T27" fmla="*/ 13 h 142"/>
                <a:gd name="T28" fmla="*/ 124 w 270"/>
                <a:gd name="T29" fmla="*/ 22 h 142"/>
                <a:gd name="T30" fmla="*/ 115 w 270"/>
                <a:gd name="T31" fmla="*/ 36 h 142"/>
                <a:gd name="T32" fmla="*/ 108 w 270"/>
                <a:gd name="T33" fmla="*/ 46 h 142"/>
                <a:gd name="T34" fmla="*/ 41 w 270"/>
                <a:gd name="T35" fmla="*/ 57 h 142"/>
                <a:gd name="T36" fmla="*/ 6 w 270"/>
                <a:gd name="T37" fmla="*/ 69 h 142"/>
                <a:gd name="T38" fmla="*/ 0 w 270"/>
                <a:gd name="T39" fmla="*/ 153 h 142"/>
                <a:gd name="T40" fmla="*/ 6 w 270"/>
                <a:gd name="T41" fmla="*/ 164 h 142"/>
                <a:gd name="T42" fmla="*/ 10 w 270"/>
                <a:gd name="T43" fmla="*/ 185 h 142"/>
                <a:gd name="T44" fmla="*/ 23 w 270"/>
                <a:gd name="T45" fmla="*/ 189 h 142"/>
                <a:gd name="T46" fmla="*/ 26 w 270"/>
                <a:gd name="T47" fmla="*/ 190 h 142"/>
                <a:gd name="T48" fmla="*/ 35 w 270"/>
                <a:gd name="T49" fmla="*/ 196 h 142"/>
                <a:gd name="T50" fmla="*/ 41 w 270"/>
                <a:gd name="T51" fmla="*/ 203 h 142"/>
                <a:gd name="T52" fmla="*/ 171 w 270"/>
                <a:gd name="T53" fmla="*/ 200 h 142"/>
                <a:gd name="T54" fmla="*/ 189 w 270"/>
                <a:gd name="T55" fmla="*/ 191 h 142"/>
                <a:gd name="T56" fmla="*/ 240 w 270"/>
                <a:gd name="T57" fmla="*/ 169 h 142"/>
                <a:gd name="T58" fmla="*/ 270 w 270"/>
                <a:gd name="T59" fmla="*/ 161 h 142"/>
                <a:gd name="T60" fmla="*/ 277 w 270"/>
                <a:gd name="T61" fmla="*/ 157 h 142"/>
                <a:gd name="T62" fmla="*/ 291 w 270"/>
                <a:gd name="T63" fmla="*/ 160 h 142"/>
                <a:gd name="T64" fmla="*/ 316 w 270"/>
                <a:gd name="T65" fmla="*/ 157 h 142"/>
                <a:gd name="T66" fmla="*/ 360 w 270"/>
                <a:gd name="T67" fmla="*/ 66 h 142"/>
                <a:gd name="T68" fmla="*/ 413 w 270"/>
                <a:gd name="T69" fmla="*/ 66 h 142"/>
                <a:gd name="T70" fmla="*/ 451 w 270"/>
                <a:gd name="T71" fmla="*/ 67 h 142"/>
                <a:gd name="T72" fmla="*/ 466 w 270"/>
                <a:gd name="T73" fmla="*/ 133 h 142"/>
                <a:gd name="T74" fmla="*/ 495 w 270"/>
                <a:gd name="T75" fmla="*/ 67 h 142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70"/>
                <a:gd name="T115" fmla="*/ 0 h 142"/>
                <a:gd name="T116" fmla="*/ 270 w 270"/>
                <a:gd name="T117" fmla="*/ 142 h 142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70" h="142">
                  <a:moveTo>
                    <a:pt x="254" y="67"/>
                  </a:moveTo>
                  <a:cubicBezTo>
                    <a:pt x="257" y="58"/>
                    <a:pt x="256" y="33"/>
                    <a:pt x="266" y="26"/>
                  </a:cubicBezTo>
                  <a:cubicBezTo>
                    <a:pt x="267" y="22"/>
                    <a:pt x="269" y="20"/>
                    <a:pt x="270" y="16"/>
                  </a:cubicBezTo>
                  <a:cubicBezTo>
                    <a:pt x="251" y="13"/>
                    <a:pt x="234" y="4"/>
                    <a:pt x="216" y="0"/>
                  </a:cubicBezTo>
                  <a:cubicBezTo>
                    <a:pt x="202" y="1"/>
                    <a:pt x="197" y="5"/>
                    <a:pt x="185" y="9"/>
                  </a:cubicBezTo>
                  <a:cubicBezTo>
                    <a:pt x="182" y="17"/>
                    <a:pt x="176" y="11"/>
                    <a:pt x="171" y="9"/>
                  </a:cubicBezTo>
                  <a:cubicBezTo>
                    <a:pt x="158" y="10"/>
                    <a:pt x="154" y="9"/>
                    <a:pt x="147" y="18"/>
                  </a:cubicBezTo>
                  <a:cubicBezTo>
                    <a:pt x="146" y="27"/>
                    <a:pt x="145" y="26"/>
                    <a:pt x="136" y="25"/>
                  </a:cubicBezTo>
                  <a:cubicBezTo>
                    <a:pt x="133" y="23"/>
                    <a:pt x="126" y="18"/>
                    <a:pt x="126" y="18"/>
                  </a:cubicBezTo>
                  <a:cubicBezTo>
                    <a:pt x="124" y="12"/>
                    <a:pt x="117" y="11"/>
                    <a:pt x="113" y="7"/>
                  </a:cubicBezTo>
                  <a:cubicBezTo>
                    <a:pt x="112" y="5"/>
                    <a:pt x="112" y="1"/>
                    <a:pt x="108" y="2"/>
                  </a:cubicBezTo>
                  <a:cubicBezTo>
                    <a:pt x="108" y="2"/>
                    <a:pt x="104" y="12"/>
                    <a:pt x="101" y="14"/>
                  </a:cubicBezTo>
                  <a:cubicBezTo>
                    <a:pt x="96" y="23"/>
                    <a:pt x="91" y="11"/>
                    <a:pt x="86" y="8"/>
                  </a:cubicBezTo>
                  <a:cubicBezTo>
                    <a:pt x="80" y="9"/>
                    <a:pt x="76" y="12"/>
                    <a:pt x="70" y="13"/>
                  </a:cubicBezTo>
                  <a:cubicBezTo>
                    <a:pt x="69" y="17"/>
                    <a:pt x="63" y="22"/>
                    <a:pt x="63" y="22"/>
                  </a:cubicBezTo>
                  <a:cubicBezTo>
                    <a:pt x="62" y="28"/>
                    <a:pt x="58" y="32"/>
                    <a:pt x="54" y="36"/>
                  </a:cubicBezTo>
                  <a:cubicBezTo>
                    <a:pt x="52" y="41"/>
                    <a:pt x="52" y="44"/>
                    <a:pt x="47" y="46"/>
                  </a:cubicBezTo>
                  <a:cubicBezTo>
                    <a:pt x="45" y="52"/>
                    <a:pt x="46" y="54"/>
                    <a:pt x="41" y="57"/>
                  </a:cubicBezTo>
                  <a:cubicBezTo>
                    <a:pt x="32" y="70"/>
                    <a:pt x="22" y="68"/>
                    <a:pt x="6" y="69"/>
                  </a:cubicBezTo>
                  <a:cubicBezTo>
                    <a:pt x="1" y="76"/>
                    <a:pt x="3" y="84"/>
                    <a:pt x="0" y="92"/>
                  </a:cubicBezTo>
                  <a:cubicBezTo>
                    <a:pt x="2" y="98"/>
                    <a:pt x="4" y="98"/>
                    <a:pt x="6" y="103"/>
                  </a:cubicBezTo>
                  <a:cubicBezTo>
                    <a:pt x="4" y="109"/>
                    <a:pt x="3" y="120"/>
                    <a:pt x="10" y="124"/>
                  </a:cubicBezTo>
                  <a:cubicBezTo>
                    <a:pt x="14" y="126"/>
                    <a:pt x="19" y="127"/>
                    <a:pt x="23" y="128"/>
                  </a:cubicBezTo>
                  <a:cubicBezTo>
                    <a:pt x="24" y="128"/>
                    <a:pt x="26" y="129"/>
                    <a:pt x="26" y="129"/>
                  </a:cubicBezTo>
                  <a:cubicBezTo>
                    <a:pt x="29" y="132"/>
                    <a:pt x="32" y="133"/>
                    <a:pt x="35" y="135"/>
                  </a:cubicBezTo>
                  <a:cubicBezTo>
                    <a:pt x="36" y="139"/>
                    <a:pt x="39" y="138"/>
                    <a:pt x="41" y="142"/>
                  </a:cubicBezTo>
                  <a:cubicBezTo>
                    <a:pt x="58" y="141"/>
                    <a:pt x="75" y="140"/>
                    <a:pt x="92" y="139"/>
                  </a:cubicBezTo>
                  <a:cubicBezTo>
                    <a:pt x="97" y="137"/>
                    <a:pt x="99" y="135"/>
                    <a:pt x="101" y="130"/>
                  </a:cubicBezTo>
                  <a:cubicBezTo>
                    <a:pt x="99" y="106"/>
                    <a:pt x="99" y="109"/>
                    <a:pt x="124" y="108"/>
                  </a:cubicBezTo>
                  <a:cubicBezTo>
                    <a:pt x="129" y="106"/>
                    <a:pt x="131" y="104"/>
                    <a:pt x="134" y="100"/>
                  </a:cubicBezTo>
                  <a:cubicBezTo>
                    <a:pt x="135" y="98"/>
                    <a:pt x="135" y="96"/>
                    <a:pt x="138" y="96"/>
                  </a:cubicBezTo>
                  <a:cubicBezTo>
                    <a:pt x="141" y="96"/>
                    <a:pt x="147" y="99"/>
                    <a:pt x="147" y="99"/>
                  </a:cubicBezTo>
                  <a:cubicBezTo>
                    <a:pt x="153" y="98"/>
                    <a:pt x="164" y="96"/>
                    <a:pt x="164" y="96"/>
                  </a:cubicBezTo>
                  <a:cubicBezTo>
                    <a:pt x="169" y="82"/>
                    <a:pt x="169" y="70"/>
                    <a:pt x="186" y="66"/>
                  </a:cubicBezTo>
                  <a:cubicBezTo>
                    <a:pt x="195" y="67"/>
                    <a:pt x="203" y="69"/>
                    <a:pt x="212" y="66"/>
                  </a:cubicBezTo>
                  <a:cubicBezTo>
                    <a:pt x="217" y="66"/>
                    <a:pt x="223" y="66"/>
                    <a:pt x="228" y="67"/>
                  </a:cubicBezTo>
                  <a:cubicBezTo>
                    <a:pt x="231" y="67"/>
                    <a:pt x="237" y="72"/>
                    <a:pt x="237" y="72"/>
                  </a:cubicBezTo>
                  <a:cubicBezTo>
                    <a:pt x="238" y="72"/>
                    <a:pt x="254" y="72"/>
                    <a:pt x="254" y="67"/>
                  </a:cubicBez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  <p:grpSp>
          <p:nvGrpSpPr>
            <p:cNvPr id="263" name="Group 37"/>
            <p:cNvGrpSpPr>
              <a:grpSpLocks noChangeAspect="1"/>
            </p:cNvGrpSpPr>
            <p:nvPr/>
          </p:nvGrpSpPr>
          <p:grpSpPr bwMode="auto">
            <a:xfrm>
              <a:off x="2726" y="3208"/>
              <a:ext cx="304" cy="292"/>
              <a:chOff x="2859" y="3044"/>
              <a:chExt cx="302" cy="289"/>
            </a:xfrm>
            <a:grpFill/>
          </p:grpSpPr>
          <p:sp>
            <p:nvSpPr>
              <p:cNvPr id="345" name="Freeform 38"/>
              <p:cNvSpPr>
                <a:spLocks noChangeAspect="1"/>
              </p:cNvSpPr>
              <p:nvPr/>
            </p:nvSpPr>
            <p:spPr bwMode="auto">
              <a:xfrm>
                <a:off x="2901" y="3158"/>
                <a:ext cx="24" cy="49"/>
              </a:xfrm>
              <a:custGeom>
                <a:avLst/>
                <a:gdLst>
                  <a:gd name="T0" fmla="*/ 0 w 24"/>
                  <a:gd name="T1" fmla="*/ 0 h 49"/>
                  <a:gd name="T2" fmla="*/ 16 w 24"/>
                  <a:gd name="T3" fmla="*/ 43 h 49"/>
                  <a:gd name="T4" fmla="*/ 22 w 24"/>
                  <a:gd name="T5" fmla="*/ 43 h 49"/>
                  <a:gd name="T6" fmla="*/ 14 w 24"/>
                  <a:gd name="T7" fmla="*/ 10 h 49"/>
                  <a:gd name="T8" fmla="*/ 0 w 24"/>
                  <a:gd name="T9" fmla="*/ 0 h 4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4"/>
                  <a:gd name="T16" fmla="*/ 0 h 49"/>
                  <a:gd name="T17" fmla="*/ 24 w 24"/>
                  <a:gd name="T18" fmla="*/ 49 h 4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4" h="49">
                    <a:moveTo>
                      <a:pt x="0" y="0"/>
                    </a:moveTo>
                    <a:cubicBezTo>
                      <a:pt x="2" y="12"/>
                      <a:pt x="7" y="34"/>
                      <a:pt x="16" y="43"/>
                    </a:cubicBezTo>
                    <a:cubicBezTo>
                      <a:pt x="18" y="49"/>
                      <a:pt x="19" y="49"/>
                      <a:pt x="22" y="43"/>
                    </a:cubicBezTo>
                    <a:cubicBezTo>
                      <a:pt x="21" y="34"/>
                      <a:pt x="24" y="17"/>
                      <a:pt x="14" y="10"/>
                    </a:cubicBezTo>
                    <a:cubicBezTo>
                      <a:pt x="11" y="5"/>
                      <a:pt x="6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46" name="Freeform 39"/>
              <p:cNvSpPr>
                <a:spLocks noChangeAspect="1"/>
              </p:cNvSpPr>
              <p:nvPr/>
            </p:nvSpPr>
            <p:spPr bwMode="auto">
              <a:xfrm>
                <a:off x="2933" y="3220"/>
                <a:ext cx="39" cy="37"/>
              </a:xfrm>
              <a:custGeom>
                <a:avLst/>
                <a:gdLst>
                  <a:gd name="T0" fmla="*/ 0 w 39"/>
                  <a:gd name="T1" fmla="*/ 0 h 37"/>
                  <a:gd name="T2" fmla="*/ 20 w 39"/>
                  <a:gd name="T3" fmla="*/ 11 h 37"/>
                  <a:gd name="T4" fmla="*/ 26 w 39"/>
                  <a:gd name="T5" fmla="*/ 15 h 37"/>
                  <a:gd name="T6" fmla="*/ 36 w 39"/>
                  <a:gd name="T7" fmla="*/ 33 h 37"/>
                  <a:gd name="T8" fmla="*/ 38 w 39"/>
                  <a:gd name="T9" fmla="*/ 36 h 37"/>
                  <a:gd name="T10" fmla="*/ 34 w 39"/>
                  <a:gd name="T11" fmla="*/ 35 h 37"/>
                  <a:gd name="T12" fmla="*/ 0 w 39"/>
                  <a:gd name="T13" fmla="*/ 0 h 3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9"/>
                  <a:gd name="T22" fmla="*/ 0 h 37"/>
                  <a:gd name="T23" fmla="*/ 39 w 39"/>
                  <a:gd name="T24" fmla="*/ 37 h 37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9" h="37">
                    <a:moveTo>
                      <a:pt x="0" y="0"/>
                    </a:moveTo>
                    <a:cubicBezTo>
                      <a:pt x="8" y="3"/>
                      <a:pt x="12" y="8"/>
                      <a:pt x="20" y="11"/>
                    </a:cubicBezTo>
                    <a:cubicBezTo>
                      <a:pt x="22" y="13"/>
                      <a:pt x="24" y="13"/>
                      <a:pt x="26" y="15"/>
                    </a:cubicBezTo>
                    <a:cubicBezTo>
                      <a:pt x="31" y="20"/>
                      <a:pt x="33" y="27"/>
                      <a:pt x="36" y="33"/>
                    </a:cubicBezTo>
                    <a:cubicBezTo>
                      <a:pt x="37" y="34"/>
                      <a:pt x="39" y="35"/>
                      <a:pt x="38" y="36"/>
                    </a:cubicBezTo>
                    <a:cubicBezTo>
                      <a:pt x="37" y="37"/>
                      <a:pt x="35" y="35"/>
                      <a:pt x="34" y="35"/>
                    </a:cubicBezTo>
                    <a:cubicBezTo>
                      <a:pt x="28" y="29"/>
                      <a:pt x="2" y="4"/>
                      <a:pt x="0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47" name="Freeform 40"/>
              <p:cNvSpPr>
                <a:spLocks noChangeAspect="1"/>
              </p:cNvSpPr>
              <p:nvPr/>
            </p:nvSpPr>
            <p:spPr bwMode="auto">
              <a:xfrm>
                <a:off x="2926" y="3185"/>
                <a:ext cx="31" cy="34"/>
              </a:xfrm>
              <a:custGeom>
                <a:avLst/>
                <a:gdLst>
                  <a:gd name="T0" fmla="*/ 5 w 31"/>
                  <a:gd name="T1" fmla="*/ 2 h 34"/>
                  <a:gd name="T2" fmla="*/ 27 w 31"/>
                  <a:gd name="T3" fmla="*/ 23 h 34"/>
                  <a:gd name="T4" fmla="*/ 21 w 31"/>
                  <a:gd name="T5" fmla="*/ 27 h 34"/>
                  <a:gd name="T6" fmla="*/ 10 w 31"/>
                  <a:gd name="T7" fmla="*/ 13 h 34"/>
                  <a:gd name="T8" fmla="*/ 5 w 31"/>
                  <a:gd name="T9" fmla="*/ 2 h 3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1"/>
                  <a:gd name="T16" fmla="*/ 0 h 34"/>
                  <a:gd name="T17" fmla="*/ 31 w 31"/>
                  <a:gd name="T18" fmla="*/ 34 h 3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1" h="34">
                    <a:moveTo>
                      <a:pt x="5" y="2"/>
                    </a:moveTo>
                    <a:cubicBezTo>
                      <a:pt x="13" y="8"/>
                      <a:pt x="19" y="17"/>
                      <a:pt x="27" y="23"/>
                    </a:cubicBezTo>
                    <a:cubicBezTo>
                      <a:pt x="31" y="34"/>
                      <a:pt x="31" y="33"/>
                      <a:pt x="21" y="27"/>
                    </a:cubicBezTo>
                    <a:cubicBezTo>
                      <a:pt x="18" y="21"/>
                      <a:pt x="15" y="16"/>
                      <a:pt x="10" y="13"/>
                    </a:cubicBezTo>
                    <a:cubicBezTo>
                      <a:pt x="9" y="11"/>
                      <a:pt x="0" y="0"/>
                      <a:pt x="5" y="2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48" name="Freeform 41"/>
              <p:cNvSpPr>
                <a:spLocks noChangeAspect="1"/>
              </p:cNvSpPr>
              <p:nvPr/>
            </p:nvSpPr>
            <p:spPr bwMode="auto">
              <a:xfrm>
                <a:off x="3023" y="3273"/>
                <a:ext cx="27" cy="13"/>
              </a:xfrm>
              <a:custGeom>
                <a:avLst/>
                <a:gdLst>
                  <a:gd name="T0" fmla="*/ 0 w 27"/>
                  <a:gd name="T1" fmla="*/ 0 h 13"/>
                  <a:gd name="T2" fmla="*/ 11 w 27"/>
                  <a:gd name="T3" fmla="*/ 6 h 13"/>
                  <a:gd name="T4" fmla="*/ 27 w 27"/>
                  <a:gd name="T5" fmla="*/ 4 h 13"/>
                  <a:gd name="T6" fmla="*/ 12 w 27"/>
                  <a:gd name="T7" fmla="*/ 13 h 13"/>
                  <a:gd name="T8" fmla="*/ 0 w 27"/>
                  <a:gd name="T9" fmla="*/ 0 h 1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7"/>
                  <a:gd name="T16" fmla="*/ 0 h 13"/>
                  <a:gd name="T17" fmla="*/ 27 w 27"/>
                  <a:gd name="T18" fmla="*/ 13 h 1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7" h="13">
                    <a:moveTo>
                      <a:pt x="0" y="0"/>
                    </a:moveTo>
                    <a:cubicBezTo>
                      <a:pt x="3" y="3"/>
                      <a:pt x="11" y="6"/>
                      <a:pt x="11" y="6"/>
                    </a:cubicBezTo>
                    <a:cubicBezTo>
                      <a:pt x="17" y="5"/>
                      <a:pt x="22" y="3"/>
                      <a:pt x="27" y="4"/>
                    </a:cubicBezTo>
                    <a:cubicBezTo>
                      <a:pt x="24" y="12"/>
                      <a:pt x="19" y="12"/>
                      <a:pt x="12" y="13"/>
                    </a:cubicBezTo>
                    <a:cubicBezTo>
                      <a:pt x="5" y="11"/>
                      <a:pt x="0" y="8"/>
                      <a:pt x="0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49" name="Freeform 42"/>
              <p:cNvSpPr>
                <a:spLocks noChangeAspect="1"/>
              </p:cNvSpPr>
              <p:nvPr/>
            </p:nvSpPr>
            <p:spPr bwMode="auto">
              <a:xfrm>
                <a:off x="3008" y="3284"/>
                <a:ext cx="55" cy="11"/>
              </a:xfrm>
              <a:custGeom>
                <a:avLst/>
                <a:gdLst>
                  <a:gd name="T0" fmla="*/ 12 w 55"/>
                  <a:gd name="T1" fmla="*/ 4 h 11"/>
                  <a:gd name="T2" fmla="*/ 55 w 55"/>
                  <a:gd name="T3" fmla="*/ 4 h 11"/>
                  <a:gd name="T4" fmla="*/ 31 w 55"/>
                  <a:gd name="T5" fmla="*/ 8 h 11"/>
                  <a:gd name="T6" fmla="*/ 12 w 55"/>
                  <a:gd name="T7" fmla="*/ 4 h 11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55"/>
                  <a:gd name="T13" fmla="*/ 0 h 11"/>
                  <a:gd name="T14" fmla="*/ 55 w 55"/>
                  <a:gd name="T15" fmla="*/ 11 h 11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55" h="11">
                    <a:moveTo>
                      <a:pt x="12" y="4"/>
                    </a:moveTo>
                    <a:cubicBezTo>
                      <a:pt x="27" y="0"/>
                      <a:pt x="39" y="2"/>
                      <a:pt x="55" y="4"/>
                    </a:cubicBezTo>
                    <a:cubicBezTo>
                      <a:pt x="53" y="11"/>
                      <a:pt x="38" y="7"/>
                      <a:pt x="31" y="8"/>
                    </a:cubicBezTo>
                    <a:cubicBezTo>
                      <a:pt x="25" y="7"/>
                      <a:pt x="0" y="11"/>
                      <a:pt x="12" y="4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50" name="Freeform 43"/>
              <p:cNvSpPr>
                <a:spLocks noChangeAspect="1"/>
              </p:cNvSpPr>
              <p:nvPr/>
            </p:nvSpPr>
            <p:spPr bwMode="auto">
              <a:xfrm>
                <a:off x="3032" y="3300"/>
                <a:ext cx="33" cy="9"/>
              </a:xfrm>
              <a:custGeom>
                <a:avLst/>
                <a:gdLst>
                  <a:gd name="T0" fmla="*/ 5 w 33"/>
                  <a:gd name="T1" fmla="*/ 2 h 9"/>
                  <a:gd name="T2" fmla="*/ 30 w 33"/>
                  <a:gd name="T3" fmla="*/ 2 h 9"/>
                  <a:gd name="T4" fmla="*/ 19 w 33"/>
                  <a:gd name="T5" fmla="*/ 9 h 9"/>
                  <a:gd name="T6" fmla="*/ 5 w 33"/>
                  <a:gd name="T7" fmla="*/ 8 h 9"/>
                  <a:gd name="T8" fmla="*/ 5 w 33"/>
                  <a:gd name="T9" fmla="*/ 2 h 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3"/>
                  <a:gd name="T16" fmla="*/ 0 h 9"/>
                  <a:gd name="T17" fmla="*/ 33 w 33"/>
                  <a:gd name="T18" fmla="*/ 9 h 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3" h="9">
                    <a:moveTo>
                      <a:pt x="5" y="2"/>
                    </a:moveTo>
                    <a:cubicBezTo>
                      <a:pt x="6" y="2"/>
                      <a:pt x="27" y="0"/>
                      <a:pt x="30" y="2"/>
                    </a:cubicBezTo>
                    <a:cubicBezTo>
                      <a:pt x="33" y="4"/>
                      <a:pt x="19" y="9"/>
                      <a:pt x="19" y="9"/>
                    </a:cubicBezTo>
                    <a:cubicBezTo>
                      <a:pt x="14" y="9"/>
                      <a:pt x="9" y="9"/>
                      <a:pt x="5" y="8"/>
                    </a:cubicBezTo>
                    <a:cubicBezTo>
                      <a:pt x="0" y="6"/>
                      <a:pt x="5" y="0"/>
                      <a:pt x="5" y="2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51" name="Freeform 44"/>
              <p:cNvSpPr>
                <a:spLocks noChangeAspect="1"/>
              </p:cNvSpPr>
              <p:nvPr/>
            </p:nvSpPr>
            <p:spPr bwMode="auto">
              <a:xfrm>
                <a:off x="3074" y="3312"/>
                <a:ext cx="20" cy="10"/>
              </a:xfrm>
              <a:custGeom>
                <a:avLst/>
                <a:gdLst>
                  <a:gd name="T0" fmla="*/ 0 w 20"/>
                  <a:gd name="T1" fmla="*/ 2 h 10"/>
                  <a:gd name="T2" fmla="*/ 20 w 20"/>
                  <a:gd name="T3" fmla="*/ 4 h 10"/>
                  <a:gd name="T4" fmla="*/ 0 w 20"/>
                  <a:gd name="T5" fmla="*/ 2 h 10"/>
                  <a:gd name="T6" fmla="*/ 0 60000 65536"/>
                  <a:gd name="T7" fmla="*/ 0 60000 65536"/>
                  <a:gd name="T8" fmla="*/ 0 60000 65536"/>
                  <a:gd name="T9" fmla="*/ 0 w 20"/>
                  <a:gd name="T10" fmla="*/ 0 h 10"/>
                  <a:gd name="T11" fmla="*/ 20 w 20"/>
                  <a:gd name="T12" fmla="*/ 10 h 10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0" h="10">
                    <a:moveTo>
                      <a:pt x="0" y="2"/>
                    </a:moveTo>
                    <a:cubicBezTo>
                      <a:pt x="6" y="0"/>
                      <a:pt x="14" y="2"/>
                      <a:pt x="20" y="4"/>
                    </a:cubicBezTo>
                    <a:cubicBezTo>
                      <a:pt x="20" y="4"/>
                      <a:pt x="0" y="10"/>
                      <a:pt x="0" y="2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52" name="Freeform 45"/>
              <p:cNvSpPr>
                <a:spLocks noChangeAspect="1"/>
              </p:cNvSpPr>
              <p:nvPr/>
            </p:nvSpPr>
            <p:spPr bwMode="auto">
              <a:xfrm>
                <a:off x="2859" y="3044"/>
                <a:ext cx="302" cy="289"/>
              </a:xfrm>
              <a:custGeom>
                <a:avLst/>
                <a:gdLst>
                  <a:gd name="T0" fmla="*/ 248 w 302"/>
                  <a:gd name="T1" fmla="*/ 268 h 289"/>
                  <a:gd name="T2" fmla="*/ 235 w 302"/>
                  <a:gd name="T3" fmla="*/ 256 h 289"/>
                  <a:gd name="T4" fmla="*/ 220 w 302"/>
                  <a:gd name="T5" fmla="*/ 244 h 289"/>
                  <a:gd name="T6" fmla="*/ 192 w 302"/>
                  <a:gd name="T7" fmla="*/ 215 h 289"/>
                  <a:gd name="T8" fmla="*/ 170 w 302"/>
                  <a:gd name="T9" fmla="*/ 193 h 289"/>
                  <a:gd name="T10" fmla="*/ 131 w 302"/>
                  <a:gd name="T11" fmla="*/ 140 h 289"/>
                  <a:gd name="T12" fmla="*/ 119 w 302"/>
                  <a:gd name="T13" fmla="*/ 98 h 289"/>
                  <a:gd name="T14" fmla="*/ 158 w 302"/>
                  <a:gd name="T15" fmla="*/ 101 h 289"/>
                  <a:gd name="T16" fmla="*/ 196 w 302"/>
                  <a:gd name="T17" fmla="*/ 101 h 289"/>
                  <a:gd name="T18" fmla="*/ 244 w 302"/>
                  <a:gd name="T19" fmla="*/ 94 h 289"/>
                  <a:gd name="T20" fmla="*/ 277 w 302"/>
                  <a:gd name="T21" fmla="*/ 110 h 289"/>
                  <a:gd name="T22" fmla="*/ 293 w 302"/>
                  <a:gd name="T23" fmla="*/ 91 h 289"/>
                  <a:gd name="T24" fmla="*/ 295 w 302"/>
                  <a:gd name="T25" fmla="*/ 77 h 289"/>
                  <a:gd name="T26" fmla="*/ 283 w 302"/>
                  <a:gd name="T27" fmla="*/ 67 h 289"/>
                  <a:gd name="T28" fmla="*/ 275 w 302"/>
                  <a:gd name="T29" fmla="*/ 53 h 289"/>
                  <a:gd name="T30" fmla="*/ 250 w 302"/>
                  <a:gd name="T31" fmla="*/ 44 h 289"/>
                  <a:gd name="T32" fmla="*/ 204 w 302"/>
                  <a:gd name="T33" fmla="*/ 44 h 289"/>
                  <a:gd name="T34" fmla="*/ 186 w 302"/>
                  <a:gd name="T35" fmla="*/ 30 h 289"/>
                  <a:gd name="T36" fmla="*/ 145 w 302"/>
                  <a:gd name="T37" fmla="*/ 4 h 289"/>
                  <a:gd name="T38" fmla="*/ 133 w 302"/>
                  <a:gd name="T39" fmla="*/ 7 h 289"/>
                  <a:gd name="T40" fmla="*/ 109 w 302"/>
                  <a:gd name="T41" fmla="*/ 25 h 289"/>
                  <a:gd name="T42" fmla="*/ 91 w 302"/>
                  <a:gd name="T43" fmla="*/ 64 h 289"/>
                  <a:gd name="T44" fmla="*/ 85 w 302"/>
                  <a:gd name="T45" fmla="*/ 90 h 289"/>
                  <a:gd name="T46" fmla="*/ 62 w 302"/>
                  <a:gd name="T47" fmla="*/ 86 h 289"/>
                  <a:gd name="T48" fmla="*/ 54 w 302"/>
                  <a:gd name="T49" fmla="*/ 76 h 289"/>
                  <a:gd name="T50" fmla="*/ 47 w 302"/>
                  <a:gd name="T51" fmla="*/ 88 h 289"/>
                  <a:gd name="T52" fmla="*/ 34 w 302"/>
                  <a:gd name="T53" fmla="*/ 89 h 289"/>
                  <a:gd name="T54" fmla="*/ 20 w 302"/>
                  <a:gd name="T55" fmla="*/ 89 h 289"/>
                  <a:gd name="T56" fmla="*/ 1 w 302"/>
                  <a:gd name="T57" fmla="*/ 95 h 289"/>
                  <a:gd name="T58" fmla="*/ 16 w 302"/>
                  <a:gd name="T59" fmla="*/ 122 h 289"/>
                  <a:gd name="T60" fmla="*/ 34 w 302"/>
                  <a:gd name="T61" fmla="*/ 115 h 289"/>
                  <a:gd name="T62" fmla="*/ 52 w 302"/>
                  <a:gd name="T63" fmla="*/ 97 h 289"/>
                  <a:gd name="T64" fmla="*/ 76 w 302"/>
                  <a:gd name="T65" fmla="*/ 112 h 289"/>
                  <a:gd name="T66" fmla="*/ 88 w 302"/>
                  <a:gd name="T67" fmla="*/ 145 h 289"/>
                  <a:gd name="T68" fmla="*/ 103 w 302"/>
                  <a:gd name="T69" fmla="*/ 168 h 289"/>
                  <a:gd name="T70" fmla="*/ 121 w 302"/>
                  <a:gd name="T71" fmla="*/ 199 h 289"/>
                  <a:gd name="T72" fmla="*/ 192 w 302"/>
                  <a:gd name="T73" fmla="*/ 229 h 289"/>
                  <a:gd name="T74" fmla="*/ 209 w 302"/>
                  <a:gd name="T75" fmla="*/ 246 h 289"/>
                  <a:gd name="T76" fmla="*/ 239 w 302"/>
                  <a:gd name="T77" fmla="*/ 266 h 289"/>
                  <a:gd name="T78" fmla="*/ 262 w 302"/>
                  <a:gd name="T79" fmla="*/ 278 h 289"/>
                  <a:gd name="T80" fmla="*/ 275 w 302"/>
                  <a:gd name="T81" fmla="*/ 289 h 289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w 302"/>
                  <a:gd name="T124" fmla="*/ 0 h 289"/>
                  <a:gd name="T125" fmla="*/ 302 w 302"/>
                  <a:gd name="T126" fmla="*/ 289 h 289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T123" t="T124" r="T125" b="T126"/>
                <a:pathLst>
                  <a:path w="302" h="289">
                    <a:moveTo>
                      <a:pt x="275" y="289"/>
                    </a:moveTo>
                    <a:cubicBezTo>
                      <a:pt x="272" y="273"/>
                      <a:pt x="260" y="274"/>
                      <a:pt x="248" y="268"/>
                    </a:cubicBezTo>
                    <a:cubicBezTo>
                      <a:pt x="246" y="265"/>
                      <a:pt x="243" y="262"/>
                      <a:pt x="241" y="260"/>
                    </a:cubicBezTo>
                    <a:cubicBezTo>
                      <a:pt x="239" y="258"/>
                      <a:pt x="235" y="256"/>
                      <a:pt x="235" y="256"/>
                    </a:cubicBezTo>
                    <a:cubicBezTo>
                      <a:pt x="233" y="251"/>
                      <a:pt x="231" y="248"/>
                      <a:pt x="226" y="246"/>
                    </a:cubicBezTo>
                    <a:cubicBezTo>
                      <a:pt x="224" y="245"/>
                      <a:pt x="220" y="244"/>
                      <a:pt x="220" y="244"/>
                    </a:cubicBezTo>
                    <a:cubicBezTo>
                      <a:pt x="213" y="237"/>
                      <a:pt x="210" y="232"/>
                      <a:pt x="204" y="223"/>
                    </a:cubicBezTo>
                    <a:cubicBezTo>
                      <a:pt x="199" y="218"/>
                      <a:pt x="196" y="218"/>
                      <a:pt x="192" y="215"/>
                    </a:cubicBezTo>
                    <a:cubicBezTo>
                      <a:pt x="190" y="206"/>
                      <a:pt x="189" y="204"/>
                      <a:pt x="180" y="203"/>
                    </a:cubicBezTo>
                    <a:cubicBezTo>
                      <a:pt x="175" y="201"/>
                      <a:pt x="175" y="196"/>
                      <a:pt x="170" y="193"/>
                    </a:cubicBezTo>
                    <a:cubicBezTo>
                      <a:pt x="158" y="185"/>
                      <a:pt x="152" y="173"/>
                      <a:pt x="145" y="162"/>
                    </a:cubicBezTo>
                    <a:cubicBezTo>
                      <a:pt x="141" y="154"/>
                      <a:pt x="137" y="146"/>
                      <a:pt x="131" y="140"/>
                    </a:cubicBezTo>
                    <a:cubicBezTo>
                      <a:pt x="127" y="136"/>
                      <a:pt x="119" y="131"/>
                      <a:pt x="119" y="131"/>
                    </a:cubicBezTo>
                    <a:cubicBezTo>
                      <a:pt x="115" y="120"/>
                      <a:pt x="115" y="110"/>
                      <a:pt x="119" y="98"/>
                    </a:cubicBezTo>
                    <a:cubicBezTo>
                      <a:pt x="129" y="100"/>
                      <a:pt x="132" y="105"/>
                      <a:pt x="140" y="110"/>
                    </a:cubicBezTo>
                    <a:cubicBezTo>
                      <a:pt x="153" y="109"/>
                      <a:pt x="150" y="107"/>
                      <a:pt x="158" y="101"/>
                    </a:cubicBezTo>
                    <a:cubicBezTo>
                      <a:pt x="160" y="98"/>
                      <a:pt x="162" y="96"/>
                      <a:pt x="166" y="95"/>
                    </a:cubicBezTo>
                    <a:cubicBezTo>
                      <a:pt x="181" y="96"/>
                      <a:pt x="184" y="97"/>
                      <a:pt x="196" y="101"/>
                    </a:cubicBezTo>
                    <a:cubicBezTo>
                      <a:pt x="209" y="100"/>
                      <a:pt x="219" y="98"/>
                      <a:pt x="232" y="97"/>
                    </a:cubicBezTo>
                    <a:cubicBezTo>
                      <a:pt x="236" y="96"/>
                      <a:pt x="244" y="94"/>
                      <a:pt x="244" y="94"/>
                    </a:cubicBezTo>
                    <a:cubicBezTo>
                      <a:pt x="250" y="96"/>
                      <a:pt x="262" y="96"/>
                      <a:pt x="268" y="97"/>
                    </a:cubicBezTo>
                    <a:cubicBezTo>
                      <a:pt x="274" y="103"/>
                      <a:pt x="269" y="109"/>
                      <a:pt x="277" y="110"/>
                    </a:cubicBezTo>
                    <a:cubicBezTo>
                      <a:pt x="284" y="113"/>
                      <a:pt x="286" y="111"/>
                      <a:pt x="292" y="107"/>
                    </a:cubicBezTo>
                    <a:cubicBezTo>
                      <a:pt x="293" y="102"/>
                      <a:pt x="290" y="96"/>
                      <a:pt x="293" y="91"/>
                    </a:cubicBezTo>
                    <a:cubicBezTo>
                      <a:pt x="295" y="88"/>
                      <a:pt x="302" y="84"/>
                      <a:pt x="302" y="84"/>
                    </a:cubicBezTo>
                    <a:cubicBezTo>
                      <a:pt x="301" y="79"/>
                      <a:pt x="300" y="79"/>
                      <a:pt x="295" y="77"/>
                    </a:cubicBezTo>
                    <a:cubicBezTo>
                      <a:pt x="293" y="73"/>
                      <a:pt x="288" y="71"/>
                      <a:pt x="284" y="70"/>
                    </a:cubicBezTo>
                    <a:cubicBezTo>
                      <a:pt x="284" y="69"/>
                      <a:pt x="284" y="68"/>
                      <a:pt x="283" y="67"/>
                    </a:cubicBezTo>
                    <a:cubicBezTo>
                      <a:pt x="282" y="66"/>
                      <a:pt x="280" y="67"/>
                      <a:pt x="280" y="66"/>
                    </a:cubicBezTo>
                    <a:cubicBezTo>
                      <a:pt x="274" y="51"/>
                      <a:pt x="282" y="58"/>
                      <a:pt x="275" y="53"/>
                    </a:cubicBezTo>
                    <a:cubicBezTo>
                      <a:pt x="272" y="44"/>
                      <a:pt x="272" y="47"/>
                      <a:pt x="271" y="34"/>
                    </a:cubicBezTo>
                    <a:cubicBezTo>
                      <a:pt x="263" y="37"/>
                      <a:pt x="258" y="41"/>
                      <a:pt x="250" y="44"/>
                    </a:cubicBezTo>
                    <a:cubicBezTo>
                      <a:pt x="248" y="45"/>
                      <a:pt x="244" y="48"/>
                      <a:pt x="244" y="48"/>
                    </a:cubicBezTo>
                    <a:cubicBezTo>
                      <a:pt x="230" y="47"/>
                      <a:pt x="218" y="46"/>
                      <a:pt x="204" y="44"/>
                    </a:cubicBezTo>
                    <a:cubicBezTo>
                      <a:pt x="201" y="41"/>
                      <a:pt x="200" y="36"/>
                      <a:pt x="196" y="35"/>
                    </a:cubicBezTo>
                    <a:cubicBezTo>
                      <a:pt x="193" y="31"/>
                      <a:pt x="191" y="31"/>
                      <a:pt x="186" y="30"/>
                    </a:cubicBezTo>
                    <a:cubicBezTo>
                      <a:pt x="183" y="22"/>
                      <a:pt x="163" y="16"/>
                      <a:pt x="155" y="13"/>
                    </a:cubicBezTo>
                    <a:cubicBezTo>
                      <a:pt x="150" y="6"/>
                      <a:pt x="150" y="6"/>
                      <a:pt x="145" y="4"/>
                    </a:cubicBezTo>
                    <a:cubicBezTo>
                      <a:pt x="145" y="4"/>
                      <a:pt x="141" y="0"/>
                      <a:pt x="139" y="1"/>
                    </a:cubicBezTo>
                    <a:cubicBezTo>
                      <a:pt x="137" y="2"/>
                      <a:pt x="133" y="7"/>
                      <a:pt x="133" y="7"/>
                    </a:cubicBezTo>
                    <a:cubicBezTo>
                      <a:pt x="132" y="13"/>
                      <a:pt x="126" y="19"/>
                      <a:pt x="119" y="22"/>
                    </a:cubicBezTo>
                    <a:cubicBezTo>
                      <a:pt x="116" y="23"/>
                      <a:pt x="109" y="25"/>
                      <a:pt x="109" y="25"/>
                    </a:cubicBezTo>
                    <a:cubicBezTo>
                      <a:pt x="104" y="32"/>
                      <a:pt x="107" y="41"/>
                      <a:pt x="110" y="49"/>
                    </a:cubicBezTo>
                    <a:cubicBezTo>
                      <a:pt x="108" y="54"/>
                      <a:pt x="96" y="58"/>
                      <a:pt x="91" y="64"/>
                    </a:cubicBezTo>
                    <a:cubicBezTo>
                      <a:pt x="93" y="71"/>
                      <a:pt x="94" y="74"/>
                      <a:pt x="95" y="82"/>
                    </a:cubicBezTo>
                    <a:cubicBezTo>
                      <a:pt x="92" y="84"/>
                      <a:pt x="88" y="89"/>
                      <a:pt x="85" y="90"/>
                    </a:cubicBezTo>
                    <a:cubicBezTo>
                      <a:pt x="78" y="89"/>
                      <a:pt x="78" y="89"/>
                      <a:pt x="76" y="83"/>
                    </a:cubicBezTo>
                    <a:cubicBezTo>
                      <a:pt x="71" y="84"/>
                      <a:pt x="67" y="85"/>
                      <a:pt x="62" y="86"/>
                    </a:cubicBezTo>
                    <a:cubicBezTo>
                      <a:pt x="52" y="84"/>
                      <a:pt x="63" y="88"/>
                      <a:pt x="56" y="72"/>
                    </a:cubicBezTo>
                    <a:cubicBezTo>
                      <a:pt x="55" y="71"/>
                      <a:pt x="55" y="75"/>
                      <a:pt x="54" y="76"/>
                    </a:cubicBezTo>
                    <a:cubicBezTo>
                      <a:pt x="52" y="79"/>
                      <a:pt x="52" y="79"/>
                      <a:pt x="49" y="82"/>
                    </a:cubicBezTo>
                    <a:cubicBezTo>
                      <a:pt x="48" y="84"/>
                      <a:pt x="48" y="86"/>
                      <a:pt x="47" y="88"/>
                    </a:cubicBezTo>
                    <a:cubicBezTo>
                      <a:pt x="46" y="90"/>
                      <a:pt x="41" y="90"/>
                      <a:pt x="41" y="90"/>
                    </a:cubicBezTo>
                    <a:cubicBezTo>
                      <a:pt x="39" y="90"/>
                      <a:pt x="36" y="90"/>
                      <a:pt x="34" y="89"/>
                    </a:cubicBezTo>
                    <a:cubicBezTo>
                      <a:pt x="33" y="89"/>
                      <a:pt x="33" y="86"/>
                      <a:pt x="32" y="86"/>
                    </a:cubicBezTo>
                    <a:cubicBezTo>
                      <a:pt x="28" y="86"/>
                      <a:pt x="20" y="89"/>
                      <a:pt x="20" y="89"/>
                    </a:cubicBezTo>
                    <a:cubicBezTo>
                      <a:pt x="15" y="92"/>
                      <a:pt x="10" y="95"/>
                      <a:pt x="5" y="96"/>
                    </a:cubicBezTo>
                    <a:cubicBezTo>
                      <a:pt x="4" y="96"/>
                      <a:pt x="0" y="95"/>
                      <a:pt x="1" y="95"/>
                    </a:cubicBezTo>
                    <a:cubicBezTo>
                      <a:pt x="3" y="95"/>
                      <a:pt x="5" y="94"/>
                      <a:pt x="6" y="96"/>
                    </a:cubicBezTo>
                    <a:cubicBezTo>
                      <a:pt x="12" y="113"/>
                      <a:pt x="3" y="113"/>
                      <a:pt x="16" y="122"/>
                    </a:cubicBezTo>
                    <a:cubicBezTo>
                      <a:pt x="18" y="127"/>
                      <a:pt x="18" y="133"/>
                      <a:pt x="22" y="136"/>
                    </a:cubicBezTo>
                    <a:cubicBezTo>
                      <a:pt x="30" y="132"/>
                      <a:pt x="30" y="123"/>
                      <a:pt x="34" y="115"/>
                    </a:cubicBezTo>
                    <a:cubicBezTo>
                      <a:pt x="35" y="109"/>
                      <a:pt x="35" y="104"/>
                      <a:pt x="40" y="101"/>
                    </a:cubicBezTo>
                    <a:cubicBezTo>
                      <a:pt x="45" y="94"/>
                      <a:pt x="44" y="94"/>
                      <a:pt x="52" y="97"/>
                    </a:cubicBezTo>
                    <a:cubicBezTo>
                      <a:pt x="55" y="101"/>
                      <a:pt x="64" y="104"/>
                      <a:pt x="64" y="104"/>
                    </a:cubicBezTo>
                    <a:cubicBezTo>
                      <a:pt x="67" y="108"/>
                      <a:pt x="72" y="109"/>
                      <a:pt x="76" y="112"/>
                    </a:cubicBezTo>
                    <a:cubicBezTo>
                      <a:pt x="78" y="113"/>
                      <a:pt x="82" y="114"/>
                      <a:pt x="82" y="114"/>
                    </a:cubicBezTo>
                    <a:cubicBezTo>
                      <a:pt x="75" y="123"/>
                      <a:pt x="78" y="138"/>
                      <a:pt x="88" y="145"/>
                    </a:cubicBezTo>
                    <a:cubicBezTo>
                      <a:pt x="90" y="151"/>
                      <a:pt x="90" y="153"/>
                      <a:pt x="95" y="156"/>
                    </a:cubicBezTo>
                    <a:cubicBezTo>
                      <a:pt x="96" y="161"/>
                      <a:pt x="98" y="165"/>
                      <a:pt x="103" y="168"/>
                    </a:cubicBezTo>
                    <a:cubicBezTo>
                      <a:pt x="104" y="174"/>
                      <a:pt x="107" y="186"/>
                      <a:pt x="112" y="191"/>
                    </a:cubicBezTo>
                    <a:cubicBezTo>
                      <a:pt x="115" y="194"/>
                      <a:pt x="121" y="199"/>
                      <a:pt x="121" y="199"/>
                    </a:cubicBezTo>
                    <a:cubicBezTo>
                      <a:pt x="122" y="203"/>
                      <a:pt x="126" y="208"/>
                      <a:pt x="130" y="210"/>
                    </a:cubicBezTo>
                    <a:cubicBezTo>
                      <a:pt x="136" y="233"/>
                      <a:pt x="173" y="228"/>
                      <a:pt x="192" y="229"/>
                    </a:cubicBezTo>
                    <a:cubicBezTo>
                      <a:pt x="195" y="231"/>
                      <a:pt x="202" y="236"/>
                      <a:pt x="202" y="236"/>
                    </a:cubicBezTo>
                    <a:cubicBezTo>
                      <a:pt x="203" y="240"/>
                      <a:pt x="205" y="245"/>
                      <a:pt x="209" y="246"/>
                    </a:cubicBezTo>
                    <a:cubicBezTo>
                      <a:pt x="212" y="252"/>
                      <a:pt x="221" y="257"/>
                      <a:pt x="226" y="262"/>
                    </a:cubicBezTo>
                    <a:cubicBezTo>
                      <a:pt x="229" y="265"/>
                      <a:pt x="239" y="266"/>
                      <a:pt x="239" y="266"/>
                    </a:cubicBezTo>
                    <a:cubicBezTo>
                      <a:pt x="242" y="270"/>
                      <a:pt x="246" y="274"/>
                      <a:pt x="251" y="275"/>
                    </a:cubicBezTo>
                    <a:cubicBezTo>
                      <a:pt x="255" y="276"/>
                      <a:pt x="262" y="278"/>
                      <a:pt x="262" y="278"/>
                    </a:cubicBezTo>
                    <a:cubicBezTo>
                      <a:pt x="264" y="280"/>
                      <a:pt x="265" y="281"/>
                      <a:pt x="266" y="282"/>
                    </a:cubicBezTo>
                    <a:lnTo>
                      <a:pt x="275" y="289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</p:grpSp>
        <p:grpSp>
          <p:nvGrpSpPr>
            <p:cNvPr id="264" name="Group 46"/>
            <p:cNvGrpSpPr>
              <a:grpSpLocks/>
            </p:cNvGrpSpPr>
            <p:nvPr/>
          </p:nvGrpSpPr>
          <p:grpSpPr bwMode="auto">
            <a:xfrm>
              <a:off x="2362" y="3183"/>
              <a:ext cx="666" cy="766"/>
              <a:chOff x="1971" y="6871"/>
              <a:chExt cx="2639" cy="3027"/>
            </a:xfrm>
            <a:grpFill/>
          </p:grpSpPr>
          <p:sp>
            <p:nvSpPr>
              <p:cNvPr id="340" name="Freeform 47"/>
              <p:cNvSpPr>
                <a:spLocks noChangeAspect="1"/>
              </p:cNvSpPr>
              <p:nvPr/>
            </p:nvSpPr>
            <p:spPr bwMode="auto">
              <a:xfrm>
                <a:off x="3259" y="9410"/>
                <a:ext cx="764" cy="488"/>
              </a:xfrm>
              <a:custGeom>
                <a:avLst/>
                <a:gdLst>
                  <a:gd name="T0" fmla="*/ 2147483647 w 191"/>
                  <a:gd name="T1" fmla="*/ 0 h 122"/>
                  <a:gd name="T2" fmla="*/ 2147483647 w 191"/>
                  <a:gd name="T3" fmla="*/ 2147483647 h 122"/>
                  <a:gd name="T4" fmla="*/ 2147483647 w 191"/>
                  <a:gd name="T5" fmla="*/ 2147483647 h 122"/>
                  <a:gd name="T6" fmla="*/ 2147483647 w 191"/>
                  <a:gd name="T7" fmla="*/ 2147483647 h 122"/>
                  <a:gd name="T8" fmla="*/ 2147483647 w 191"/>
                  <a:gd name="T9" fmla="*/ 2147483647 h 122"/>
                  <a:gd name="T10" fmla="*/ 2147483647 w 191"/>
                  <a:gd name="T11" fmla="*/ 2147483647 h 122"/>
                  <a:gd name="T12" fmla="*/ 2147483647 w 191"/>
                  <a:gd name="T13" fmla="*/ 2147483647 h 122"/>
                  <a:gd name="T14" fmla="*/ 2147483647 w 191"/>
                  <a:gd name="T15" fmla="*/ 2147483647 h 122"/>
                  <a:gd name="T16" fmla="*/ 2147483647 w 191"/>
                  <a:gd name="T17" fmla="*/ 2147483647 h 122"/>
                  <a:gd name="T18" fmla="*/ 2147483647 w 191"/>
                  <a:gd name="T19" fmla="*/ 2147483647 h 122"/>
                  <a:gd name="T20" fmla="*/ 2147483647 w 191"/>
                  <a:gd name="T21" fmla="*/ 2147483647 h 122"/>
                  <a:gd name="T22" fmla="*/ 2147483647 w 191"/>
                  <a:gd name="T23" fmla="*/ 2147483647 h 122"/>
                  <a:gd name="T24" fmla="*/ 2147483647 w 191"/>
                  <a:gd name="T25" fmla="*/ 2147483647 h 122"/>
                  <a:gd name="T26" fmla="*/ 2147483647 w 191"/>
                  <a:gd name="T27" fmla="*/ 2147483647 h 122"/>
                  <a:gd name="T28" fmla="*/ 2147483647 w 191"/>
                  <a:gd name="T29" fmla="*/ 2147483647 h 122"/>
                  <a:gd name="T30" fmla="*/ 0 w 191"/>
                  <a:gd name="T31" fmla="*/ 2147483647 h 122"/>
                  <a:gd name="T32" fmla="*/ 2147483647 w 191"/>
                  <a:gd name="T33" fmla="*/ 2147483647 h 122"/>
                  <a:gd name="T34" fmla="*/ 2147483647 w 191"/>
                  <a:gd name="T35" fmla="*/ 2147483647 h 122"/>
                  <a:gd name="T36" fmla="*/ 2147483647 w 191"/>
                  <a:gd name="T37" fmla="*/ 2147483647 h 122"/>
                  <a:gd name="T38" fmla="*/ 2147483647 w 191"/>
                  <a:gd name="T39" fmla="*/ 2147483647 h 122"/>
                  <a:gd name="T40" fmla="*/ 2147483647 w 191"/>
                  <a:gd name="T41" fmla="*/ 2147483647 h 122"/>
                  <a:gd name="T42" fmla="*/ 2147483647 w 191"/>
                  <a:gd name="T43" fmla="*/ 2147483647 h 122"/>
                  <a:gd name="T44" fmla="*/ 2147483647 w 191"/>
                  <a:gd name="T45" fmla="*/ 2147483647 h 122"/>
                  <a:gd name="T46" fmla="*/ 2147483647 w 191"/>
                  <a:gd name="T47" fmla="*/ 2147483647 h 122"/>
                  <a:gd name="T48" fmla="*/ 2147483647 w 191"/>
                  <a:gd name="T49" fmla="*/ 2147483647 h 122"/>
                  <a:gd name="T50" fmla="*/ 2147483647 w 191"/>
                  <a:gd name="T51" fmla="*/ 2147483647 h 122"/>
                  <a:gd name="T52" fmla="*/ 2147483647 w 191"/>
                  <a:gd name="T53" fmla="*/ 2147483647 h 122"/>
                  <a:gd name="T54" fmla="*/ 2147483647 w 191"/>
                  <a:gd name="T55" fmla="*/ 2147483647 h 122"/>
                  <a:gd name="T56" fmla="*/ 2147483647 w 191"/>
                  <a:gd name="T57" fmla="*/ 2147483647 h 122"/>
                  <a:gd name="T58" fmla="*/ 2147483647 w 191"/>
                  <a:gd name="T59" fmla="*/ 2147483647 h 122"/>
                  <a:gd name="T60" fmla="*/ 2147483647 w 191"/>
                  <a:gd name="T61" fmla="*/ 2147483647 h 122"/>
                  <a:gd name="T62" fmla="*/ 2147483647 w 191"/>
                  <a:gd name="T63" fmla="*/ 2147483647 h 122"/>
                  <a:gd name="T64" fmla="*/ 2147483647 w 191"/>
                  <a:gd name="T65" fmla="*/ 2147483647 h 122"/>
                  <a:gd name="T66" fmla="*/ 2147483647 w 191"/>
                  <a:gd name="T67" fmla="*/ 2147483647 h 122"/>
                  <a:gd name="T68" fmla="*/ 2147483647 w 191"/>
                  <a:gd name="T69" fmla="*/ 2147483647 h 122"/>
                  <a:gd name="T70" fmla="*/ 2147483647 w 191"/>
                  <a:gd name="T71" fmla="*/ 2147483647 h 122"/>
                  <a:gd name="T72" fmla="*/ 2147483647 w 191"/>
                  <a:gd name="T73" fmla="*/ 2147483647 h 122"/>
                  <a:gd name="T74" fmla="*/ 2147483647 w 191"/>
                  <a:gd name="T75" fmla="*/ 0 h 122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191"/>
                  <a:gd name="T115" fmla="*/ 0 h 122"/>
                  <a:gd name="T116" fmla="*/ 191 w 191"/>
                  <a:gd name="T117" fmla="*/ 122 h 122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191" h="122">
                    <a:moveTo>
                      <a:pt x="180" y="0"/>
                    </a:moveTo>
                    <a:cubicBezTo>
                      <a:pt x="174" y="2"/>
                      <a:pt x="171" y="6"/>
                      <a:pt x="165" y="8"/>
                    </a:cubicBezTo>
                    <a:cubicBezTo>
                      <a:pt x="162" y="11"/>
                      <a:pt x="159" y="12"/>
                      <a:pt x="156" y="14"/>
                    </a:cubicBezTo>
                    <a:cubicBezTo>
                      <a:pt x="149" y="13"/>
                      <a:pt x="142" y="11"/>
                      <a:pt x="135" y="13"/>
                    </a:cubicBezTo>
                    <a:cubicBezTo>
                      <a:pt x="129" y="21"/>
                      <a:pt x="124" y="24"/>
                      <a:pt x="114" y="25"/>
                    </a:cubicBezTo>
                    <a:cubicBezTo>
                      <a:pt x="107" y="27"/>
                      <a:pt x="104" y="26"/>
                      <a:pt x="97" y="24"/>
                    </a:cubicBezTo>
                    <a:cubicBezTo>
                      <a:pt x="89" y="25"/>
                      <a:pt x="86" y="30"/>
                      <a:pt x="78" y="33"/>
                    </a:cubicBezTo>
                    <a:cubicBezTo>
                      <a:pt x="71" y="31"/>
                      <a:pt x="72" y="27"/>
                      <a:pt x="63" y="26"/>
                    </a:cubicBezTo>
                    <a:cubicBezTo>
                      <a:pt x="63" y="24"/>
                      <a:pt x="63" y="22"/>
                      <a:pt x="62" y="21"/>
                    </a:cubicBezTo>
                    <a:cubicBezTo>
                      <a:pt x="61" y="20"/>
                      <a:pt x="59" y="21"/>
                      <a:pt x="58" y="20"/>
                    </a:cubicBezTo>
                    <a:cubicBezTo>
                      <a:pt x="51" y="11"/>
                      <a:pt x="61" y="15"/>
                      <a:pt x="52" y="13"/>
                    </a:cubicBezTo>
                    <a:cubicBezTo>
                      <a:pt x="46" y="15"/>
                      <a:pt x="45" y="17"/>
                      <a:pt x="38" y="18"/>
                    </a:cubicBezTo>
                    <a:cubicBezTo>
                      <a:pt x="36" y="24"/>
                      <a:pt x="36" y="25"/>
                      <a:pt x="30" y="27"/>
                    </a:cubicBezTo>
                    <a:cubicBezTo>
                      <a:pt x="21" y="26"/>
                      <a:pt x="25" y="21"/>
                      <a:pt x="18" y="19"/>
                    </a:cubicBezTo>
                    <a:cubicBezTo>
                      <a:pt x="13" y="28"/>
                      <a:pt x="18" y="26"/>
                      <a:pt x="3" y="27"/>
                    </a:cubicBezTo>
                    <a:cubicBezTo>
                      <a:pt x="2" y="28"/>
                      <a:pt x="0" y="31"/>
                      <a:pt x="0" y="33"/>
                    </a:cubicBezTo>
                    <a:cubicBezTo>
                      <a:pt x="0" y="35"/>
                      <a:pt x="2" y="39"/>
                      <a:pt x="2" y="39"/>
                    </a:cubicBezTo>
                    <a:cubicBezTo>
                      <a:pt x="2" y="44"/>
                      <a:pt x="1" y="50"/>
                      <a:pt x="3" y="55"/>
                    </a:cubicBezTo>
                    <a:cubicBezTo>
                      <a:pt x="4" y="57"/>
                      <a:pt x="9" y="57"/>
                      <a:pt x="9" y="57"/>
                    </a:cubicBezTo>
                    <a:cubicBezTo>
                      <a:pt x="11" y="62"/>
                      <a:pt x="13" y="64"/>
                      <a:pt x="18" y="66"/>
                    </a:cubicBezTo>
                    <a:cubicBezTo>
                      <a:pt x="28" y="64"/>
                      <a:pt x="25" y="63"/>
                      <a:pt x="36" y="65"/>
                    </a:cubicBezTo>
                    <a:cubicBezTo>
                      <a:pt x="39" y="67"/>
                      <a:pt x="42" y="68"/>
                      <a:pt x="46" y="69"/>
                    </a:cubicBezTo>
                    <a:cubicBezTo>
                      <a:pt x="49" y="71"/>
                      <a:pt x="55" y="73"/>
                      <a:pt x="55" y="73"/>
                    </a:cubicBezTo>
                    <a:cubicBezTo>
                      <a:pt x="58" y="84"/>
                      <a:pt x="61" y="84"/>
                      <a:pt x="72" y="85"/>
                    </a:cubicBezTo>
                    <a:cubicBezTo>
                      <a:pt x="78" y="87"/>
                      <a:pt x="77" y="91"/>
                      <a:pt x="82" y="92"/>
                    </a:cubicBezTo>
                    <a:cubicBezTo>
                      <a:pt x="91" y="95"/>
                      <a:pt x="101" y="94"/>
                      <a:pt x="111" y="95"/>
                    </a:cubicBezTo>
                    <a:cubicBezTo>
                      <a:pt x="113" y="101"/>
                      <a:pt x="116" y="100"/>
                      <a:pt x="121" y="103"/>
                    </a:cubicBezTo>
                    <a:cubicBezTo>
                      <a:pt x="123" y="113"/>
                      <a:pt x="126" y="117"/>
                      <a:pt x="136" y="120"/>
                    </a:cubicBezTo>
                    <a:cubicBezTo>
                      <a:pt x="150" y="118"/>
                      <a:pt x="150" y="119"/>
                      <a:pt x="164" y="122"/>
                    </a:cubicBezTo>
                    <a:cubicBezTo>
                      <a:pt x="166" y="119"/>
                      <a:pt x="164" y="111"/>
                      <a:pt x="164" y="111"/>
                    </a:cubicBezTo>
                    <a:cubicBezTo>
                      <a:pt x="165" y="106"/>
                      <a:pt x="165" y="105"/>
                      <a:pt x="169" y="102"/>
                    </a:cubicBezTo>
                    <a:cubicBezTo>
                      <a:pt x="172" y="98"/>
                      <a:pt x="175" y="98"/>
                      <a:pt x="177" y="92"/>
                    </a:cubicBezTo>
                    <a:cubicBezTo>
                      <a:pt x="176" y="88"/>
                      <a:pt x="174" y="86"/>
                      <a:pt x="171" y="84"/>
                    </a:cubicBezTo>
                    <a:cubicBezTo>
                      <a:pt x="168" y="75"/>
                      <a:pt x="170" y="75"/>
                      <a:pt x="160" y="73"/>
                    </a:cubicBezTo>
                    <a:cubicBezTo>
                      <a:pt x="162" y="68"/>
                      <a:pt x="162" y="61"/>
                      <a:pt x="164" y="56"/>
                    </a:cubicBezTo>
                    <a:cubicBezTo>
                      <a:pt x="165" y="54"/>
                      <a:pt x="168" y="50"/>
                      <a:pt x="168" y="50"/>
                    </a:cubicBezTo>
                    <a:cubicBezTo>
                      <a:pt x="170" y="21"/>
                      <a:pt x="169" y="33"/>
                      <a:pt x="184" y="18"/>
                    </a:cubicBezTo>
                    <a:cubicBezTo>
                      <a:pt x="186" y="1"/>
                      <a:pt x="191" y="5"/>
                      <a:pt x="180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grpSp>
            <p:nvGrpSpPr>
              <p:cNvPr id="341" name="Group 48"/>
              <p:cNvGrpSpPr>
                <a:grpSpLocks noChangeAspect="1"/>
              </p:cNvGrpSpPr>
              <p:nvPr/>
            </p:nvGrpSpPr>
            <p:grpSpPr bwMode="auto">
              <a:xfrm>
                <a:off x="1971" y="6871"/>
                <a:ext cx="2639" cy="2667"/>
                <a:chOff x="2499" y="3020"/>
                <a:chExt cx="660" cy="667"/>
              </a:xfrm>
              <a:grpFill/>
            </p:grpSpPr>
            <p:sp>
              <p:nvSpPr>
                <p:cNvPr id="342" name="Freeform 49"/>
                <p:cNvSpPr>
                  <a:spLocks noChangeAspect="1"/>
                </p:cNvSpPr>
                <p:nvPr/>
              </p:nvSpPr>
              <p:spPr bwMode="auto">
                <a:xfrm>
                  <a:off x="2575" y="3447"/>
                  <a:ext cx="92" cy="181"/>
                </a:xfrm>
                <a:custGeom>
                  <a:avLst/>
                  <a:gdLst>
                    <a:gd name="T0" fmla="*/ 61 w 92"/>
                    <a:gd name="T1" fmla="*/ 0 h 181"/>
                    <a:gd name="T2" fmla="*/ 52 w 92"/>
                    <a:gd name="T3" fmla="*/ 6 h 181"/>
                    <a:gd name="T4" fmla="*/ 45 w 92"/>
                    <a:gd name="T5" fmla="*/ 13 h 181"/>
                    <a:gd name="T6" fmla="*/ 33 w 92"/>
                    <a:gd name="T7" fmla="*/ 24 h 181"/>
                    <a:gd name="T8" fmla="*/ 21 w 92"/>
                    <a:gd name="T9" fmla="*/ 30 h 181"/>
                    <a:gd name="T10" fmla="*/ 10 w 92"/>
                    <a:gd name="T11" fmla="*/ 29 h 181"/>
                    <a:gd name="T12" fmla="*/ 3 w 92"/>
                    <a:gd name="T13" fmla="*/ 18 h 181"/>
                    <a:gd name="T14" fmla="*/ 0 w 92"/>
                    <a:gd name="T15" fmla="*/ 36 h 181"/>
                    <a:gd name="T16" fmla="*/ 7 w 92"/>
                    <a:gd name="T17" fmla="*/ 49 h 181"/>
                    <a:gd name="T18" fmla="*/ 13 w 92"/>
                    <a:gd name="T19" fmla="*/ 58 h 181"/>
                    <a:gd name="T20" fmla="*/ 18 w 92"/>
                    <a:gd name="T21" fmla="*/ 76 h 181"/>
                    <a:gd name="T22" fmla="*/ 21 w 92"/>
                    <a:gd name="T23" fmla="*/ 106 h 181"/>
                    <a:gd name="T24" fmla="*/ 15 w 92"/>
                    <a:gd name="T25" fmla="*/ 118 h 181"/>
                    <a:gd name="T26" fmla="*/ 12 w 92"/>
                    <a:gd name="T27" fmla="*/ 132 h 181"/>
                    <a:gd name="T28" fmla="*/ 14 w 92"/>
                    <a:gd name="T29" fmla="*/ 145 h 181"/>
                    <a:gd name="T30" fmla="*/ 8 w 92"/>
                    <a:gd name="T31" fmla="*/ 154 h 181"/>
                    <a:gd name="T32" fmla="*/ 8 w 92"/>
                    <a:gd name="T33" fmla="*/ 168 h 181"/>
                    <a:gd name="T34" fmla="*/ 18 w 92"/>
                    <a:gd name="T35" fmla="*/ 165 h 181"/>
                    <a:gd name="T36" fmla="*/ 24 w 92"/>
                    <a:gd name="T37" fmla="*/ 177 h 181"/>
                    <a:gd name="T38" fmla="*/ 36 w 92"/>
                    <a:gd name="T39" fmla="*/ 180 h 181"/>
                    <a:gd name="T40" fmla="*/ 48 w 92"/>
                    <a:gd name="T41" fmla="*/ 159 h 181"/>
                    <a:gd name="T42" fmla="*/ 55 w 92"/>
                    <a:gd name="T43" fmla="*/ 154 h 181"/>
                    <a:gd name="T44" fmla="*/ 72 w 92"/>
                    <a:gd name="T45" fmla="*/ 160 h 181"/>
                    <a:gd name="T46" fmla="*/ 84 w 92"/>
                    <a:gd name="T47" fmla="*/ 145 h 181"/>
                    <a:gd name="T48" fmla="*/ 91 w 92"/>
                    <a:gd name="T49" fmla="*/ 96 h 181"/>
                    <a:gd name="T50" fmla="*/ 81 w 92"/>
                    <a:gd name="T51" fmla="*/ 72 h 181"/>
                    <a:gd name="T52" fmla="*/ 86 w 92"/>
                    <a:gd name="T53" fmla="*/ 63 h 181"/>
                    <a:gd name="T54" fmla="*/ 90 w 92"/>
                    <a:gd name="T55" fmla="*/ 57 h 181"/>
                    <a:gd name="T56" fmla="*/ 90 w 92"/>
                    <a:gd name="T57" fmla="*/ 28 h 181"/>
                    <a:gd name="T58" fmla="*/ 79 w 92"/>
                    <a:gd name="T59" fmla="*/ 21 h 181"/>
                    <a:gd name="T60" fmla="*/ 79 w 92"/>
                    <a:gd name="T61" fmla="*/ 4 h 181"/>
                    <a:gd name="T62" fmla="*/ 61 w 92"/>
                    <a:gd name="T63" fmla="*/ 0 h 181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92"/>
                    <a:gd name="T97" fmla="*/ 0 h 181"/>
                    <a:gd name="T98" fmla="*/ 92 w 92"/>
                    <a:gd name="T99" fmla="*/ 181 h 181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92" h="181">
                      <a:moveTo>
                        <a:pt x="61" y="0"/>
                      </a:moveTo>
                      <a:cubicBezTo>
                        <a:pt x="58" y="3"/>
                        <a:pt x="55" y="4"/>
                        <a:pt x="52" y="6"/>
                      </a:cubicBezTo>
                      <a:cubicBezTo>
                        <a:pt x="47" y="13"/>
                        <a:pt x="50" y="11"/>
                        <a:pt x="45" y="13"/>
                      </a:cubicBezTo>
                      <a:cubicBezTo>
                        <a:pt x="44" y="17"/>
                        <a:pt x="38" y="22"/>
                        <a:pt x="33" y="24"/>
                      </a:cubicBezTo>
                      <a:cubicBezTo>
                        <a:pt x="30" y="28"/>
                        <a:pt x="26" y="29"/>
                        <a:pt x="21" y="30"/>
                      </a:cubicBezTo>
                      <a:cubicBezTo>
                        <a:pt x="17" y="30"/>
                        <a:pt x="13" y="30"/>
                        <a:pt x="10" y="29"/>
                      </a:cubicBezTo>
                      <a:cubicBezTo>
                        <a:pt x="4" y="27"/>
                        <a:pt x="9" y="20"/>
                        <a:pt x="3" y="18"/>
                      </a:cubicBezTo>
                      <a:cubicBezTo>
                        <a:pt x="2" y="24"/>
                        <a:pt x="2" y="30"/>
                        <a:pt x="0" y="36"/>
                      </a:cubicBezTo>
                      <a:cubicBezTo>
                        <a:pt x="1" y="40"/>
                        <a:pt x="3" y="48"/>
                        <a:pt x="7" y="49"/>
                      </a:cubicBezTo>
                      <a:cubicBezTo>
                        <a:pt x="8" y="53"/>
                        <a:pt x="10" y="55"/>
                        <a:pt x="13" y="58"/>
                      </a:cubicBezTo>
                      <a:cubicBezTo>
                        <a:pt x="15" y="64"/>
                        <a:pt x="15" y="70"/>
                        <a:pt x="18" y="76"/>
                      </a:cubicBezTo>
                      <a:cubicBezTo>
                        <a:pt x="15" y="93"/>
                        <a:pt x="16" y="92"/>
                        <a:pt x="21" y="106"/>
                      </a:cubicBezTo>
                      <a:cubicBezTo>
                        <a:pt x="20" y="110"/>
                        <a:pt x="16" y="114"/>
                        <a:pt x="15" y="118"/>
                      </a:cubicBezTo>
                      <a:cubicBezTo>
                        <a:pt x="16" y="124"/>
                        <a:pt x="18" y="128"/>
                        <a:pt x="12" y="132"/>
                      </a:cubicBezTo>
                      <a:cubicBezTo>
                        <a:pt x="9" y="137"/>
                        <a:pt x="11" y="140"/>
                        <a:pt x="14" y="145"/>
                      </a:cubicBezTo>
                      <a:cubicBezTo>
                        <a:pt x="12" y="148"/>
                        <a:pt x="9" y="150"/>
                        <a:pt x="8" y="154"/>
                      </a:cubicBezTo>
                      <a:cubicBezTo>
                        <a:pt x="10" y="160"/>
                        <a:pt x="10" y="162"/>
                        <a:pt x="8" y="168"/>
                      </a:cubicBezTo>
                      <a:cubicBezTo>
                        <a:pt x="11" y="169"/>
                        <a:pt x="18" y="165"/>
                        <a:pt x="18" y="165"/>
                      </a:cubicBezTo>
                      <a:cubicBezTo>
                        <a:pt x="23" y="157"/>
                        <a:pt x="23" y="175"/>
                        <a:pt x="24" y="177"/>
                      </a:cubicBezTo>
                      <a:cubicBezTo>
                        <a:pt x="25" y="181"/>
                        <a:pt x="32" y="179"/>
                        <a:pt x="36" y="180"/>
                      </a:cubicBezTo>
                      <a:cubicBezTo>
                        <a:pt x="52" y="178"/>
                        <a:pt x="36" y="167"/>
                        <a:pt x="48" y="159"/>
                      </a:cubicBezTo>
                      <a:cubicBezTo>
                        <a:pt x="49" y="156"/>
                        <a:pt x="55" y="154"/>
                        <a:pt x="55" y="154"/>
                      </a:cubicBezTo>
                      <a:cubicBezTo>
                        <a:pt x="63" y="155"/>
                        <a:pt x="65" y="158"/>
                        <a:pt x="72" y="160"/>
                      </a:cubicBezTo>
                      <a:cubicBezTo>
                        <a:pt x="81" y="158"/>
                        <a:pt x="80" y="151"/>
                        <a:pt x="84" y="145"/>
                      </a:cubicBezTo>
                      <a:cubicBezTo>
                        <a:pt x="86" y="128"/>
                        <a:pt x="88" y="112"/>
                        <a:pt x="91" y="96"/>
                      </a:cubicBezTo>
                      <a:cubicBezTo>
                        <a:pt x="90" y="86"/>
                        <a:pt x="86" y="81"/>
                        <a:pt x="81" y="72"/>
                      </a:cubicBezTo>
                      <a:cubicBezTo>
                        <a:pt x="83" y="61"/>
                        <a:pt x="80" y="70"/>
                        <a:pt x="86" y="63"/>
                      </a:cubicBezTo>
                      <a:cubicBezTo>
                        <a:pt x="88" y="61"/>
                        <a:pt x="90" y="57"/>
                        <a:pt x="90" y="57"/>
                      </a:cubicBezTo>
                      <a:cubicBezTo>
                        <a:pt x="91" y="55"/>
                        <a:pt x="92" y="34"/>
                        <a:pt x="90" y="28"/>
                      </a:cubicBezTo>
                      <a:lnTo>
                        <a:pt x="79" y="21"/>
                      </a:lnTo>
                      <a:lnTo>
                        <a:pt x="79" y="4"/>
                      </a:lnTo>
                      <a:lnTo>
                        <a:pt x="61" y="0"/>
                      </a:lnTo>
                      <a:close/>
                    </a:path>
                  </a:pathLst>
                </a:custGeom>
                <a:grpFill/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orpoS" pitchFamily="2" charset="0"/>
                    <a:ea typeface="+mn-ea"/>
                  </a:endParaRPr>
                </a:p>
              </p:txBody>
            </p:sp>
            <p:sp>
              <p:nvSpPr>
                <p:cNvPr id="343" name="Freeform 50"/>
                <p:cNvSpPr>
                  <a:spLocks noChangeAspect="1"/>
                </p:cNvSpPr>
                <p:nvPr/>
              </p:nvSpPr>
              <p:spPr bwMode="auto">
                <a:xfrm>
                  <a:off x="2686" y="3330"/>
                  <a:ext cx="17" cy="14"/>
                </a:xfrm>
                <a:custGeom>
                  <a:avLst/>
                  <a:gdLst>
                    <a:gd name="T0" fmla="*/ 0 w 17"/>
                    <a:gd name="T1" fmla="*/ 3 h 14"/>
                    <a:gd name="T2" fmla="*/ 16 w 17"/>
                    <a:gd name="T3" fmla="*/ 2 h 14"/>
                    <a:gd name="T4" fmla="*/ 15 w 17"/>
                    <a:gd name="T5" fmla="*/ 14 h 14"/>
                    <a:gd name="T6" fmla="*/ 0 w 17"/>
                    <a:gd name="T7" fmla="*/ 3 h 14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7"/>
                    <a:gd name="T13" fmla="*/ 0 h 14"/>
                    <a:gd name="T14" fmla="*/ 17 w 17"/>
                    <a:gd name="T15" fmla="*/ 14 h 14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7" h="14">
                      <a:moveTo>
                        <a:pt x="0" y="3"/>
                      </a:moveTo>
                      <a:cubicBezTo>
                        <a:pt x="5" y="3"/>
                        <a:pt x="11" y="0"/>
                        <a:pt x="16" y="2"/>
                      </a:cubicBezTo>
                      <a:cubicBezTo>
                        <a:pt x="16" y="6"/>
                        <a:pt x="17" y="10"/>
                        <a:pt x="15" y="14"/>
                      </a:cubicBezTo>
                      <a:cubicBezTo>
                        <a:pt x="12" y="14"/>
                        <a:pt x="0" y="5"/>
                        <a:pt x="0" y="3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orpoS" pitchFamily="2" charset="0"/>
                    <a:ea typeface="+mn-ea"/>
                  </a:endParaRPr>
                </a:p>
              </p:txBody>
            </p:sp>
            <p:sp>
              <p:nvSpPr>
                <p:cNvPr id="344" name="Freeform 51"/>
                <p:cNvSpPr>
                  <a:spLocks noChangeAspect="1"/>
                </p:cNvSpPr>
                <p:nvPr/>
              </p:nvSpPr>
              <p:spPr bwMode="auto">
                <a:xfrm>
                  <a:off x="2499" y="3020"/>
                  <a:ext cx="660" cy="667"/>
                </a:xfrm>
                <a:custGeom>
                  <a:avLst/>
                  <a:gdLst>
                    <a:gd name="T0" fmla="*/ 355 w 660"/>
                    <a:gd name="T1" fmla="*/ 73 h 667"/>
                    <a:gd name="T2" fmla="*/ 353 w 660"/>
                    <a:gd name="T3" fmla="*/ 58 h 667"/>
                    <a:gd name="T4" fmla="*/ 302 w 660"/>
                    <a:gd name="T5" fmla="*/ 24 h 667"/>
                    <a:gd name="T6" fmla="*/ 280 w 660"/>
                    <a:gd name="T7" fmla="*/ 0 h 667"/>
                    <a:gd name="T8" fmla="*/ 211 w 660"/>
                    <a:gd name="T9" fmla="*/ 14 h 667"/>
                    <a:gd name="T10" fmla="*/ 184 w 660"/>
                    <a:gd name="T11" fmla="*/ 48 h 667"/>
                    <a:gd name="T12" fmla="*/ 155 w 660"/>
                    <a:gd name="T13" fmla="*/ 52 h 667"/>
                    <a:gd name="T14" fmla="*/ 137 w 660"/>
                    <a:gd name="T15" fmla="*/ 62 h 667"/>
                    <a:gd name="T16" fmla="*/ 118 w 660"/>
                    <a:gd name="T17" fmla="*/ 80 h 667"/>
                    <a:gd name="T18" fmla="*/ 88 w 660"/>
                    <a:gd name="T19" fmla="*/ 62 h 667"/>
                    <a:gd name="T20" fmla="*/ 53 w 660"/>
                    <a:gd name="T21" fmla="*/ 80 h 667"/>
                    <a:gd name="T22" fmla="*/ 22 w 660"/>
                    <a:gd name="T23" fmla="*/ 91 h 667"/>
                    <a:gd name="T24" fmla="*/ 5 w 660"/>
                    <a:gd name="T25" fmla="*/ 150 h 667"/>
                    <a:gd name="T26" fmla="*/ 32 w 660"/>
                    <a:gd name="T27" fmla="*/ 212 h 667"/>
                    <a:gd name="T28" fmla="*/ 64 w 660"/>
                    <a:gd name="T29" fmla="*/ 238 h 667"/>
                    <a:gd name="T30" fmla="*/ 100 w 660"/>
                    <a:gd name="T31" fmla="*/ 208 h 667"/>
                    <a:gd name="T32" fmla="*/ 131 w 660"/>
                    <a:gd name="T33" fmla="*/ 194 h 667"/>
                    <a:gd name="T34" fmla="*/ 176 w 660"/>
                    <a:gd name="T35" fmla="*/ 218 h 667"/>
                    <a:gd name="T36" fmla="*/ 236 w 660"/>
                    <a:gd name="T37" fmla="*/ 323 h 667"/>
                    <a:gd name="T38" fmla="*/ 266 w 660"/>
                    <a:gd name="T39" fmla="*/ 350 h 667"/>
                    <a:gd name="T40" fmla="*/ 335 w 660"/>
                    <a:gd name="T41" fmla="*/ 409 h 667"/>
                    <a:gd name="T42" fmla="*/ 388 w 660"/>
                    <a:gd name="T43" fmla="*/ 420 h 667"/>
                    <a:gd name="T44" fmla="*/ 424 w 660"/>
                    <a:gd name="T45" fmla="*/ 454 h 667"/>
                    <a:gd name="T46" fmla="*/ 502 w 660"/>
                    <a:gd name="T47" fmla="*/ 503 h 667"/>
                    <a:gd name="T48" fmla="*/ 535 w 660"/>
                    <a:gd name="T49" fmla="*/ 571 h 667"/>
                    <a:gd name="T50" fmla="*/ 527 w 660"/>
                    <a:gd name="T51" fmla="*/ 662 h 667"/>
                    <a:gd name="T52" fmla="*/ 551 w 660"/>
                    <a:gd name="T53" fmla="*/ 638 h 667"/>
                    <a:gd name="T54" fmla="*/ 592 w 660"/>
                    <a:gd name="T55" fmla="*/ 582 h 667"/>
                    <a:gd name="T56" fmla="*/ 557 w 660"/>
                    <a:gd name="T57" fmla="*/ 526 h 667"/>
                    <a:gd name="T58" fmla="*/ 583 w 660"/>
                    <a:gd name="T59" fmla="*/ 467 h 667"/>
                    <a:gd name="T60" fmla="*/ 635 w 660"/>
                    <a:gd name="T61" fmla="*/ 498 h 667"/>
                    <a:gd name="T62" fmla="*/ 659 w 660"/>
                    <a:gd name="T63" fmla="*/ 469 h 667"/>
                    <a:gd name="T64" fmla="*/ 608 w 660"/>
                    <a:gd name="T65" fmla="*/ 437 h 667"/>
                    <a:gd name="T66" fmla="*/ 566 w 660"/>
                    <a:gd name="T67" fmla="*/ 424 h 667"/>
                    <a:gd name="T68" fmla="*/ 516 w 660"/>
                    <a:gd name="T69" fmla="*/ 377 h 667"/>
                    <a:gd name="T70" fmla="*/ 469 w 660"/>
                    <a:gd name="T71" fmla="*/ 367 h 667"/>
                    <a:gd name="T72" fmla="*/ 398 w 660"/>
                    <a:gd name="T73" fmla="*/ 323 h 667"/>
                    <a:gd name="T74" fmla="*/ 350 w 660"/>
                    <a:gd name="T75" fmla="*/ 244 h 667"/>
                    <a:gd name="T76" fmla="*/ 314 w 660"/>
                    <a:gd name="T77" fmla="*/ 217 h 667"/>
                    <a:gd name="T78" fmla="*/ 305 w 660"/>
                    <a:gd name="T79" fmla="*/ 168 h 667"/>
                    <a:gd name="T80" fmla="*/ 299 w 660"/>
                    <a:gd name="T81" fmla="*/ 142 h 667"/>
                    <a:gd name="T82" fmla="*/ 336 w 660"/>
                    <a:gd name="T83" fmla="*/ 107 h 667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w 660"/>
                    <a:gd name="T127" fmla="*/ 0 h 667"/>
                    <a:gd name="T128" fmla="*/ 660 w 660"/>
                    <a:gd name="T129" fmla="*/ 667 h 667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T126" t="T127" r="T128" b="T129"/>
                  <a:pathLst>
                    <a:path w="660" h="667">
                      <a:moveTo>
                        <a:pt x="359" y="90"/>
                      </a:moveTo>
                      <a:cubicBezTo>
                        <a:pt x="360" y="87"/>
                        <a:pt x="362" y="80"/>
                        <a:pt x="362" y="80"/>
                      </a:cubicBezTo>
                      <a:cubicBezTo>
                        <a:pt x="360" y="75"/>
                        <a:pt x="360" y="74"/>
                        <a:pt x="355" y="73"/>
                      </a:cubicBezTo>
                      <a:cubicBezTo>
                        <a:pt x="354" y="71"/>
                        <a:pt x="356" y="69"/>
                        <a:pt x="357" y="68"/>
                      </a:cubicBezTo>
                      <a:cubicBezTo>
                        <a:pt x="358" y="67"/>
                        <a:pt x="361" y="66"/>
                        <a:pt x="360" y="64"/>
                      </a:cubicBezTo>
                      <a:cubicBezTo>
                        <a:pt x="359" y="61"/>
                        <a:pt x="353" y="58"/>
                        <a:pt x="353" y="58"/>
                      </a:cubicBezTo>
                      <a:cubicBezTo>
                        <a:pt x="352" y="54"/>
                        <a:pt x="365" y="41"/>
                        <a:pt x="358" y="36"/>
                      </a:cubicBezTo>
                      <a:cubicBezTo>
                        <a:pt x="345" y="32"/>
                        <a:pt x="327" y="33"/>
                        <a:pt x="314" y="30"/>
                      </a:cubicBezTo>
                      <a:cubicBezTo>
                        <a:pt x="310" y="28"/>
                        <a:pt x="302" y="24"/>
                        <a:pt x="302" y="24"/>
                      </a:cubicBezTo>
                      <a:cubicBezTo>
                        <a:pt x="299" y="21"/>
                        <a:pt x="294" y="14"/>
                        <a:pt x="294" y="14"/>
                      </a:cubicBezTo>
                      <a:cubicBezTo>
                        <a:pt x="293" y="10"/>
                        <a:pt x="293" y="7"/>
                        <a:pt x="289" y="6"/>
                      </a:cubicBezTo>
                      <a:cubicBezTo>
                        <a:pt x="286" y="1"/>
                        <a:pt x="285" y="1"/>
                        <a:pt x="280" y="0"/>
                      </a:cubicBezTo>
                      <a:cubicBezTo>
                        <a:pt x="266" y="5"/>
                        <a:pt x="257" y="6"/>
                        <a:pt x="241" y="7"/>
                      </a:cubicBezTo>
                      <a:cubicBezTo>
                        <a:pt x="238" y="11"/>
                        <a:pt x="236" y="15"/>
                        <a:pt x="233" y="19"/>
                      </a:cubicBezTo>
                      <a:cubicBezTo>
                        <a:pt x="224" y="18"/>
                        <a:pt x="219" y="18"/>
                        <a:pt x="211" y="14"/>
                      </a:cubicBezTo>
                      <a:cubicBezTo>
                        <a:pt x="199" y="19"/>
                        <a:pt x="206" y="22"/>
                        <a:pt x="200" y="31"/>
                      </a:cubicBezTo>
                      <a:cubicBezTo>
                        <a:pt x="198" y="38"/>
                        <a:pt x="195" y="36"/>
                        <a:pt x="188" y="37"/>
                      </a:cubicBezTo>
                      <a:cubicBezTo>
                        <a:pt x="187" y="41"/>
                        <a:pt x="185" y="44"/>
                        <a:pt x="184" y="48"/>
                      </a:cubicBezTo>
                      <a:cubicBezTo>
                        <a:pt x="182" y="51"/>
                        <a:pt x="177" y="51"/>
                        <a:pt x="174" y="53"/>
                      </a:cubicBezTo>
                      <a:cubicBezTo>
                        <a:pt x="171" y="54"/>
                        <a:pt x="164" y="61"/>
                        <a:pt x="164" y="61"/>
                      </a:cubicBezTo>
                      <a:cubicBezTo>
                        <a:pt x="162" y="54"/>
                        <a:pt x="162" y="54"/>
                        <a:pt x="155" y="52"/>
                      </a:cubicBezTo>
                      <a:cubicBezTo>
                        <a:pt x="154" y="50"/>
                        <a:pt x="154" y="48"/>
                        <a:pt x="151" y="48"/>
                      </a:cubicBezTo>
                      <a:cubicBezTo>
                        <a:pt x="149" y="48"/>
                        <a:pt x="145" y="50"/>
                        <a:pt x="145" y="50"/>
                      </a:cubicBezTo>
                      <a:cubicBezTo>
                        <a:pt x="143" y="55"/>
                        <a:pt x="141" y="58"/>
                        <a:pt x="137" y="62"/>
                      </a:cubicBezTo>
                      <a:cubicBezTo>
                        <a:pt x="135" y="69"/>
                        <a:pt x="131" y="75"/>
                        <a:pt x="128" y="82"/>
                      </a:cubicBezTo>
                      <a:cubicBezTo>
                        <a:pt x="126" y="86"/>
                        <a:pt x="124" y="94"/>
                        <a:pt x="124" y="94"/>
                      </a:cubicBezTo>
                      <a:cubicBezTo>
                        <a:pt x="122" y="92"/>
                        <a:pt x="118" y="80"/>
                        <a:pt x="118" y="80"/>
                      </a:cubicBezTo>
                      <a:cubicBezTo>
                        <a:pt x="117" y="71"/>
                        <a:pt x="119" y="68"/>
                        <a:pt x="110" y="66"/>
                      </a:cubicBezTo>
                      <a:cubicBezTo>
                        <a:pt x="108" y="59"/>
                        <a:pt x="107" y="55"/>
                        <a:pt x="100" y="53"/>
                      </a:cubicBezTo>
                      <a:cubicBezTo>
                        <a:pt x="95" y="55"/>
                        <a:pt x="94" y="60"/>
                        <a:pt x="88" y="62"/>
                      </a:cubicBezTo>
                      <a:cubicBezTo>
                        <a:pt x="85" y="66"/>
                        <a:pt x="85" y="72"/>
                        <a:pt x="82" y="76"/>
                      </a:cubicBezTo>
                      <a:cubicBezTo>
                        <a:pt x="80" y="79"/>
                        <a:pt x="73" y="80"/>
                        <a:pt x="73" y="80"/>
                      </a:cubicBezTo>
                      <a:cubicBezTo>
                        <a:pt x="65" y="79"/>
                        <a:pt x="61" y="78"/>
                        <a:pt x="53" y="80"/>
                      </a:cubicBezTo>
                      <a:cubicBezTo>
                        <a:pt x="48" y="81"/>
                        <a:pt x="40" y="85"/>
                        <a:pt x="40" y="85"/>
                      </a:cubicBezTo>
                      <a:cubicBezTo>
                        <a:pt x="34" y="84"/>
                        <a:pt x="28" y="81"/>
                        <a:pt x="23" y="85"/>
                      </a:cubicBezTo>
                      <a:cubicBezTo>
                        <a:pt x="25" y="92"/>
                        <a:pt x="24" y="86"/>
                        <a:pt x="22" y="91"/>
                      </a:cubicBezTo>
                      <a:cubicBezTo>
                        <a:pt x="23" y="101"/>
                        <a:pt x="26" y="117"/>
                        <a:pt x="32" y="125"/>
                      </a:cubicBezTo>
                      <a:cubicBezTo>
                        <a:pt x="19" y="136"/>
                        <a:pt x="18" y="139"/>
                        <a:pt x="2" y="140"/>
                      </a:cubicBezTo>
                      <a:cubicBezTo>
                        <a:pt x="0" y="145"/>
                        <a:pt x="0" y="148"/>
                        <a:pt x="5" y="150"/>
                      </a:cubicBezTo>
                      <a:cubicBezTo>
                        <a:pt x="7" y="159"/>
                        <a:pt x="16" y="157"/>
                        <a:pt x="25" y="158"/>
                      </a:cubicBezTo>
                      <a:cubicBezTo>
                        <a:pt x="30" y="165"/>
                        <a:pt x="20" y="179"/>
                        <a:pt x="17" y="186"/>
                      </a:cubicBezTo>
                      <a:cubicBezTo>
                        <a:pt x="19" y="199"/>
                        <a:pt x="21" y="205"/>
                        <a:pt x="32" y="212"/>
                      </a:cubicBezTo>
                      <a:cubicBezTo>
                        <a:pt x="41" y="211"/>
                        <a:pt x="51" y="209"/>
                        <a:pt x="59" y="214"/>
                      </a:cubicBezTo>
                      <a:cubicBezTo>
                        <a:pt x="62" y="219"/>
                        <a:pt x="56" y="232"/>
                        <a:pt x="50" y="234"/>
                      </a:cubicBezTo>
                      <a:cubicBezTo>
                        <a:pt x="46" y="243"/>
                        <a:pt x="58" y="239"/>
                        <a:pt x="64" y="238"/>
                      </a:cubicBezTo>
                      <a:cubicBezTo>
                        <a:pt x="70" y="234"/>
                        <a:pt x="78" y="234"/>
                        <a:pt x="83" y="230"/>
                      </a:cubicBezTo>
                      <a:cubicBezTo>
                        <a:pt x="86" y="228"/>
                        <a:pt x="90" y="221"/>
                        <a:pt x="90" y="221"/>
                      </a:cubicBezTo>
                      <a:cubicBezTo>
                        <a:pt x="91" y="217"/>
                        <a:pt x="95" y="210"/>
                        <a:pt x="100" y="208"/>
                      </a:cubicBezTo>
                      <a:cubicBezTo>
                        <a:pt x="102" y="205"/>
                        <a:pt x="105" y="202"/>
                        <a:pt x="107" y="200"/>
                      </a:cubicBezTo>
                      <a:cubicBezTo>
                        <a:pt x="109" y="198"/>
                        <a:pt x="113" y="196"/>
                        <a:pt x="113" y="196"/>
                      </a:cubicBezTo>
                      <a:cubicBezTo>
                        <a:pt x="118" y="189"/>
                        <a:pt x="115" y="191"/>
                        <a:pt x="131" y="194"/>
                      </a:cubicBezTo>
                      <a:cubicBezTo>
                        <a:pt x="136" y="195"/>
                        <a:pt x="141" y="201"/>
                        <a:pt x="145" y="203"/>
                      </a:cubicBezTo>
                      <a:cubicBezTo>
                        <a:pt x="151" y="206"/>
                        <a:pt x="160" y="209"/>
                        <a:pt x="166" y="210"/>
                      </a:cubicBezTo>
                      <a:cubicBezTo>
                        <a:pt x="170" y="213"/>
                        <a:pt x="172" y="215"/>
                        <a:pt x="176" y="218"/>
                      </a:cubicBezTo>
                      <a:cubicBezTo>
                        <a:pt x="180" y="224"/>
                        <a:pt x="187" y="227"/>
                        <a:pt x="190" y="235"/>
                      </a:cubicBezTo>
                      <a:cubicBezTo>
                        <a:pt x="205" y="250"/>
                        <a:pt x="194" y="277"/>
                        <a:pt x="212" y="289"/>
                      </a:cubicBezTo>
                      <a:cubicBezTo>
                        <a:pt x="219" y="304"/>
                        <a:pt x="230" y="314"/>
                        <a:pt x="236" y="323"/>
                      </a:cubicBezTo>
                      <a:cubicBezTo>
                        <a:pt x="238" y="326"/>
                        <a:pt x="248" y="341"/>
                        <a:pt x="250" y="342"/>
                      </a:cubicBezTo>
                      <a:cubicBezTo>
                        <a:pt x="252" y="343"/>
                        <a:pt x="256" y="344"/>
                        <a:pt x="256" y="344"/>
                      </a:cubicBezTo>
                      <a:cubicBezTo>
                        <a:pt x="259" y="347"/>
                        <a:pt x="263" y="348"/>
                        <a:pt x="266" y="350"/>
                      </a:cubicBezTo>
                      <a:cubicBezTo>
                        <a:pt x="272" y="355"/>
                        <a:pt x="285" y="364"/>
                        <a:pt x="294" y="372"/>
                      </a:cubicBezTo>
                      <a:cubicBezTo>
                        <a:pt x="304" y="377"/>
                        <a:pt x="311" y="392"/>
                        <a:pt x="322" y="398"/>
                      </a:cubicBezTo>
                      <a:cubicBezTo>
                        <a:pt x="324" y="404"/>
                        <a:pt x="329" y="407"/>
                        <a:pt x="335" y="409"/>
                      </a:cubicBezTo>
                      <a:cubicBezTo>
                        <a:pt x="340" y="417"/>
                        <a:pt x="345" y="419"/>
                        <a:pt x="352" y="424"/>
                      </a:cubicBezTo>
                      <a:cubicBezTo>
                        <a:pt x="365" y="422"/>
                        <a:pt x="364" y="421"/>
                        <a:pt x="373" y="418"/>
                      </a:cubicBezTo>
                      <a:cubicBezTo>
                        <a:pt x="378" y="418"/>
                        <a:pt x="384" y="416"/>
                        <a:pt x="388" y="420"/>
                      </a:cubicBezTo>
                      <a:cubicBezTo>
                        <a:pt x="391" y="423"/>
                        <a:pt x="395" y="428"/>
                        <a:pt x="395" y="428"/>
                      </a:cubicBezTo>
                      <a:cubicBezTo>
                        <a:pt x="397" y="435"/>
                        <a:pt x="398" y="442"/>
                        <a:pt x="400" y="449"/>
                      </a:cubicBezTo>
                      <a:cubicBezTo>
                        <a:pt x="405" y="453"/>
                        <a:pt x="415" y="452"/>
                        <a:pt x="424" y="454"/>
                      </a:cubicBezTo>
                      <a:cubicBezTo>
                        <a:pt x="432" y="460"/>
                        <a:pt x="442" y="458"/>
                        <a:pt x="452" y="460"/>
                      </a:cubicBezTo>
                      <a:cubicBezTo>
                        <a:pt x="457" y="468"/>
                        <a:pt x="458" y="489"/>
                        <a:pt x="467" y="492"/>
                      </a:cubicBezTo>
                      <a:cubicBezTo>
                        <a:pt x="475" y="503"/>
                        <a:pt x="489" y="501"/>
                        <a:pt x="502" y="503"/>
                      </a:cubicBezTo>
                      <a:cubicBezTo>
                        <a:pt x="508" y="511"/>
                        <a:pt x="514" y="524"/>
                        <a:pt x="516" y="534"/>
                      </a:cubicBezTo>
                      <a:cubicBezTo>
                        <a:pt x="517" y="539"/>
                        <a:pt x="522" y="547"/>
                        <a:pt x="522" y="547"/>
                      </a:cubicBezTo>
                      <a:cubicBezTo>
                        <a:pt x="524" y="553"/>
                        <a:pt x="530" y="566"/>
                        <a:pt x="535" y="571"/>
                      </a:cubicBezTo>
                      <a:cubicBezTo>
                        <a:pt x="539" y="584"/>
                        <a:pt x="534" y="599"/>
                        <a:pt x="523" y="607"/>
                      </a:cubicBezTo>
                      <a:cubicBezTo>
                        <a:pt x="519" y="620"/>
                        <a:pt x="516" y="633"/>
                        <a:pt x="515" y="647"/>
                      </a:cubicBezTo>
                      <a:cubicBezTo>
                        <a:pt x="516" y="658"/>
                        <a:pt x="517" y="659"/>
                        <a:pt x="527" y="662"/>
                      </a:cubicBezTo>
                      <a:cubicBezTo>
                        <a:pt x="534" y="661"/>
                        <a:pt x="531" y="667"/>
                        <a:pt x="535" y="662"/>
                      </a:cubicBezTo>
                      <a:cubicBezTo>
                        <a:pt x="536" y="658"/>
                        <a:pt x="538" y="656"/>
                        <a:pt x="541" y="653"/>
                      </a:cubicBezTo>
                      <a:cubicBezTo>
                        <a:pt x="543" y="648"/>
                        <a:pt x="547" y="642"/>
                        <a:pt x="551" y="638"/>
                      </a:cubicBezTo>
                      <a:cubicBezTo>
                        <a:pt x="553" y="631"/>
                        <a:pt x="559" y="627"/>
                        <a:pt x="560" y="620"/>
                      </a:cubicBezTo>
                      <a:cubicBezTo>
                        <a:pt x="562" y="606"/>
                        <a:pt x="566" y="589"/>
                        <a:pt x="582" y="586"/>
                      </a:cubicBezTo>
                      <a:cubicBezTo>
                        <a:pt x="585" y="584"/>
                        <a:pt x="592" y="582"/>
                        <a:pt x="592" y="582"/>
                      </a:cubicBezTo>
                      <a:cubicBezTo>
                        <a:pt x="592" y="581"/>
                        <a:pt x="595" y="576"/>
                        <a:pt x="595" y="575"/>
                      </a:cubicBezTo>
                      <a:cubicBezTo>
                        <a:pt x="595" y="568"/>
                        <a:pt x="595" y="561"/>
                        <a:pt x="594" y="554"/>
                      </a:cubicBezTo>
                      <a:cubicBezTo>
                        <a:pt x="592" y="532"/>
                        <a:pt x="571" y="535"/>
                        <a:pt x="557" y="526"/>
                      </a:cubicBezTo>
                      <a:cubicBezTo>
                        <a:pt x="556" y="523"/>
                        <a:pt x="554" y="520"/>
                        <a:pt x="553" y="517"/>
                      </a:cubicBezTo>
                      <a:cubicBezTo>
                        <a:pt x="554" y="494"/>
                        <a:pt x="556" y="491"/>
                        <a:pt x="563" y="479"/>
                      </a:cubicBezTo>
                      <a:cubicBezTo>
                        <a:pt x="566" y="471"/>
                        <a:pt x="575" y="468"/>
                        <a:pt x="583" y="467"/>
                      </a:cubicBezTo>
                      <a:cubicBezTo>
                        <a:pt x="595" y="468"/>
                        <a:pt x="592" y="471"/>
                        <a:pt x="601" y="474"/>
                      </a:cubicBezTo>
                      <a:cubicBezTo>
                        <a:pt x="607" y="474"/>
                        <a:pt x="628" y="469"/>
                        <a:pt x="630" y="478"/>
                      </a:cubicBezTo>
                      <a:cubicBezTo>
                        <a:pt x="629" y="484"/>
                        <a:pt x="627" y="495"/>
                        <a:pt x="635" y="498"/>
                      </a:cubicBezTo>
                      <a:cubicBezTo>
                        <a:pt x="639" y="506"/>
                        <a:pt x="649" y="504"/>
                        <a:pt x="656" y="509"/>
                      </a:cubicBezTo>
                      <a:cubicBezTo>
                        <a:pt x="659" y="501"/>
                        <a:pt x="659" y="498"/>
                        <a:pt x="660" y="490"/>
                      </a:cubicBezTo>
                      <a:cubicBezTo>
                        <a:pt x="660" y="483"/>
                        <a:pt x="660" y="476"/>
                        <a:pt x="659" y="469"/>
                      </a:cubicBezTo>
                      <a:cubicBezTo>
                        <a:pt x="658" y="464"/>
                        <a:pt x="644" y="462"/>
                        <a:pt x="644" y="462"/>
                      </a:cubicBezTo>
                      <a:cubicBezTo>
                        <a:pt x="638" y="450"/>
                        <a:pt x="632" y="450"/>
                        <a:pt x="622" y="443"/>
                      </a:cubicBezTo>
                      <a:cubicBezTo>
                        <a:pt x="618" y="440"/>
                        <a:pt x="608" y="437"/>
                        <a:pt x="608" y="437"/>
                      </a:cubicBezTo>
                      <a:cubicBezTo>
                        <a:pt x="604" y="434"/>
                        <a:pt x="595" y="431"/>
                        <a:pt x="595" y="431"/>
                      </a:cubicBezTo>
                      <a:cubicBezTo>
                        <a:pt x="591" y="425"/>
                        <a:pt x="584" y="427"/>
                        <a:pt x="578" y="426"/>
                      </a:cubicBezTo>
                      <a:cubicBezTo>
                        <a:pt x="574" y="425"/>
                        <a:pt x="570" y="425"/>
                        <a:pt x="566" y="424"/>
                      </a:cubicBezTo>
                      <a:cubicBezTo>
                        <a:pt x="556" y="420"/>
                        <a:pt x="527" y="408"/>
                        <a:pt x="518" y="403"/>
                      </a:cubicBezTo>
                      <a:cubicBezTo>
                        <a:pt x="512" y="401"/>
                        <a:pt x="512" y="399"/>
                        <a:pt x="509" y="394"/>
                      </a:cubicBezTo>
                      <a:cubicBezTo>
                        <a:pt x="511" y="388"/>
                        <a:pt x="513" y="383"/>
                        <a:pt x="516" y="377"/>
                      </a:cubicBezTo>
                      <a:cubicBezTo>
                        <a:pt x="517" y="375"/>
                        <a:pt x="520" y="362"/>
                        <a:pt x="520" y="362"/>
                      </a:cubicBezTo>
                      <a:cubicBezTo>
                        <a:pt x="518" y="351"/>
                        <a:pt x="509" y="361"/>
                        <a:pt x="499" y="360"/>
                      </a:cubicBezTo>
                      <a:cubicBezTo>
                        <a:pt x="485" y="362"/>
                        <a:pt x="483" y="368"/>
                        <a:pt x="469" y="367"/>
                      </a:cubicBezTo>
                      <a:cubicBezTo>
                        <a:pt x="457" y="363"/>
                        <a:pt x="434" y="351"/>
                        <a:pt x="422" y="347"/>
                      </a:cubicBezTo>
                      <a:cubicBezTo>
                        <a:pt x="417" y="342"/>
                        <a:pt x="412" y="339"/>
                        <a:pt x="407" y="334"/>
                      </a:cubicBezTo>
                      <a:cubicBezTo>
                        <a:pt x="406" y="330"/>
                        <a:pt x="402" y="325"/>
                        <a:pt x="398" y="323"/>
                      </a:cubicBezTo>
                      <a:cubicBezTo>
                        <a:pt x="387" y="307"/>
                        <a:pt x="395" y="279"/>
                        <a:pt x="378" y="268"/>
                      </a:cubicBezTo>
                      <a:cubicBezTo>
                        <a:pt x="377" y="264"/>
                        <a:pt x="365" y="254"/>
                        <a:pt x="361" y="253"/>
                      </a:cubicBezTo>
                      <a:cubicBezTo>
                        <a:pt x="358" y="249"/>
                        <a:pt x="350" y="244"/>
                        <a:pt x="350" y="244"/>
                      </a:cubicBezTo>
                      <a:cubicBezTo>
                        <a:pt x="347" y="239"/>
                        <a:pt x="341" y="235"/>
                        <a:pt x="335" y="233"/>
                      </a:cubicBezTo>
                      <a:cubicBezTo>
                        <a:pt x="332" y="230"/>
                        <a:pt x="330" y="227"/>
                        <a:pt x="326" y="226"/>
                      </a:cubicBezTo>
                      <a:cubicBezTo>
                        <a:pt x="323" y="222"/>
                        <a:pt x="319" y="218"/>
                        <a:pt x="314" y="217"/>
                      </a:cubicBezTo>
                      <a:cubicBezTo>
                        <a:pt x="310" y="215"/>
                        <a:pt x="311" y="212"/>
                        <a:pt x="307" y="210"/>
                      </a:cubicBezTo>
                      <a:cubicBezTo>
                        <a:pt x="306" y="202"/>
                        <a:pt x="304" y="194"/>
                        <a:pt x="301" y="187"/>
                      </a:cubicBezTo>
                      <a:cubicBezTo>
                        <a:pt x="305" y="155"/>
                        <a:pt x="302" y="181"/>
                        <a:pt x="305" y="168"/>
                      </a:cubicBezTo>
                      <a:cubicBezTo>
                        <a:pt x="306" y="165"/>
                        <a:pt x="307" y="158"/>
                        <a:pt x="307" y="158"/>
                      </a:cubicBezTo>
                      <a:cubicBezTo>
                        <a:pt x="307" y="155"/>
                        <a:pt x="307" y="151"/>
                        <a:pt x="305" y="148"/>
                      </a:cubicBezTo>
                      <a:cubicBezTo>
                        <a:pt x="303" y="146"/>
                        <a:pt x="299" y="142"/>
                        <a:pt x="299" y="142"/>
                      </a:cubicBezTo>
                      <a:cubicBezTo>
                        <a:pt x="298" y="138"/>
                        <a:pt x="295" y="137"/>
                        <a:pt x="294" y="133"/>
                      </a:cubicBezTo>
                      <a:cubicBezTo>
                        <a:pt x="296" y="126"/>
                        <a:pt x="294" y="128"/>
                        <a:pt x="299" y="125"/>
                      </a:cubicBezTo>
                      <a:cubicBezTo>
                        <a:pt x="303" y="114"/>
                        <a:pt x="326" y="109"/>
                        <a:pt x="336" y="107"/>
                      </a:cubicBezTo>
                      <a:cubicBezTo>
                        <a:pt x="339" y="105"/>
                        <a:pt x="346" y="100"/>
                        <a:pt x="346" y="100"/>
                      </a:cubicBezTo>
                      <a:cubicBezTo>
                        <a:pt x="349" y="96"/>
                        <a:pt x="354" y="92"/>
                        <a:pt x="359" y="90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orpoS" pitchFamily="2" charset="0"/>
                    <a:ea typeface="+mn-ea"/>
                  </a:endParaRPr>
                </a:p>
              </p:txBody>
            </p:sp>
          </p:grpSp>
        </p:grpSp>
        <p:grpSp>
          <p:nvGrpSpPr>
            <p:cNvPr id="265" name="Group 52"/>
            <p:cNvGrpSpPr>
              <a:grpSpLocks noChangeAspect="1"/>
            </p:cNvGrpSpPr>
            <p:nvPr/>
          </p:nvGrpSpPr>
          <p:grpSpPr bwMode="auto">
            <a:xfrm>
              <a:off x="1502" y="3309"/>
              <a:ext cx="714" cy="596"/>
              <a:chOff x="1648" y="3145"/>
              <a:chExt cx="707" cy="590"/>
            </a:xfrm>
            <a:grpFill/>
          </p:grpSpPr>
          <p:sp>
            <p:nvSpPr>
              <p:cNvPr id="335" name="Freeform 53"/>
              <p:cNvSpPr>
                <a:spLocks noChangeAspect="1"/>
              </p:cNvSpPr>
              <p:nvPr/>
            </p:nvSpPr>
            <p:spPr bwMode="auto">
              <a:xfrm>
                <a:off x="2167" y="3576"/>
                <a:ext cx="27" cy="21"/>
              </a:xfrm>
              <a:custGeom>
                <a:avLst/>
                <a:gdLst>
                  <a:gd name="T0" fmla="*/ 25 w 27"/>
                  <a:gd name="T1" fmla="*/ 0 h 21"/>
                  <a:gd name="T2" fmla="*/ 0 w 27"/>
                  <a:gd name="T3" fmla="*/ 10 h 21"/>
                  <a:gd name="T4" fmla="*/ 10 w 27"/>
                  <a:gd name="T5" fmla="*/ 20 h 21"/>
                  <a:gd name="T6" fmla="*/ 27 w 27"/>
                  <a:gd name="T7" fmla="*/ 15 h 21"/>
                  <a:gd name="T8" fmla="*/ 19 w 27"/>
                  <a:gd name="T9" fmla="*/ 1 h 21"/>
                  <a:gd name="T10" fmla="*/ 9 w 27"/>
                  <a:gd name="T11" fmla="*/ 3 h 21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7"/>
                  <a:gd name="T19" fmla="*/ 0 h 21"/>
                  <a:gd name="T20" fmla="*/ 27 w 27"/>
                  <a:gd name="T21" fmla="*/ 21 h 21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7" h="21">
                    <a:moveTo>
                      <a:pt x="25" y="0"/>
                    </a:moveTo>
                    <a:cubicBezTo>
                      <a:pt x="5" y="2"/>
                      <a:pt x="12" y="2"/>
                      <a:pt x="0" y="10"/>
                    </a:cubicBezTo>
                    <a:cubicBezTo>
                      <a:pt x="1" y="15"/>
                      <a:pt x="10" y="20"/>
                      <a:pt x="10" y="20"/>
                    </a:cubicBezTo>
                    <a:cubicBezTo>
                      <a:pt x="16" y="19"/>
                      <a:pt x="23" y="21"/>
                      <a:pt x="27" y="15"/>
                    </a:cubicBezTo>
                    <a:cubicBezTo>
                      <a:pt x="25" y="10"/>
                      <a:pt x="24" y="3"/>
                      <a:pt x="19" y="1"/>
                    </a:cubicBezTo>
                    <a:cubicBezTo>
                      <a:pt x="16" y="2"/>
                      <a:pt x="9" y="3"/>
                      <a:pt x="9" y="3"/>
                    </a:cubicBezTo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36" name="Freeform 54"/>
              <p:cNvSpPr>
                <a:spLocks noChangeAspect="1"/>
              </p:cNvSpPr>
              <p:nvPr/>
            </p:nvSpPr>
            <p:spPr bwMode="auto">
              <a:xfrm>
                <a:off x="2178" y="3606"/>
                <a:ext cx="23" cy="9"/>
              </a:xfrm>
              <a:custGeom>
                <a:avLst/>
                <a:gdLst>
                  <a:gd name="T0" fmla="*/ 1 w 23"/>
                  <a:gd name="T1" fmla="*/ 0 h 9"/>
                  <a:gd name="T2" fmla="*/ 3 w 23"/>
                  <a:gd name="T3" fmla="*/ 7 h 9"/>
                  <a:gd name="T4" fmla="*/ 1 w 23"/>
                  <a:gd name="T5" fmla="*/ 0 h 9"/>
                  <a:gd name="T6" fmla="*/ 0 60000 65536"/>
                  <a:gd name="T7" fmla="*/ 0 60000 65536"/>
                  <a:gd name="T8" fmla="*/ 0 60000 65536"/>
                  <a:gd name="T9" fmla="*/ 0 w 23"/>
                  <a:gd name="T10" fmla="*/ 0 h 9"/>
                  <a:gd name="T11" fmla="*/ 23 w 23"/>
                  <a:gd name="T12" fmla="*/ 9 h 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3" h="9">
                    <a:moveTo>
                      <a:pt x="1" y="0"/>
                    </a:moveTo>
                    <a:cubicBezTo>
                      <a:pt x="23" y="2"/>
                      <a:pt x="19" y="9"/>
                      <a:pt x="3" y="7"/>
                    </a:cubicBezTo>
                    <a:cubicBezTo>
                      <a:pt x="0" y="3"/>
                      <a:pt x="1" y="5"/>
                      <a:pt x="1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37" name="Freeform 55"/>
              <p:cNvSpPr>
                <a:spLocks noChangeAspect="1"/>
              </p:cNvSpPr>
              <p:nvPr/>
            </p:nvSpPr>
            <p:spPr bwMode="auto">
              <a:xfrm>
                <a:off x="2239" y="3523"/>
                <a:ext cx="64" cy="50"/>
              </a:xfrm>
              <a:custGeom>
                <a:avLst/>
                <a:gdLst>
                  <a:gd name="T0" fmla="*/ 3 w 64"/>
                  <a:gd name="T1" fmla="*/ 19 h 50"/>
                  <a:gd name="T2" fmla="*/ 18 w 64"/>
                  <a:gd name="T3" fmla="*/ 14 h 50"/>
                  <a:gd name="T4" fmla="*/ 30 w 64"/>
                  <a:gd name="T5" fmla="*/ 6 h 50"/>
                  <a:gd name="T6" fmla="*/ 44 w 64"/>
                  <a:gd name="T7" fmla="*/ 0 h 50"/>
                  <a:gd name="T8" fmla="*/ 52 w 64"/>
                  <a:gd name="T9" fmla="*/ 21 h 50"/>
                  <a:gd name="T10" fmla="*/ 64 w 64"/>
                  <a:gd name="T11" fmla="*/ 18 h 50"/>
                  <a:gd name="T12" fmla="*/ 58 w 64"/>
                  <a:gd name="T13" fmla="*/ 32 h 50"/>
                  <a:gd name="T14" fmla="*/ 56 w 64"/>
                  <a:gd name="T15" fmla="*/ 35 h 50"/>
                  <a:gd name="T16" fmla="*/ 52 w 64"/>
                  <a:gd name="T17" fmla="*/ 37 h 50"/>
                  <a:gd name="T18" fmla="*/ 40 w 64"/>
                  <a:gd name="T19" fmla="*/ 50 h 50"/>
                  <a:gd name="T20" fmla="*/ 26 w 64"/>
                  <a:gd name="T21" fmla="*/ 42 h 50"/>
                  <a:gd name="T22" fmla="*/ 19 w 64"/>
                  <a:gd name="T23" fmla="*/ 31 h 50"/>
                  <a:gd name="T24" fmla="*/ 0 w 64"/>
                  <a:gd name="T25" fmla="*/ 25 h 50"/>
                  <a:gd name="T26" fmla="*/ 15 w 64"/>
                  <a:gd name="T27" fmla="*/ 15 h 50"/>
                  <a:gd name="T28" fmla="*/ 18 w 64"/>
                  <a:gd name="T29" fmla="*/ 14 h 50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64"/>
                  <a:gd name="T46" fmla="*/ 0 h 50"/>
                  <a:gd name="T47" fmla="*/ 64 w 64"/>
                  <a:gd name="T48" fmla="*/ 50 h 50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64" h="50">
                    <a:moveTo>
                      <a:pt x="3" y="19"/>
                    </a:moveTo>
                    <a:cubicBezTo>
                      <a:pt x="8" y="17"/>
                      <a:pt x="13" y="16"/>
                      <a:pt x="18" y="14"/>
                    </a:cubicBezTo>
                    <a:cubicBezTo>
                      <a:pt x="23" y="12"/>
                      <a:pt x="25" y="8"/>
                      <a:pt x="30" y="6"/>
                    </a:cubicBezTo>
                    <a:cubicBezTo>
                      <a:pt x="33" y="2"/>
                      <a:pt x="44" y="0"/>
                      <a:pt x="44" y="0"/>
                    </a:cubicBezTo>
                    <a:cubicBezTo>
                      <a:pt x="55" y="3"/>
                      <a:pt x="43" y="15"/>
                      <a:pt x="52" y="21"/>
                    </a:cubicBezTo>
                    <a:cubicBezTo>
                      <a:pt x="60" y="16"/>
                      <a:pt x="56" y="17"/>
                      <a:pt x="64" y="18"/>
                    </a:cubicBezTo>
                    <a:cubicBezTo>
                      <a:pt x="63" y="24"/>
                      <a:pt x="63" y="29"/>
                      <a:pt x="58" y="32"/>
                    </a:cubicBezTo>
                    <a:cubicBezTo>
                      <a:pt x="57" y="33"/>
                      <a:pt x="57" y="34"/>
                      <a:pt x="56" y="35"/>
                    </a:cubicBezTo>
                    <a:cubicBezTo>
                      <a:pt x="55" y="36"/>
                      <a:pt x="53" y="36"/>
                      <a:pt x="52" y="37"/>
                    </a:cubicBezTo>
                    <a:cubicBezTo>
                      <a:pt x="45" y="45"/>
                      <a:pt x="52" y="44"/>
                      <a:pt x="40" y="50"/>
                    </a:cubicBezTo>
                    <a:cubicBezTo>
                      <a:pt x="35" y="46"/>
                      <a:pt x="33" y="43"/>
                      <a:pt x="26" y="42"/>
                    </a:cubicBezTo>
                    <a:cubicBezTo>
                      <a:pt x="24" y="36"/>
                      <a:pt x="24" y="34"/>
                      <a:pt x="19" y="31"/>
                    </a:cubicBezTo>
                    <a:cubicBezTo>
                      <a:pt x="3" y="32"/>
                      <a:pt x="0" y="38"/>
                      <a:pt x="0" y="25"/>
                    </a:cubicBezTo>
                    <a:cubicBezTo>
                      <a:pt x="0" y="19"/>
                      <a:pt x="10" y="17"/>
                      <a:pt x="15" y="15"/>
                    </a:cubicBezTo>
                    <a:cubicBezTo>
                      <a:pt x="16" y="15"/>
                      <a:pt x="18" y="14"/>
                      <a:pt x="18" y="14"/>
                    </a:cubicBezTo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38" name="Freeform 56"/>
              <p:cNvSpPr>
                <a:spLocks noChangeAspect="1"/>
              </p:cNvSpPr>
              <p:nvPr/>
            </p:nvSpPr>
            <p:spPr bwMode="auto">
              <a:xfrm>
                <a:off x="2324" y="3522"/>
                <a:ext cx="31" cy="24"/>
              </a:xfrm>
              <a:custGeom>
                <a:avLst/>
                <a:gdLst>
                  <a:gd name="T0" fmla="*/ 1 w 31"/>
                  <a:gd name="T1" fmla="*/ 0 h 24"/>
                  <a:gd name="T2" fmla="*/ 24 w 31"/>
                  <a:gd name="T3" fmla="*/ 1 h 24"/>
                  <a:gd name="T4" fmla="*/ 29 w 31"/>
                  <a:gd name="T5" fmla="*/ 21 h 24"/>
                  <a:gd name="T6" fmla="*/ 19 w 31"/>
                  <a:gd name="T7" fmla="*/ 13 h 24"/>
                  <a:gd name="T8" fmla="*/ 6 w 31"/>
                  <a:gd name="T9" fmla="*/ 10 h 24"/>
                  <a:gd name="T10" fmla="*/ 1 w 31"/>
                  <a:gd name="T11" fmla="*/ 0 h 2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1"/>
                  <a:gd name="T19" fmla="*/ 0 h 24"/>
                  <a:gd name="T20" fmla="*/ 31 w 31"/>
                  <a:gd name="T21" fmla="*/ 24 h 2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1" h="24">
                    <a:moveTo>
                      <a:pt x="1" y="0"/>
                    </a:moveTo>
                    <a:cubicBezTo>
                      <a:pt x="9" y="0"/>
                      <a:pt x="16" y="0"/>
                      <a:pt x="24" y="1"/>
                    </a:cubicBezTo>
                    <a:cubicBezTo>
                      <a:pt x="31" y="2"/>
                      <a:pt x="29" y="21"/>
                      <a:pt x="29" y="21"/>
                    </a:cubicBezTo>
                    <a:cubicBezTo>
                      <a:pt x="21" y="24"/>
                      <a:pt x="24" y="16"/>
                      <a:pt x="19" y="13"/>
                    </a:cubicBezTo>
                    <a:cubicBezTo>
                      <a:pt x="15" y="11"/>
                      <a:pt x="10" y="11"/>
                      <a:pt x="6" y="10"/>
                    </a:cubicBezTo>
                    <a:cubicBezTo>
                      <a:pt x="0" y="6"/>
                      <a:pt x="0" y="9"/>
                      <a:pt x="1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39" name="Freeform 57"/>
              <p:cNvSpPr>
                <a:spLocks noChangeAspect="1"/>
              </p:cNvSpPr>
              <p:nvPr/>
            </p:nvSpPr>
            <p:spPr bwMode="auto">
              <a:xfrm>
                <a:off x="1648" y="3145"/>
                <a:ext cx="665" cy="590"/>
              </a:xfrm>
              <a:custGeom>
                <a:avLst/>
                <a:gdLst>
                  <a:gd name="T0" fmla="*/ 395 w 665"/>
                  <a:gd name="T1" fmla="*/ 96 h 590"/>
                  <a:gd name="T2" fmla="*/ 361 w 665"/>
                  <a:gd name="T3" fmla="*/ 90 h 590"/>
                  <a:gd name="T4" fmla="*/ 337 w 665"/>
                  <a:gd name="T5" fmla="*/ 86 h 590"/>
                  <a:gd name="T6" fmla="*/ 310 w 665"/>
                  <a:gd name="T7" fmla="*/ 71 h 590"/>
                  <a:gd name="T8" fmla="*/ 258 w 665"/>
                  <a:gd name="T9" fmla="*/ 61 h 590"/>
                  <a:gd name="T10" fmla="*/ 220 w 665"/>
                  <a:gd name="T11" fmla="*/ 53 h 590"/>
                  <a:gd name="T12" fmla="*/ 137 w 665"/>
                  <a:gd name="T13" fmla="*/ 26 h 590"/>
                  <a:gd name="T14" fmla="*/ 90 w 665"/>
                  <a:gd name="T15" fmla="*/ 2 h 590"/>
                  <a:gd name="T16" fmla="*/ 66 w 665"/>
                  <a:gd name="T17" fmla="*/ 18 h 590"/>
                  <a:gd name="T18" fmla="*/ 40 w 665"/>
                  <a:gd name="T19" fmla="*/ 23 h 590"/>
                  <a:gd name="T20" fmla="*/ 15 w 665"/>
                  <a:gd name="T21" fmla="*/ 20 h 590"/>
                  <a:gd name="T22" fmla="*/ 12 w 665"/>
                  <a:gd name="T23" fmla="*/ 102 h 590"/>
                  <a:gd name="T24" fmla="*/ 29 w 665"/>
                  <a:gd name="T25" fmla="*/ 115 h 590"/>
                  <a:gd name="T26" fmla="*/ 43 w 665"/>
                  <a:gd name="T27" fmla="*/ 133 h 590"/>
                  <a:gd name="T28" fmla="*/ 129 w 665"/>
                  <a:gd name="T29" fmla="*/ 147 h 590"/>
                  <a:gd name="T30" fmla="*/ 138 w 665"/>
                  <a:gd name="T31" fmla="*/ 182 h 590"/>
                  <a:gd name="T32" fmla="*/ 99 w 665"/>
                  <a:gd name="T33" fmla="*/ 212 h 590"/>
                  <a:gd name="T34" fmla="*/ 91 w 665"/>
                  <a:gd name="T35" fmla="*/ 247 h 590"/>
                  <a:gd name="T36" fmla="*/ 82 w 665"/>
                  <a:gd name="T37" fmla="*/ 275 h 590"/>
                  <a:gd name="T38" fmla="*/ 63 w 665"/>
                  <a:gd name="T39" fmla="*/ 303 h 590"/>
                  <a:gd name="T40" fmla="*/ 45 w 665"/>
                  <a:gd name="T41" fmla="*/ 309 h 590"/>
                  <a:gd name="T42" fmla="*/ 48 w 665"/>
                  <a:gd name="T43" fmla="*/ 362 h 590"/>
                  <a:gd name="T44" fmla="*/ 34 w 665"/>
                  <a:gd name="T45" fmla="*/ 392 h 590"/>
                  <a:gd name="T46" fmla="*/ 40 w 665"/>
                  <a:gd name="T47" fmla="*/ 409 h 590"/>
                  <a:gd name="T48" fmla="*/ 23 w 665"/>
                  <a:gd name="T49" fmla="*/ 428 h 590"/>
                  <a:gd name="T50" fmla="*/ 0 w 665"/>
                  <a:gd name="T51" fmla="*/ 461 h 590"/>
                  <a:gd name="T52" fmla="*/ 34 w 665"/>
                  <a:gd name="T53" fmla="*/ 492 h 590"/>
                  <a:gd name="T54" fmla="*/ 57 w 665"/>
                  <a:gd name="T55" fmla="*/ 537 h 590"/>
                  <a:gd name="T56" fmla="*/ 75 w 665"/>
                  <a:gd name="T57" fmla="*/ 590 h 590"/>
                  <a:gd name="T58" fmla="*/ 124 w 665"/>
                  <a:gd name="T59" fmla="*/ 572 h 590"/>
                  <a:gd name="T60" fmla="*/ 186 w 665"/>
                  <a:gd name="T61" fmla="*/ 554 h 590"/>
                  <a:gd name="T62" fmla="*/ 281 w 665"/>
                  <a:gd name="T63" fmla="*/ 567 h 590"/>
                  <a:gd name="T64" fmla="*/ 336 w 665"/>
                  <a:gd name="T65" fmla="*/ 537 h 590"/>
                  <a:gd name="T66" fmla="*/ 402 w 665"/>
                  <a:gd name="T67" fmla="*/ 518 h 590"/>
                  <a:gd name="T68" fmla="*/ 438 w 665"/>
                  <a:gd name="T69" fmla="*/ 455 h 590"/>
                  <a:gd name="T70" fmla="*/ 450 w 665"/>
                  <a:gd name="T71" fmla="*/ 425 h 590"/>
                  <a:gd name="T72" fmla="*/ 435 w 665"/>
                  <a:gd name="T73" fmla="*/ 405 h 590"/>
                  <a:gd name="T74" fmla="*/ 456 w 665"/>
                  <a:gd name="T75" fmla="*/ 371 h 590"/>
                  <a:gd name="T76" fmla="*/ 480 w 665"/>
                  <a:gd name="T77" fmla="*/ 341 h 590"/>
                  <a:gd name="T78" fmla="*/ 497 w 665"/>
                  <a:gd name="T79" fmla="*/ 315 h 590"/>
                  <a:gd name="T80" fmla="*/ 522 w 665"/>
                  <a:gd name="T81" fmla="*/ 297 h 590"/>
                  <a:gd name="T82" fmla="*/ 549 w 665"/>
                  <a:gd name="T83" fmla="*/ 281 h 590"/>
                  <a:gd name="T84" fmla="*/ 607 w 665"/>
                  <a:gd name="T85" fmla="*/ 267 h 590"/>
                  <a:gd name="T86" fmla="*/ 640 w 665"/>
                  <a:gd name="T87" fmla="*/ 251 h 590"/>
                  <a:gd name="T88" fmla="*/ 659 w 665"/>
                  <a:gd name="T89" fmla="*/ 191 h 590"/>
                  <a:gd name="T90" fmla="*/ 598 w 665"/>
                  <a:gd name="T91" fmla="*/ 193 h 590"/>
                  <a:gd name="T92" fmla="*/ 569 w 665"/>
                  <a:gd name="T93" fmla="*/ 170 h 590"/>
                  <a:gd name="T94" fmla="*/ 531 w 665"/>
                  <a:gd name="T95" fmla="*/ 162 h 590"/>
                  <a:gd name="T96" fmla="*/ 504 w 665"/>
                  <a:gd name="T97" fmla="*/ 159 h 590"/>
                  <a:gd name="T98" fmla="*/ 467 w 665"/>
                  <a:gd name="T99" fmla="*/ 143 h 590"/>
                  <a:gd name="T100" fmla="*/ 437 w 665"/>
                  <a:gd name="T101" fmla="*/ 131 h 590"/>
                  <a:gd name="T102" fmla="*/ 418 w 665"/>
                  <a:gd name="T103" fmla="*/ 89 h 590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665"/>
                  <a:gd name="T157" fmla="*/ 0 h 590"/>
                  <a:gd name="T158" fmla="*/ 665 w 665"/>
                  <a:gd name="T159" fmla="*/ 590 h 590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665" h="590">
                    <a:moveTo>
                      <a:pt x="418" y="89"/>
                    </a:moveTo>
                    <a:cubicBezTo>
                      <a:pt x="411" y="90"/>
                      <a:pt x="402" y="95"/>
                      <a:pt x="395" y="96"/>
                    </a:cubicBezTo>
                    <a:cubicBezTo>
                      <a:pt x="384" y="95"/>
                      <a:pt x="382" y="94"/>
                      <a:pt x="373" y="92"/>
                    </a:cubicBezTo>
                    <a:cubicBezTo>
                      <a:pt x="369" y="91"/>
                      <a:pt x="361" y="90"/>
                      <a:pt x="361" y="90"/>
                    </a:cubicBezTo>
                    <a:cubicBezTo>
                      <a:pt x="358" y="86"/>
                      <a:pt x="356" y="84"/>
                      <a:pt x="351" y="83"/>
                    </a:cubicBezTo>
                    <a:cubicBezTo>
                      <a:pt x="346" y="84"/>
                      <a:pt x="337" y="86"/>
                      <a:pt x="337" y="86"/>
                    </a:cubicBezTo>
                    <a:cubicBezTo>
                      <a:pt x="332" y="84"/>
                      <a:pt x="332" y="78"/>
                      <a:pt x="327" y="75"/>
                    </a:cubicBezTo>
                    <a:cubicBezTo>
                      <a:pt x="323" y="73"/>
                      <a:pt x="315" y="72"/>
                      <a:pt x="310" y="71"/>
                    </a:cubicBezTo>
                    <a:cubicBezTo>
                      <a:pt x="302" y="70"/>
                      <a:pt x="285" y="68"/>
                      <a:pt x="285" y="68"/>
                    </a:cubicBezTo>
                    <a:cubicBezTo>
                      <a:pt x="274" y="64"/>
                      <a:pt x="271" y="62"/>
                      <a:pt x="258" y="61"/>
                    </a:cubicBezTo>
                    <a:cubicBezTo>
                      <a:pt x="249" y="58"/>
                      <a:pt x="240" y="57"/>
                      <a:pt x="231" y="56"/>
                    </a:cubicBezTo>
                    <a:cubicBezTo>
                      <a:pt x="227" y="55"/>
                      <a:pt x="224" y="54"/>
                      <a:pt x="220" y="53"/>
                    </a:cubicBezTo>
                    <a:cubicBezTo>
                      <a:pt x="210" y="43"/>
                      <a:pt x="202" y="37"/>
                      <a:pt x="187" y="35"/>
                    </a:cubicBezTo>
                    <a:cubicBezTo>
                      <a:pt x="168" y="29"/>
                      <a:pt x="160" y="27"/>
                      <a:pt x="137" y="26"/>
                    </a:cubicBezTo>
                    <a:cubicBezTo>
                      <a:pt x="128" y="24"/>
                      <a:pt x="125" y="15"/>
                      <a:pt x="115" y="13"/>
                    </a:cubicBezTo>
                    <a:cubicBezTo>
                      <a:pt x="103" y="5"/>
                      <a:pt x="107" y="3"/>
                      <a:pt x="90" y="2"/>
                    </a:cubicBezTo>
                    <a:cubicBezTo>
                      <a:pt x="84" y="0"/>
                      <a:pt x="84" y="4"/>
                      <a:pt x="79" y="7"/>
                    </a:cubicBezTo>
                    <a:cubicBezTo>
                      <a:pt x="77" y="12"/>
                      <a:pt x="71" y="17"/>
                      <a:pt x="66" y="18"/>
                    </a:cubicBezTo>
                    <a:cubicBezTo>
                      <a:pt x="62" y="21"/>
                      <a:pt x="59" y="24"/>
                      <a:pt x="54" y="26"/>
                    </a:cubicBezTo>
                    <a:cubicBezTo>
                      <a:pt x="49" y="25"/>
                      <a:pt x="45" y="25"/>
                      <a:pt x="40" y="23"/>
                    </a:cubicBezTo>
                    <a:cubicBezTo>
                      <a:pt x="38" y="18"/>
                      <a:pt x="33" y="18"/>
                      <a:pt x="28" y="17"/>
                    </a:cubicBezTo>
                    <a:cubicBezTo>
                      <a:pt x="24" y="18"/>
                      <a:pt x="15" y="20"/>
                      <a:pt x="15" y="20"/>
                    </a:cubicBezTo>
                    <a:cubicBezTo>
                      <a:pt x="6" y="33"/>
                      <a:pt x="14" y="53"/>
                      <a:pt x="16" y="68"/>
                    </a:cubicBezTo>
                    <a:cubicBezTo>
                      <a:pt x="15" y="91"/>
                      <a:pt x="15" y="87"/>
                      <a:pt x="12" y="102"/>
                    </a:cubicBezTo>
                    <a:cubicBezTo>
                      <a:pt x="12" y="109"/>
                      <a:pt x="7" y="121"/>
                      <a:pt x="16" y="119"/>
                    </a:cubicBezTo>
                    <a:cubicBezTo>
                      <a:pt x="23" y="120"/>
                      <a:pt x="24" y="116"/>
                      <a:pt x="29" y="115"/>
                    </a:cubicBezTo>
                    <a:cubicBezTo>
                      <a:pt x="42" y="116"/>
                      <a:pt x="45" y="111"/>
                      <a:pt x="49" y="122"/>
                    </a:cubicBezTo>
                    <a:cubicBezTo>
                      <a:pt x="48" y="127"/>
                      <a:pt x="47" y="130"/>
                      <a:pt x="43" y="133"/>
                    </a:cubicBezTo>
                    <a:cubicBezTo>
                      <a:pt x="55" y="141"/>
                      <a:pt x="67" y="139"/>
                      <a:pt x="81" y="141"/>
                    </a:cubicBezTo>
                    <a:cubicBezTo>
                      <a:pt x="97" y="140"/>
                      <a:pt x="117" y="135"/>
                      <a:pt x="129" y="147"/>
                    </a:cubicBezTo>
                    <a:cubicBezTo>
                      <a:pt x="133" y="158"/>
                      <a:pt x="130" y="164"/>
                      <a:pt x="141" y="170"/>
                    </a:cubicBezTo>
                    <a:cubicBezTo>
                      <a:pt x="142" y="175"/>
                      <a:pt x="142" y="178"/>
                      <a:pt x="138" y="182"/>
                    </a:cubicBezTo>
                    <a:cubicBezTo>
                      <a:pt x="133" y="196"/>
                      <a:pt x="121" y="196"/>
                      <a:pt x="109" y="199"/>
                    </a:cubicBezTo>
                    <a:cubicBezTo>
                      <a:pt x="105" y="204"/>
                      <a:pt x="102" y="207"/>
                      <a:pt x="99" y="212"/>
                    </a:cubicBezTo>
                    <a:cubicBezTo>
                      <a:pt x="98" y="217"/>
                      <a:pt x="95" y="227"/>
                      <a:pt x="95" y="227"/>
                    </a:cubicBezTo>
                    <a:cubicBezTo>
                      <a:pt x="94" y="237"/>
                      <a:pt x="95" y="239"/>
                      <a:pt x="91" y="247"/>
                    </a:cubicBezTo>
                    <a:cubicBezTo>
                      <a:pt x="90" y="255"/>
                      <a:pt x="91" y="263"/>
                      <a:pt x="82" y="266"/>
                    </a:cubicBezTo>
                    <a:cubicBezTo>
                      <a:pt x="78" y="270"/>
                      <a:pt x="80" y="270"/>
                      <a:pt x="82" y="275"/>
                    </a:cubicBezTo>
                    <a:cubicBezTo>
                      <a:pt x="81" y="282"/>
                      <a:pt x="78" y="291"/>
                      <a:pt x="73" y="296"/>
                    </a:cubicBezTo>
                    <a:cubicBezTo>
                      <a:pt x="72" y="300"/>
                      <a:pt x="63" y="303"/>
                      <a:pt x="63" y="303"/>
                    </a:cubicBezTo>
                    <a:cubicBezTo>
                      <a:pt x="59" y="302"/>
                      <a:pt x="55" y="301"/>
                      <a:pt x="51" y="300"/>
                    </a:cubicBezTo>
                    <a:cubicBezTo>
                      <a:pt x="40" y="301"/>
                      <a:pt x="41" y="301"/>
                      <a:pt x="45" y="309"/>
                    </a:cubicBezTo>
                    <a:cubicBezTo>
                      <a:pt x="45" y="316"/>
                      <a:pt x="54" y="336"/>
                      <a:pt x="54" y="345"/>
                    </a:cubicBezTo>
                    <a:cubicBezTo>
                      <a:pt x="65" y="351"/>
                      <a:pt x="54" y="358"/>
                      <a:pt x="48" y="362"/>
                    </a:cubicBezTo>
                    <a:cubicBezTo>
                      <a:pt x="44" y="369"/>
                      <a:pt x="40" y="375"/>
                      <a:pt x="37" y="383"/>
                    </a:cubicBezTo>
                    <a:cubicBezTo>
                      <a:pt x="36" y="386"/>
                      <a:pt x="35" y="389"/>
                      <a:pt x="34" y="392"/>
                    </a:cubicBezTo>
                    <a:cubicBezTo>
                      <a:pt x="34" y="393"/>
                      <a:pt x="33" y="395"/>
                      <a:pt x="33" y="395"/>
                    </a:cubicBezTo>
                    <a:cubicBezTo>
                      <a:pt x="35" y="401"/>
                      <a:pt x="35" y="405"/>
                      <a:pt x="40" y="409"/>
                    </a:cubicBezTo>
                    <a:cubicBezTo>
                      <a:pt x="43" y="415"/>
                      <a:pt x="48" y="416"/>
                      <a:pt x="39" y="422"/>
                    </a:cubicBezTo>
                    <a:cubicBezTo>
                      <a:pt x="35" y="427"/>
                      <a:pt x="29" y="427"/>
                      <a:pt x="23" y="428"/>
                    </a:cubicBezTo>
                    <a:cubicBezTo>
                      <a:pt x="21" y="435"/>
                      <a:pt x="24" y="427"/>
                      <a:pt x="13" y="434"/>
                    </a:cubicBezTo>
                    <a:cubicBezTo>
                      <a:pt x="12" y="435"/>
                      <a:pt x="1" y="458"/>
                      <a:pt x="0" y="461"/>
                    </a:cubicBezTo>
                    <a:cubicBezTo>
                      <a:pt x="1" y="470"/>
                      <a:pt x="2" y="466"/>
                      <a:pt x="4" y="483"/>
                    </a:cubicBezTo>
                    <a:cubicBezTo>
                      <a:pt x="21" y="477"/>
                      <a:pt x="25" y="483"/>
                      <a:pt x="34" y="492"/>
                    </a:cubicBezTo>
                    <a:cubicBezTo>
                      <a:pt x="37" y="500"/>
                      <a:pt x="39" y="510"/>
                      <a:pt x="46" y="515"/>
                    </a:cubicBezTo>
                    <a:cubicBezTo>
                      <a:pt x="51" y="522"/>
                      <a:pt x="52" y="530"/>
                      <a:pt x="57" y="537"/>
                    </a:cubicBezTo>
                    <a:cubicBezTo>
                      <a:pt x="59" y="550"/>
                      <a:pt x="58" y="545"/>
                      <a:pt x="60" y="552"/>
                    </a:cubicBezTo>
                    <a:cubicBezTo>
                      <a:pt x="62" y="565"/>
                      <a:pt x="68" y="579"/>
                      <a:pt x="75" y="590"/>
                    </a:cubicBezTo>
                    <a:cubicBezTo>
                      <a:pt x="87" y="587"/>
                      <a:pt x="97" y="579"/>
                      <a:pt x="111" y="577"/>
                    </a:cubicBezTo>
                    <a:cubicBezTo>
                      <a:pt x="116" y="575"/>
                      <a:pt x="120" y="573"/>
                      <a:pt x="124" y="572"/>
                    </a:cubicBezTo>
                    <a:cubicBezTo>
                      <a:pt x="133" y="563"/>
                      <a:pt x="142" y="565"/>
                      <a:pt x="155" y="564"/>
                    </a:cubicBezTo>
                    <a:cubicBezTo>
                      <a:pt x="166" y="561"/>
                      <a:pt x="175" y="555"/>
                      <a:pt x="186" y="554"/>
                    </a:cubicBezTo>
                    <a:cubicBezTo>
                      <a:pt x="198" y="555"/>
                      <a:pt x="204" y="560"/>
                      <a:pt x="216" y="561"/>
                    </a:cubicBezTo>
                    <a:cubicBezTo>
                      <a:pt x="236" y="569"/>
                      <a:pt x="260" y="566"/>
                      <a:pt x="281" y="567"/>
                    </a:cubicBezTo>
                    <a:cubicBezTo>
                      <a:pt x="302" y="566"/>
                      <a:pt x="289" y="572"/>
                      <a:pt x="309" y="569"/>
                    </a:cubicBezTo>
                    <a:cubicBezTo>
                      <a:pt x="312" y="567"/>
                      <a:pt x="336" y="537"/>
                      <a:pt x="336" y="537"/>
                    </a:cubicBezTo>
                    <a:cubicBezTo>
                      <a:pt x="340" y="526"/>
                      <a:pt x="358" y="529"/>
                      <a:pt x="370" y="527"/>
                    </a:cubicBezTo>
                    <a:cubicBezTo>
                      <a:pt x="394" y="528"/>
                      <a:pt x="396" y="531"/>
                      <a:pt x="402" y="518"/>
                    </a:cubicBezTo>
                    <a:cubicBezTo>
                      <a:pt x="400" y="507"/>
                      <a:pt x="404" y="486"/>
                      <a:pt x="414" y="483"/>
                    </a:cubicBezTo>
                    <a:cubicBezTo>
                      <a:pt x="421" y="474"/>
                      <a:pt x="431" y="462"/>
                      <a:pt x="438" y="455"/>
                    </a:cubicBezTo>
                    <a:cubicBezTo>
                      <a:pt x="440" y="449"/>
                      <a:pt x="455" y="453"/>
                      <a:pt x="459" y="447"/>
                    </a:cubicBezTo>
                    <a:cubicBezTo>
                      <a:pt x="458" y="439"/>
                      <a:pt x="459" y="428"/>
                      <a:pt x="450" y="425"/>
                    </a:cubicBezTo>
                    <a:cubicBezTo>
                      <a:pt x="448" y="421"/>
                      <a:pt x="443" y="418"/>
                      <a:pt x="439" y="415"/>
                    </a:cubicBezTo>
                    <a:cubicBezTo>
                      <a:pt x="437" y="412"/>
                      <a:pt x="435" y="405"/>
                      <a:pt x="435" y="405"/>
                    </a:cubicBezTo>
                    <a:cubicBezTo>
                      <a:pt x="438" y="394"/>
                      <a:pt x="439" y="390"/>
                      <a:pt x="445" y="381"/>
                    </a:cubicBezTo>
                    <a:cubicBezTo>
                      <a:pt x="448" y="377"/>
                      <a:pt x="456" y="371"/>
                      <a:pt x="456" y="371"/>
                    </a:cubicBezTo>
                    <a:cubicBezTo>
                      <a:pt x="458" y="365"/>
                      <a:pt x="466" y="355"/>
                      <a:pt x="471" y="350"/>
                    </a:cubicBezTo>
                    <a:cubicBezTo>
                      <a:pt x="474" y="347"/>
                      <a:pt x="480" y="341"/>
                      <a:pt x="480" y="341"/>
                    </a:cubicBezTo>
                    <a:cubicBezTo>
                      <a:pt x="481" y="337"/>
                      <a:pt x="486" y="333"/>
                      <a:pt x="489" y="330"/>
                    </a:cubicBezTo>
                    <a:cubicBezTo>
                      <a:pt x="491" y="325"/>
                      <a:pt x="492" y="317"/>
                      <a:pt x="497" y="315"/>
                    </a:cubicBezTo>
                    <a:cubicBezTo>
                      <a:pt x="499" y="310"/>
                      <a:pt x="505" y="306"/>
                      <a:pt x="509" y="303"/>
                    </a:cubicBezTo>
                    <a:cubicBezTo>
                      <a:pt x="511" y="300"/>
                      <a:pt x="519" y="300"/>
                      <a:pt x="522" y="297"/>
                    </a:cubicBezTo>
                    <a:cubicBezTo>
                      <a:pt x="524" y="295"/>
                      <a:pt x="528" y="293"/>
                      <a:pt x="528" y="293"/>
                    </a:cubicBezTo>
                    <a:cubicBezTo>
                      <a:pt x="530" y="286"/>
                      <a:pt x="542" y="282"/>
                      <a:pt x="549" y="281"/>
                    </a:cubicBezTo>
                    <a:cubicBezTo>
                      <a:pt x="560" y="276"/>
                      <a:pt x="574" y="277"/>
                      <a:pt x="586" y="275"/>
                    </a:cubicBezTo>
                    <a:cubicBezTo>
                      <a:pt x="592" y="271"/>
                      <a:pt x="600" y="270"/>
                      <a:pt x="607" y="267"/>
                    </a:cubicBezTo>
                    <a:cubicBezTo>
                      <a:pt x="610" y="266"/>
                      <a:pt x="616" y="264"/>
                      <a:pt x="616" y="264"/>
                    </a:cubicBezTo>
                    <a:cubicBezTo>
                      <a:pt x="621" y="259"/>
                      <a:pt x="633" y="254"/>
                      <a:pt x="640" y="251"/>
                    </a:cubicBezTo>
                    <a:cubicBezTo>
                      <a:pt x="643" y="247"/>
                      <a:pt x="650" y="243"/>
                      <a:pt x="654" y="240"/>
                    </a:cubicBezTo>
                    <a:cubicBezTo>
                      <a:pt x="665" y="218"/>
                      <a:pt x="665" y="199"/>
                      <a:pt x="659" y="191"/>
                    </a:cubicBezTo>
                    <a:lnTo>
                      <a:pt x="616" y="194"/>
                    </a:lnTo>
                    <a:lnTo>
                      <a:pt x="598" y="193"/>
                    </a:lnTo>
                    <a:lnTo>
                      <a:pt x="593" y="179"/>
                    </a:lnTo>
                    <a:lnTo>
                      <a:pt x="569" y="170"/>
                    </a:lnTo>
                    <a:lnTo>
                      <a:pt x="539" y="153"/>
                    </a:lnTo>
                    <a:lnTo>
                      <a:pt x="531" y="162"/>
                    </a:lnTo>
                    <a:lnTo>
                      <a:pt x="519" y="164"/>
                    </a:lnTo>
                    <a:lnTo>
                      <a:pt x="504" y="159"/>
                    </a:lnTo>
                    <a:lnTo>
                      <a:pt x="486" y="156"/>
                    </a:lnTo>
                    <a:lnTo>
                      <a:pt x="467" y="143"/>
                    </a:lnTo>
                    <a:lnTo>
                      <a:pt x="455" y="131"/>
                    </a:lnTo>
                    <a:lnTo>
                      <a:pt x="437" y="131"/>
                    </a:lnTo>
                    <a:lnTo>
                      <a:pt x="419" y="110"/>
                    </a:lnTo>
                    <a:lnTo>
                      <a:pt x="418" y="89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</p:grpSp>
        <p:grpSp>
          <p:nvGrpSpPr>
            <p:cNvPr id="266" name="Group 58"/>
            <p:cNvGrpSpPr>
              <a:grpSpLocks/>
            </p:cNvGrpSpPr>
            <p:nvPr/>
          </p:nvGrpSpPr>
          <p:grpSpPr bwMode="auto">
            <a:xfrm>
              <a:off x="2355" y="2602"/>
              <a:ext cx="422" cy="564"/>
              <a:chOff x="2491" y="2445"/>
              <a:chExt cx="418" cy="558"/>
            </a:xfrm>
            <a:grpFill/>
          </p:grpSpPr>
          <p:grpSp>
            <p:nvGrpSpPr>
              <p:cNvPr id="331" name="Group 59"/>
              <p:cNvGrpSpPr>
                <a:grpSpLocks noChangeAspect="1"/>
              </p:cNvGrpSpPr>
              <p:nvPr/>
            </p:nvGrpSpPr>
            <p:grpSpPr bwMode="auto">
              <a:xfrm>
                <a:off x="2491" y="2445"/>
                <a:ext cx="418" cy="558"/>
                <a:chOff x="2492" y="2445"/>
                <a:chExt cx="418" cy="558"/>
              </a:xfrm>
              <a:grpFill/>
            </p:grpSpPr>
            <p:sp>
              <p:nvSpPr>
                <p:cNvPr id="333" name="Freeform 60"/>
                <p:cNvSpPr>
                  <a:spLocks noChangeAspect="1"/>
                </p:cNvSpPr>
                <p:nvPr/>
              </p:nvSpPr>
              <p:spPr bwMode="auto">
                <a:xfrm>
                  <a:off x="2606" y="2445"/>
                  <a:ext cx="12" cy="31"/>
                </a:xfrm>
                <a:custGeom>
                  <a:avLst/>
                  <a:gdLst>
                    <a:gd name="T0" fmla="*/ 6 w 12"/>
                    <a:gd name="T1" fmla="*/ 0 h 31"/>
                    <a:gd name="T2" fmla="*/ 0 w 12"/>
                    <a:gd name="T3" fmla="*/ 12 h 31"/>
                    <a:gd name="T4" fmla="*/ 3 w 12"/>
                    <a:gd name="T5" fmla="*/ 31 h 31"/>
                    <a:gd name="T6" fmla="*/ 6 w 12"/>
                    <a:gd name="T7" fmla="*/ 0 h 31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2"/>
                    <a:gd name="T13" fmla="*/ 0 h 31"/>
                    <a:gd name="T14" fmla="*/ 12 w 12"/>
                    <a:gd name="T15" fmla="*/ 31 h 31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2" h="31">
                      <a:moveTo>
                        <a:pt x="6" y="0"/>
                      </a:moveTo>
                      <a:cubicBezTo>
                        <a:pt x="5" y="4"/>
                        <a:pt x="0" y="12"/>
                        <a:pt x="0" y="12"/>
                      </a:cubicBezTo>
                      <a:cubicBezTo>
                        <a:pt x="1" y="18"/>
                        <a:pt x="2" y="25"/>
                        <a:pt x="3" y="31"/>
                      </a:cubicBezTo>
                      <a:cubicBezTo>
                        <a:pt x="12" y="22"/>
                        <a:pt x="8" y="11"/>
                        <a:pt x="6" y="0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orpoS" pitchFamily="2" charset="0"/>
                    <a:ea typeface="+mn-ea"/>
                  </a:endParaRPr>
                </a:p>
              </p:txBody>
            </p:sp>
            <p:sp>
              <p:nvSpPr>
                <p:cNvPr id="334" name="Freeform 61"/>
                <p:cNvSpPr>
                  <a:spLocks noChangeAspect="1"/>
                </p:cNvSpPr>
                <p:nvPr/>
              </p:nvSpPr>
              <p:spPr bwMode="auto">
                <a:xfrm>
                  <a:off x="2492" y="2450"/>
                  <a:ext cx="418" cy="553"/>
                </a:xfrm>
                <a:custGeom>
                  <a:avLst/>
                  <a:gdLst>
                    <a:gd name="T0" fmla="*/ 351 w 418"/>
                    <a:gd name="T1" fmla="*/ 427 h 553"/>
                    <a:gd name="T2" fmla="*/ 335 w 418"/>
                    <a:gd name="T3" fmla="*/ 412 h 553"/>
                    <a:gd name="T4" fmla="*/ 320 w 418"/>
                    <a:gd name="T5" fmla="*/ 398 h 553"/>
                    <a:gd name="T6" fmla="*/ 303 w 418"/>
                    <a:gd name="T7" fmla="*/ 379 h 553"/>
                    <a:gd name="T8" fmla="*/ 287 w 418"/>
                    <a:gd name="T9" fmla="*/ 344 h 553"/>
                    <a:gd name="T10" fmla="*/ 313 w 418"/>
                    <a:gd name="T11" fmla="*/ 328 h 553"/>
                    <a:gd name="T12" fmla="*/ 354 w 418"/>
                    <a:gd name="T13" fmla="*/ 306 h 553"/>
                    <a:gd name="T14" fmla="*/ 371 w 418"/>
                    <a:gd name="T15" fmla="*/ 298 h 553"/>
                    <a:gd name="T16" fmla="*/ 398 w 418"/>
                    <a:gd name="T17" fmla="*/ 287 h 553"/>
                    <a:gd name="T18" fmla="*/ 411 w 418"/>
                    <a:gd name="T19" fmla="*/ 263 h 553"/>
                    <a:gd name="T20" fmla="*/ 411 w 418"/>
                    <a:gd name="T21" fmla="*/ 242 h 553"/>
                    <a:gd name="T22" fmla="*/ 393 w 418"/>
                    <a:gd name="T23" fmla="*/ 214 h 553"/>
                    <a:gd name="T24" fmla="*/ 392 w 418"/>
                    <a:gd name="T25" fmla="*/ 172 h 553"/>
                    <a:gd name="T26" fmla="*/ 381 w 418"/>
                    <a:gd name="T27" fmla="*/ 154 h 553"/>
                    <a:gd name="T28" fmla="*/ 371 w 418"/>
                    <a:gd name="T29" fmla="*/ 137 h 553"/>
                    <a:gd name="T30" fmla="*/ 371 w 418"/>
                    <a:gd name="T31" fmla="*/ 86 h 553"/>
                    <a:gd name="T32" fmla="*/ 345 w 418"/>
                    <a:gd name="T33" fmla="*/ 59 h 553"/>
                    <a:gd name="T34" fmla="*/ 326 w 418"/>
                    <a:gd name="T35" fmla="*/ 44 h 553"/>
                    <a:gd name="T36" fmla="*/ 303 w 418"/>
                    <a:gd name="T37" fmla="*/ 38 h 553"/>
                    <a:gd name="T38" fmla="*/ 254 w 418"/>
                    <a:gd name="T39" fmla="*/ 61 h 553"/>
                    <a:gd name="T40" fmla="*/ 233 w 418"/>
                    <a:gd name="T41" fmla="*/ 44 h 553"/>
                    <a:gd name="T42" fmla="*/ 195 w 418"/>
                    <a:gd name="T43" fmla="*/ 37 h 553"/>
                    <a:gd name="T44" fmla="*/ 162 w 418"/>
                    <a:gd name="T45" fmla="*/ 6 h 553"/>
                    <a:gd name="T46" fmla="*/ 129 w 418"/>
                    <a:gd name="T47" fmla="*/ 1 h 553"/>
                    <a:gd name="T48" fmla="*/ 138 w 418"/>
                    <a:gd name="T49" fmla="*/ 18 h 553"/>
                    <a:gd name="T50" fmla="*/ 141 w 418"/>
                    <a:gd name="T51" fmla="*/ 46 h 553"/>
                    <a:gd name="T52" fmla="*/ 131 w 418"/>
                    <a:gd name="T53" fmla="*/ 79 h 553"/>
                    <a:gd name="T54" fmla="*/ 117 w 418"/>
                    <a:gd name="T55" fmla="*/ 103 h 553"/>
                    <a:gd name="T56" fmla="*/ 92 w 418"/>
                    <a:gd name="T57" fmla="*/ 86 h 553"/>
                    <a:gd name="T58" fmla="*/ 63 w 418"/>
                    <a:gd name="T59" fmla="*/ 113 h 553"/>
                    <a:gd name="T60" fmla="*/ 63 w 418"/>
                    <a:gd name="T61" fmla="*/ 145 h 553"/>
                    <a:gd name="T62" fmla="*/ 51 w 418"/>
                    <a:gd name="T63" fmla="*/ 167 h 553"/>
                    <a:gd name="T64" fmla="*/ 39 w 418"/>
                    <a:gd name="T65" fmla="*/ 164 h 553"/>
                    <a:gd name="T66" fmla="*/ 57 w 418"/>
                    <a:gd name="T67" fmla="*/ 185 h 553"/>
                    <a:gd name="T68" fmla="*/ 44 w 418"/>
                    <a:gd name="T69" fmla="*/ 200 h 553"/>
                    <a:gd name="T70" fmla="*/ 9 w 418"/>
                    <a:gd name="T71" fmla="*/ 220 h 553"/>
                    <a:gd name="T72" fmla="*/ 13 w 418"/>
                    <a:gd name="T73" fmla="*/ 242 h 553"/>
                    <a:gd name="T74" fmla="*/ 0 w 418"/>
                    <a:gd name="T75" fmla="*/ 280 h 553"/>
                    <a:gd name="T76" fmla="*/ 3 w 418"/>
                    <a:gd name="T77" fmla="*/ 295 h 553"/>
                    <a:gd name="T78" fmla="*/ 18 w 418"/>
                    <a:gd name="T79" fmla="*/ 328 h 553"/>
                    <a:gd name="T80" fmla="*/ 7 w 418"/>
                    <a:gd name="T81" fmla="*/ 350 h 553"/>
                    <a:gd name="T82" fmla="*/ 18 w 418"/>
                    <a:gd name="T83" fmla="*/ 392 h 553"/>
                    <a:gd name="T84" fmla="*/ 65 w 418"/>
                    <a:gd name="T85" fmla="*/ 415 h 553"/>
                    <a:gd name="T86" fmla="*/ 102 w 418"/>
                    <a:gd name="T87" fmla="*/ 434 h 553"/>
                    <a:gd name="T88" fmla="*/ 81 w 418"/>
                    <a:gd name="T89" fmla="*/ 455 h 553"/>
                    <a:gd name="T90" fmla="*/ 66 w 418"/>
                    <a:gd name="T91" fmla="*/ 509 h 553"/>
                    <a:gd name="T92" fmla="*/ 111 w 418"/>
                    <a:gd name="T93" fmla="*/ 532 h 553"/>
                    <a:gd name="T94" fmla="*/ 111 w 418"/>
                    <a:gd name="T95" fmla="*/ 514 h 553"/>
                    <a:gd name="T96" fmla="*/ 134 w 418"/>
                    <a:gd name="T97" fmla="*/ 528 h 553"/>
                    <a:gd name="T98" fmla="*/ 157 w 418"/>
                    <a:gd name="T99" fmla="*/ 526 h 553"/>
                    <a:gd name="T100" fmla="*/ 188 w 418"/>
                    <a:gd name="T101" fmla="*/ 541 h 553"/>
                    <a:gd name="T102" fmla="*/ 204 w 418"/>
                    <a:gd name="T103" fmla="*/ 553 h 553"/>
                    <a:gd name="T104" fmla="*/ 231 w 418"/>
                    <a:gd name="T105" fmla="*/ 542 h 553"/>
                    <a:gd name="T106" fmla="*/ 258 w 418"/>
                    <a:gd name="T107" fmla="*/ 540 h 553"/>
                    <a:gd name="T108" fmla="*/ 299 w 418"/>
                    <a:gd name="T109" fmla="*/ 523 h 553"/>
                    <a:gd name="T110" fmla="*/ 324 w 418"/>
                    <a:gd name="T111" fmla="*/ 527 h 553"/>
                    <a:gd name="T112" fmla="*/ 333 w 418"/>
                    <a:gd name="T113" fmla="*/ 522 h 553"/>
                    <a:gd name="T114" fmla="*/ 320 w 418"/>
                    <a:gd name="T115" fmla="*/ 490 h 553"/>
                    <a:gd name="T116" fmla="*/ 348 w 418"/>
                    <a:gd name="T117" fmla="*/ 473 h 553"/>
                    <a:gd name="T118" fmla="*/ 369 w 418"/>
                    <a:gd name="T119" fmla="*/ 444 h 553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w 418"/>
                    <a:gd name="T181" fmla="*/ 0 h 553"/>
                    <a:gd name="T182" fmla="*/ 418 w 418"/>
                    <a:gd name="T183" fmla="*/ 553 h 553"/>
                  </a:gdLst>
                  <a:ahLst/>
                  <a:cxnLst>
                    <a:cxn ang="T120">
                      <a:pos x="T0" y="T1"/>
                    </a:cxn>
                    <a:cxn ang="T121">
                      <a:pos x="T2" y="T3"/>
                    </a:cxn>
                    <a:cxn ang="T122">
                      <a:pos x="T4" y="T5"/>
                    </a:cxn>
                    <a:cxn ang="T123">
                      <a:pos x="T6" y="T7"/>
                    </a:cxn>
                    <a:cxn ang="T124">
                      <a:pos x="T8" y="T9"/>
                    </a:cxn>
                    <a:cxn ang="T125">
                      <a:pos x="T10" y="T11"/>
                    </a:cxn>
                    <a:cxn ang="T126">
                      <a:pos x="T12" y="T13"/>
                    </a:cxn>
                    <a:cxn ang="T127">
                      <a:pos x="T14" y="T15"/>
                    </a:cxn>
                    <a:cxn ang="T128">
                      <a:pos x="T16" y="T17"/>
                    </a:cxn>
                    <a:cxn ang="T129">
                      <a:pos x="T18" y="T19"/>
                    </a:cxn>
                    <a:cxn ang="T130">
                      <a:pos x="T20" y="T21"/>
                    </a:cxn>
                    <a:cxn ang="T131">
                      <a:pos x="T22" y="T23"/>
                    </a:cxn>
                    <a:cxn ang="T132">
                      <a:pos x="T24" y="T25"/>
                    </a:cxn>
                    <a:cxn ang="T133">
                      <a:pos x="T26" y="T27"/>
                    </a:cxn>
                    <a:cxn ang="T134">
                      <a:pos x="T28" y="T29"/>
                    </a:cxn>
                    <a:cxn ang="T135">
                      <a:pos x="T30" y="T31"/>
                    </a:cxn>
                    <a:cxn ang="T136">
                      <a:pos x="T32" y="T33"/>
                    </a:cxn>
                    <a:cxn ang="T137">
                      <a:pos x="T34" y="T35"/>
                    </a:cxn>
                    <a:cxn ang="T138">
                      <a:pos x="T36" y="T37"/>
                    </a:cxn>
                    <a:cxn ang="T139">
                      <a:pos x="T38" y="T39"/>
                    </a:cxn>
                    <a:cxn ang="T140">
                      <a:pos x="T40" y="T41"/>
                    </a:cxn>
                    <a:cxn ang="T141">
                      <a:pos x="T42" y="T43"/>
                    </a:cxn>
                    <a:cxn ang="T142">
                      <a:pos x="T44" y="T45"/>
                    </a:cxn>
                    <a:cxn ang="T143">
                      <a:pos x="T46" y="T47"/>
                    </a:cxn>
                    <a:cxn ang="T144">
                      <a:pos x="T48" y="T49"/>
                    </a:cxn>
                    <a:cxn ang="T145">
                      <a:pos x="T50" y="T51"/>
                    </a:cxn>
                    <a:cxn ang="T146">
                      <a:pos x="T52" y="T53"/>
                    </a:cxn>
                    <a:cxn ang="T147">
                      <a:pos x="T54" y="T55"/>
                    </a:cxn>
                    <a:cxn ang="T148">
                      <a:pos x="T56" y="T57"/>
                    </a:cxn>
                    <a:cxn ang="T149">
                      <a:pos x="T58" y="T59"/>
                    </a:cxn>
                    <a:cxn ang="T150">
                      <a:pos x="T60" y="T61"/>
                    </a:cxn>
                    <a:cxn ang="T151">
                      <a:pos x="T62" y="T63"/>
                    </a:cxn>
                    <a:cxn ang="T152">
                      <a:pos x="T64" y="T65"/>
                    </a:cxn>
                    <a:cxn ang="T153">
                      <a:pos x="T66" y="T67"/>
                    </a:cxn>
                    <a:cxn ang="T154">
                      <a:pos x="T68" y="T69"/>
                    </a:cxn>
                    <a:cxn ang="T155">
                      <a:pos x="T70" y="T71"/>
                    </a:cxn>
                    <a:cxn ang="T156">
                      <a:pos x="T72" y="T73"/>
                    </a:cxn>
                    <a:cxn ang="T157">
                      <a:pos x="T74" y="T75"/>
                    </a:cxn>
                    <a:cxn ang="T158">
                      <a:pos x="T76" y="T77"/>
                    </a:cxn>
                    <a:cxn ang="T159">
                      <a:pos x="T78" y="T79"/>
                    </a:cxn>
                    <a:cxn ang="T160">
                      <a:pos x="T80" y="T81"/>
                    </a:cxn>
                    <a:cxn ang="T161">
                      <a:pos x="T82" y="T83"/>
                    </a:cxn>
                    <a:cxn ang="T162">
                      <a:pos x="T84" y="T85"/>
                    </a:cxn>
                    <a:cxn ang="T163">
                      <a:pos x="T86" y="T87"/>
                    </a:cxn>
                    <a:cxn ang="T164">
                      <a:pos x="T88" y="T89"/>
                    </a:cxn>
                    <a:cxn ang="T165">
                      <a:pos x="T90" y="T91"/>
                    </a:cxn>
                    <a:cxn ang="T166">
                      <a:pos x="T92" y="T93"/>
                    </a:cxn>
                    <a:cxn ang="T167">
                      <a:pos x="T94" y="T95"/>
                    </a:cxn>
                    <a:cxn ang="T168">
                      <a:pos x="T96" y="T97"/>
                    </a:cxn>
                    <a:cxn ang="T169">
                      <a:pos x="T98" y="T99"/>
                    </a:cxn>
                    <a:cxn ang="T170">
                      <a:pos x="T100" y="T101"/>
                    </a:cxn>
                    <a:cxn ang="T171">
                      <a:pos x="T102" y="T103"/>
                    </a:cxn>
                    <a:cxn ang="T172">
                      <a:pos x="T104" y="T105"/>
                    </a:cxn>
                    <a:cxn ang="T173">
                      <a:pos x="T106" y="T107"/>
                    </a:cxn>
                    <a:cxn ang="T174">
                      <a:pos x="T108" y="T109"/>
                    </a:cxn>
                    <a:cxn ang="T175">
                      <a:pos x="T110" y="T111"/>
                    </a:cxn>
                    <a:cxn ang="T176">
                      <a:pos x="T112" y="T113"/>
                    </a:cxn>
                    <a:cxn ang="T177">
                      <a:pos x="T114" y="T115"/>
                    </a:cxn>
                    <a:cxn ang="T178">
                      <a:pos x="T116" y="T117"/>
                    </a:cxn>
                    <a:cxn ang="T179">
                      <a:pos x="T118" y="T119"/>
                    </a:cxn>
                  </a:cxnLst>
                  <a:rect l="T180" t="T181" r="T182" b="T183"/>
                  <a:pathLst>
                    <a:path w="418" h="553">
                      <a:moveTo>
                        <a:pt x="369" y="444"/>
                      </a:moveTo>
                      <a:cubicBezTo>
                        <a:pt x="366" y="430"/>
                        <a:pt x="362" y="428"/>
                        <a:pt x="351" y="427"/>
                      </a:cubicBezTo>
                      <a:cubicBezTo>
                        <a:pt x="349" y="423"/>
                        <a:pt x="345" y="421"/>
                        <a:pt x="342" y="418"/>
                      </a:cubicBezTo>
                      <a:cubicBezTo>
                        <a:pt x="340" y="413"/>
                        <a:pt x="339" y="414"/>
                        <a:pt x="335" y="412"/>
                      </a:cubicBezTo>
                      <a:cubicBezTo>
                        <a:pt x="332" y="410"/>
                        <a:pt x="326" y="406"/>
                        <a:pt x="326" y="406"/>
                      </a:cubicBezTo>
                      <a:cubicBezTo>
                        <a:pt x="325" y="403"/>
                        <a:pt x="322" y="400"/>
                        <a:pt x="320" y="398"/>
                      </a:cubicBezTo>
                      <a:cubicBezTo>
                        <a:pt x="318" y="396"/>
                        <a:pt x="314" y="394"/>
                        <a:pt x="314" y="394"/>
                      </a:cubicBezTo>
                      <a:cubicBezTo>
                        <a:pt x="312" y="389"/>
                        <a:pt x="306" y="385"/>
                        <a:pt x="303" y="379"/>
                      </a:cubicBezTo>
                      <a:cubicBezTo>
                        <a:pt x="301" y="369"/>
                        <a:pt x="305" y="357"/>
                        <a:pt x="294" y="353"/>
                      </a:cubicBezTo>
                      <a:cubicBezTo>
                        <a:pt x="287" y="346"/>
                        <a:pt x="289" y="350"/>
                        <a:pt x="287" y="344"/>
                      </a:cubicBezTo>
                      <a:cubicBezTo>
                        <a:pt x="288" y="335"/>
                        <a:pt x="295" y="335"/>
                        <a:pt x="303" y="330"/>
                      </a:cubicBezTo>
                      <a:cubicBezTo>
                        <a:pt x="306" y="328"/>
                        <a:pt x="313" y="328"/>
                        <a:pt x="313" y="328"/>
                      </a:cubicBezTo>
                      <a:cubicBezTo>
                        <a:pt x="314" y="326"/>
                        <a:pt x="339" y="311"/>
                        <a:pt x="343" y="310"/>
                      </a:cubicBezTo>
                      <a:cubicBezTo>
                        <a:pt x="344" y="310"/>
                        <a:pt x="353" y="306"/>
                        <a:pt x="354" y="306"/>
                      </a:cubicBezTo>
                      <a:cubicBezTo>
                        <a:pt x="356" y="305"/>
                        <a:pt x="360" y="304"/>
                        <a:pt x="360" y="304"/>
                      </a:cubicBezTo>
                      <a:cubicBezTo>
                        <a:pt x="361" y="300"/>
                        <a:pt x="371" y="298"/>
                        <a:pt x="371" y="298"/>
                      </a:cubicBezTo>
                      <a:cubicBezTo>
                        <a:pt x="375" y="294"/>
                        <a:pt x="381" y="284"/>
                        <a:pt x="384" y="283"/>
                      </a:cubicBezTo>
                      <a:cubicBezTo>
                        <a:pt x="390" y="284"/>
                        <a:pt x="393" y="285"/>
                        <a:pt x="398" y="287"/>
                      </a:cubicBezTo>
                      <a:cubicBezTo>
                        <a:pt x="407" y="286"/>
                        <a:pt x="409" y="286"/>
                        <a:pt x="416" y="282"/>
                      </a:cubicBezTo>
                      <a:cubicBezTo>
                        <a:pt x="418" y="275"/>
                        <a:pt x="417" y="267"/>
                        <a:pt x="411" y="263"/>
                      </a:cubicBezTo>
                      <a:cubicBezTo>
                        <a:pt x="410" y="258"/>
                        <a:pt x="408" y="252"/>
                        <a:pt x="414" y="250"/>
                      </a:cubicBezTo>
                      <a:cubicBezTo>
                        <a:pt x="417" y="246"/>
                        <a:pt x="418" y="240"/>
                        <a:pt x="411" y="242"/>
                      </a:cubicBezTo>
                      <a:cubicBezTo>
                        <a:pt x="403" y="241"/>
                        <a:pt x="398" y="243"/>
                        <a:pt x="395" y="236"/>
                      </a:cubicBezTo>
                      <a:cubicBezTo>
                        <a:pt x="392" y="222"/>
                        <a:pt x="395" y="224"/>
                        <a:pt x="393" y="214"/>
                      </a:cubicBezTo>
                      <a:cubicBezTo>
                        <a:pt x="398" y="199"/>
                        <a:pt x="391" y="191"/>
                        <a:pt x="387" y="185"/>
                      </a:cubicBezTo>
                      <a:cubicBezTo>
                        <a:pt x="388" y="180"/>
                        <a:pt x="389" y="176"/>
                        <a:pt x="392" y="172"/>
                      </a:cubicBezTo>
                      <a:cubicBezTo>
                        <a:pt x="393" y="167"/>
                        <a:pt x="394" y="164"/>
                        <a:pt x="389" y="161"/>
                      </a:cubicBezTo>
                      <a:cubicBezTo>
                        <a:pt x="387" y="158"/>
                        <a:pt x="381" y="154"/>
                        <a:pt x="381" y="154"/>
                      </a:cubicBezTo>
                      <a:cubicBezTo>
                        <a:pt x="378" y="150"/>
                        <a:pt x="369" y="146"/>
                        <a:pt x="369" y="146"/>
                      </a:cubicBezTo>
                      <a:cubicBezTo>
                        <a:pt x="366" y="142"/>
                        <a:pt x="366" y="139"/>
                        <a:pt x="371" y="137"/>
                      </a:cubicBezTo>
                      <a:cubicBezTo>
                        <a:pt x="372" y="134"/>
                        <a:pt x="374" y="128"/>
                        <a:pt x="374" y="128"/>
                      </a:cubicBezTo>
                      <a:cubicBezTo>
                        <a:pt x="373" y="114"/>
                        <a:pt x="383" y="94"/>
                        <a:pt x="371" y="86"/>
                      </a:cubicBezTo>
                      <a:cubicBezTo>
                        <a:pt x="368" y="81"/>
                        <a:pt x="362" y="75"/>
                        <a:pt x="357" y="72"/>
                      </a:cubicBezTo>
                      <a:cubicBezTo>
                        <a:pt x="355" y="65"/>
                        <a:pt x="352" y="61"/>
                        <a:pt x="345" y="59"/>
                      </a:cubicBezTo>
                      <a:cubicBezTo>
                        <a:pt x="342" y="55"/>
                        <a:pt x="337" y="53"/>
                        <a:pt x="333" y="52"/>
                      </a:cubicBezTo>
                      <a:cubicBezTo>
                        <a:pt x="328" y="45"/>
                        <a:pt x="331" y="47"/>
                        <a:pt x="326" y="44"/>
                      </a:cubicBezTo>
                      <a:cubicBezTo>
                        <a:pt x="326" y="40"/>
                        <a:pt x="327" y="34"/>
                        <a:pt x="321" y="34"/>
                      </a:cubicBezTo>
                      <a:cubicBezTo>
                        <a:pt x="316" y="34"/>
                        <a:pt x="308" y="36"/>
                        <a:pt x="303" y="38"/>
                      </a:cubicBezTo>
                      <a:cubicBezTo>
                        <a:pt x="291" y="43"/>
                        <a:pt x="286" y="49"/>
                        <a:pt x="273" y="52"/>
                      </a:cubicBezTo>
                      <a:cubicBezTo>
                        <a:pt x="269" y="54"/>
                        <a:pt x="254" y="61"/>
                        <a:pt x="254" y="61"/>
                      </a:cubicBezTo>
                      <a:cubicBezTo>
                        <a:pt x="252" y="65"/>
                        <a:pt x="247" y="67"/>
                        <a:pt x="243" y="68"/>
                      </a:cubicBezTo>
                      <a:cubicBezTo>
                        <a:pt x="232" y="66"/>
                        <a:pt x="238" y="51"/>
                        <a:pt x="233" y="44"/>
                      </a:cubicBezTo>
                      <a:cubicBezTo>
                        <a:pt x="230" y="34"/>
                        <a:pt x="230" y="43"/>
                        <a:pt x="222" y="38"/>
                      </a:cubicBezTo>
                      <a:cubicBezTo>
                        <a:pt x="214" y="44"/>
                        <a:pt x="204" y="39"/>
                        <a:pt x="195" y="37"/>
                      </a:cubicBezTo>
                      <a:cubicBezTo>
                        <a:pt x="190" y="30"/>
                        <a:pt x="190" y="19"/>
                        <a:pt x="183" y="14"/>
                      </a:cubicBezTo>
                      <a:cubicBezTo>
                        <a:pt x="177" y="5"/>
                        <a:pt x="175" y="7"/>
                        <a:pt x="162" y="6"/>
                      </a:cubicBezTo>
                      <a:cubicBezTo>
                        <a:pt x="154" y="4"/>
                        <a:pt x="148" y="1"/>
                        <a:pt x="140" y="0"/>
                      </a:cubicBezTo>
                      <a:cubicBezTo>
                        <a:pt x="136" y="0"/>
                        <a:pt x="132" y="0"/>
                        <a:pt x="129" y="1"/>
                      </a:cubicBezTo>
                      <a:cubicBezTo>
                        <a:pt x="128" y="1"/>
                        <a:pt x="131" y="3"/>
                        <a:pt x="131" y="4"/>
                      </a:cubicBezTo>
                      <a:cubicBezTo>
                        <a:pt x="134" y="10"/>
                        <a:pt x="133" y="15"/>
                        <a:pt x="138" y="18"/>
                      </a:cubicBezTo>
                      <a:cubicBezTo>
                        <a:pt x="140" y="23"/>
                        <a:pt x="143" y="27"/>
                        <a:pt x="146" y="31"/>
                      </a:cubicBezTo>
                      <a:cubicBezTo>
                        <a:pt x="145" y="37"/>
                        <a:pt x="144" y="41"/>
                        <a:pt x="141" y="46"/>
                      </a:cubicBezTo>
                      <a:cubicBezTo>
                        <a:pt x="142" y="51"/>
                        <a:pt x="145" y="62"/>
                        <a:pt x="145" y="62"/>
                      </a:cubicBezTo>
                      <a:cubicBezTo>
                        <a:pt x="147" y="78"/>
                        <a:pt x="144" y="75"/>
                        <a:pt x="131" y="79"/>
                      </a:cubicBezTo>
                      <a:cubicBezTo>
                        <a:pt x="127" y="83"/>
                        <a:pt x="126" y="87"/>
                        <a:pt x="122" y="91"/>
                      </a:cubicBezTo>
                      <a:cubicBezTo>
                        <a:pt x="121" y="96"/>
                        <a:pt x="122" y="100"/>
                        <a:pt x="117" y="103"/>
                      </a:cubicBezTo>
                      <a:cubicBezTo>
                        <a:pt x="110" y="101"/>
                        <a:pt x="111" y="99"/>
                        <a:pt x="105" y="95"/>
                      </a:cubicBezTo>
                      <a:cubicBezTo>
                        <a:pt x="103" y="89"/>
                        <a:pt x="97" y="89"/>
                        <a:pt x="92" y="86"/>
                      </a:cubicBezTo>
                      <a:cubicBezTo>
                        <a:pt x="81" y="87"/>
                        <a:pt x="70" y="84"/>
                        <a:pt x="66" y="95"/>
                      </a:cubicBezTo>
                      <a:cubicBezTo>
                        <a:pt x="65" y="101"/>
                        <a:pt x="64" y="107"/>
                        <a:pt x="63" y="113"/>
                      </a:cubicBezTo>
                      <a:cubicBezTo>
                        <a:pt x="63" y="117"/>
                        <a:pt x="65" y="117"/>
                        <a:pt x="65" y="122"/>
                      </a:cubicBezTo>
                      <a:cubicBezTo>
                        <a:pt x="66" y="130"/>
                        <a:pt x="66" y="137"/>
                        <a:pt x="63" y="145"/>
                      </a:cubicBezTo>
                      <a:cubicBezTo>
                        <a:pt x="61" y="149"/>
                        <a:pt x="57" y="157"/>
                        <a:pt x="57" y="157"/>
                      </a:cubicBezTo>
                      <a:cubicBezTo>
                        <a:pt x="56" y="163"/>
                        <a:pt x="57" y="166"/>
                        <a:pt x="51" y="167"/>
                      </a:cubicBezTo>
                      <a:cubicBezTo>
                        <a:pt x="50" y="165"/>
                        <a:pt x="50" y="163"/>
                        <a:pt x="49" y="161"/>
                      </a:cubicBezTo>
                      <a:cubicBezTo>
                        <a:pt x="48" y="158"/>
                        <a:pt x="39" y="164"/>
                        <a:pt x="39" y="164"/>
                      </a:cubicBezTo>
                      <a:cubicBezTo>
                        <a:pt x="42" y="174"/>
                        <a:pt x="43" y="174"/>
                        <a:pt x="53" y="176"/>
                      </a:cubicBezTo>
                      <a:cubicBezTo>
                        <a:pt x="55" y="179"/>
                        <a:pt x="57" y="185"/>
                        <a:pt x="57" y="185"/>
                      </a:cubicBezTo>
                      <a:cubicBezTo>
                        <a:pt x="57" y="188"/>
                        <a:pt x="57" y="191"/>
                        <a:pt x="56" y="194"/>
                      </a:cubicBezTo>
                      <a:cubicBezTo>
                        <a:pt x="54" y="198"/>
                        <a:pt x="44" y="200"/>
                        <a:pt x="44" y="200"/>
                      </a:cubicBezTo>
                      <a:cubicBezTo>
                        <a:pt x="41" y="204"/>
                        <a:pt x="37" y="203"/>
                        <a:pt x="42" y="206"/>
                      </a:cubicBezTo>
                      <a:cubicBezTo>
                        <a:pt x="52" y="221"/>
                        <a:pt x="21" y="219"/>
                        <a:pt x="9" y="220"/>
                      </a:cubicBezTo>
                      <a:cubicBezTo>
                        <a:pt x="7" y="227"/>
                        <a:pt x="5" y="227"/>
                        <a:pt x="11" y="224"/>
                      </a:cubicBezTo>
                      <a:cubicBezTo>
                        <a:pt x="12" y="230"/>
                        <a:pt x="11" y="236"/>
                        <a:pt x="13" y="242"/>
                      </a:cubicBezTo>
                      <a:cubicBezTo>
                        <a:pt x="14" y="244"/>
                        <a:pt x="15" y="248"/>
                        <a:pt x="15" y="248"/>
                      </a:cubicBezTo>
                      <a:cubicBezTo>
                        <a:pt x="13" y="261"/>
                        <a:pt x="11" y="273"/>
                        <a:pt x="0" y="280"/>
                      </a:cubicBezTo>
                      <a:cubicBezTo>
                        <a:pt x="4" y="281"/>
                        <a:pt x="7" y="290"/>
                        <a:pt x="7" y="290"/>
                      </a:cubicBezTo>
                      <a:cubicBezTo>
                        <a:pt x="6" y="292"/>
                        <a:pt x="3" y="293"/>
                        <a:pt x="3" y="295"/>
                      </a:cubicBezTo>
                      <a:cubicBezTo>
                        <a:pt x="2" y="300"/>
                        <a:pt x="13" y="317"/>
                        <a:pt x="17" y="319"/>
                      </a:cubicBezTo>
                      <a:cubicBezTo>
                        <a:pt x="18" y="321"/>
                        <a:pt x="21" y="326"/>
                        <a:pt x="18" y="328"/>
                      </a:cubicBezTo>
                      <a:cubicBezTo>
                        <a:pt x="16" y="330"/>
                        <a:pt x="12" y="332"/>
                        <a:pt x="12" y="332"/>
                      </a:cubicBezTo>
                      <a:cubicBezTo>
                        <a:pt x="10" y="338"/>
                        <a:pt x="9" y="344"/>
                        <a:pt x="7" y="350"/>
                      </a:cubicBezTo>
                      <a:cubicBezTo>
                        <a:pt x="7" y="356"/>
                        <a:pt x="18" y="360"/>
                        <a:pt x="21" y="367"/>
                      </a:cubicBezTo>
                      <a:cubicBezTo>
                        <a:pt x="23" y="374"/>
                        <a:pt x="15" y="385"/>
                        <a:pt x="18" y="392"/>
                      </a:cubicBezTo>
                      <a:cubicBezTo>
                        <a:pt x="20" y="395"/>
                        <a:pt x="34" y="411"/>
                        <a:pt x="38" y="412"/>
                      </a:cubicBezTo>
                      <a:cubicBezTo>
                        <a:pt x="47" y="414"/>
                        <a:pt x="55" y="414"/>
                        <a:pt x="65" y="415"/>
                      </a:cubicBezTo>
                      <a:cubicBezTo>
                        <a:pt x="75" y="417"/>
                        <a:pt x="80" y="426"/>
                        <a:pt x="90" y="428"/>
                      </a:cubicBezTo>
                      <a:cubicBezTo>
                        <a:pt x="94" y="431"/>
                        <a:pt x="98" y="431"/>
                        <a:pt x="102" y="434"/>
                      </a:cubicBezTo>
                      <a:cubicBezTo>
                        <a:pt x="101" y="440"/>
                        <a:pt x="100" y="442"/>
                        <a:pt x="96" y="446"/>
                      </a:cubicBezTo>
                      <a:cubicBezTo>
                        <a:pt x="94" y="451"/>
                        <a:pt x="83" y="450"/>
                        <a:pt x="81" y="455"/>
                      </a:cubicBezTo>
                      <a:cubicBezTo>
                        <a:pt x="78" y="461"/>
                        <a:pt x="86" y="470"/>
                        <a:pt x="80" y="474"/>
                      </a:cubicBezTo>
                      <a:cubicBezTo>
                        <a:pt x="77" y="486"/>
                        <a:pt x="68" y="496"/>
                        <a:pt x="66" y="509"/>
                      </a:cubicBezTo>
                      <a:cubicBezTo>
                        <a:pt x="67" y="542"/>
                        <a:pt x="65" y="531"/>
                        <a:pt x="90" y="533"/>
                      </a:cubicBezTo>
                      <a:cubicBezTo>
                        <a:pt x="97" y="534"/>
                        <a:pt x="104" y="533"/>
                        <a:pt x="111" y="532"/>
                      </a:cubicBezTo>
                      <a:cubicBezTo>
                        <a:pt x="121" y="527"/>
                        <a:pt x="122" y="526"/>
                        <a:pt x="111" y="522"/>
                      </a:cubicBezTo>
                      <a:cubicBezTo>
                        <a:pt x="109" y="518"/>
                        <a:pt x="106" y="516"/>
                        <a:pt x="111" y="514"/>
                      </a:cubicBezTo>
                      <a:cubicBezTo>
                        <a:pt x="116" y="515"/>
                        <a:pt x="125" y="518"/>
                        <a:pt x="125" y="518"/>
                      </a:cubicBezTo>
                      <a:cubicBezTo>
                        <a:pt x="127" y="523"/>
                        <a:pt x="129" y="526"/>
                        <a:pt x="134" y="528"/>
                      </a:cubicBezTo>
                      <a:cubicBezTo>
                        <a:pt x="141" y="526"/>
                        <a:pt x="138" y="527"/>
                        <a:pt x="143" y="524"/>
                      </a:cubicBezTo>
                      <a:cubicBezTo>
                        <a:pt x="147" y="527"/>
                        <a:pt x="152" y="525"/>
                        <a:pt x="157" y="526"/>
                      </a:cubicBezTo>
                      <a:cubicBezTo>
                        <a:pt x="161" y="530"/>
                        <a:pt x="171" y="533"/>
                        <a:pt x="176" y="536"/>
                      </a:cubicBezTo>
                      <a:cubicBezTo>
                        <a:pt x="180" y="538"/>
                        <a:pt x="184" y="540"/>
                        <a:pt x="188" y="541"/>
                      </a:cubicBezTo>
                      <a:cubicBezTo>
                        <a:pt x="189" y="541"/>
                        <a:pt x="191" y="542"/>
                        <a:pt x="191" y="542"/>
                      </a:cubicBezTo>
                      <a:cubicBezTo>
                        <a:pt x="195" y="548"/>
                        <a:pt x="197" y="551"/>
                        <a:pt x="204" y="553"/>
                      </a:cubicBezTo>
                      <a:cubicBezTo>
                        <a:pt x="215" y="551"/>
                        <a:pt x="212" y="549"/>
                        <a:pt x="215" y="539"/>
                      </a:cubicBezTo>
                      <a:cubicBezTo>
                        <a:pt x="226" y="540"/>
                        <a:pt x="224" y="536"/>
                        <a:pt x="231" y="542"/>
                      </a:cubicBezTo>
                      <a:cubicBezTo>
                        <a:pt x="234" y="544"/>
                        <a:pt x="240" y="546"/>
                        <a:pt x="240" y="546"/>
                      </a:cubicBezTo>
                      <a:cubicBezTo>
                        <a:pt x="246" y="545"/>
                        <a:pt x="254" y="545"/>
                        <a:pt x="258" y="540"/>
                      </a:cubicBezTo>
                      <a:cubicBezTo>
                        <a:pt x="259" y="539"/>
                        <a:pt x="266" y="530"/>
                        <a:pt x="267" y="530"/>
                      </a:cubicBezTo>
                      <a:cubicBezTo>
                        <a:pt x="274" y="527"/>
                        <a:pt x="292" y="523"/>
                        <a:pt x="299" y="523"/>
                      </a:cubicBezTo>
                      <a:cubicBezTo>
                        <a:pt x="302" y="524"/>
                        <a:pt x="305" y="526"/>
                        <a:pt x="308" y="527"/>
                      </a:cubicBezTo>
                      <a:cubicBezTo>
                        <a:pt x="316" y="524"/>
                        <a:pt x="312" y="521"/>
                        <a:pt x="324" y="527"/>
                      </a:cubicBezTo>
                      <a:cubicBezTo>
                        <a:pt x="328" y="529"/>
                        <a:pt x="336" y="536"/>
                        <a:pt x="336" y="536"/>
                      </a:cubicBezTo>
                      <a:cubicBezTo>
                        <a:pt x="344" y="533"/>
                        <a:pt x="338" y="524"/>
                        <a:pt x="333" y="522"/>
                      </a:cubicBezTo>
                      <a:cubicBezTo>
                        <a:pt x="331" y="514"/>
                        <a:pt x="335" y="503"/>
                        <a:pt x="327" y="498"/>
                      </a:cubicBezTo>
                      <a:cubicBezTo>
                        <a:pt x="325" y="494"/>
                        <a:pt x="324" y="491"/>
                        <a:pt x="320" y="490"/>
                      </a:cubicBezTo>
                      <a:cubicBezTo>
                        <a:pt x="323" y="488"/>
                        <a:pt x="329" y="486"/>
                        <a:pt x="329" y="486"/>
                      </a:cubicBezTo>
                      <a:cubicBezTo>
                        <a:pt x="334" y="479"/>
                        <a:pt x="341" y="478"/>
                        <a:pt x="348" y="473"/>
                      </a:cubicBezTo>
                      <a:cubicBezTo>
                        <a:pt x="352" y="460"/>
                        <a:pt x="353" y="457"/>
                        <a:pt x="367" y="455"/>
                      </a:cubicBezTo>
                      <a:cubicBezTo>
                        <a:pt x="370" y="450"/>
                        <a:pt x="374" y="447"/>
                        <a:pt x="369" y="444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orpoS" pitchFamily="2" charset="0"/>
                    <a:ea typeface="+mn-ea"/>
                  </a:endParaRPr>
                </a:p>
              </p:txBody>
            </p:sp>
          </p:grpSp>
          <p:sp>
            <p:nvSpPr>
              <p:cNvPr id="332" name="Freeform 62"/>
              <p:cNvSpPr>
                <a:spLocks noChangeAspect="1"/>
              </p:cNvSpPr>
              <p:nvPr/>
            </p:nvSpPr>
            <p:spPr bwMode="auto">
              <a:xfrm>
                <a:off x="2812" y="2466"/>
                <a:ext cx="24" cy="19"/>
              </a:xfrm>
              <a:custGeom>
                <a:avLst/>
                <a:gdLst>
                  <a:gd name="T0" fmla="*/ 4 w 24"/>
                  <a:gd name="T1" fmla="*/ 0 h 19"/>
                  <a:gd name="T2" fmla="*/ 9 w 24"/>
                  <a:gd name="T3" fmla="*/ 12 h 19"/>
                  <a:gd name="T4" fmla="*/ 15 w 24"/>
                  <a:gd name="T5" fmla="*/ 19 h 19"/>
                  <a:gd name="T6" fmla="*/ 18 w 24"/>
                  <a:gd name="T7" fmla="*/ 9 h 19"/>
                  <a:gd name="T8" fmla="*/ 9 w 24"/>
                  <a:gd name="T9" fmla="*/ 4 h 19"/>
                  <a:gd name="T10" fmla="*/ 3 w 24"/>
                  <a:gd name="T11" fmla="*/ 2 h 19"/>
                  <a:gd name="T12" fmla="*/ 4 w 24"/>
                  <a:gd name="T13" fmla="*/ 0 h 1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4"/>
                  <a:gd name="T22" fmla="*/ 0 h 19"/>
                  <a:gd name="T23" fmla="*/ 24 w 24"/>
                  <a:gd name="T24" fmla="*/ 19 h 1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4" h="19">
                    <a:moveTo>
                      <a:pt x="4" y="0"/>
                    </a:moveTo>
                    <a:cubicBezTo>
                      <a:pt x="0" y="6"/>
                      <a:pt x="4" y="9"/>
                      <a:pt x="9" y="12"/>
                    </a:cubicBezTo>
                    <a:cubicBezTo>
                      <a:pt x="11" y="16"/>
                      <a:pt x="14" y="15"/>
                      <a:pt x="15" y="19"/>
                    </a:cubicBezTo>
                    <a:cubicBezTo>
                      <a:pt x="21" y="18"/>
                      <a:pt x="24" y="15"/>
                      <a:pt x="18" y="9"/>
                    </a:cubicBezTo>
                    <a:cubicBezTo>
                      <a:pt x="16" y="6"/>
                      <a:pt x="12" y="6"/>
                      <a:pt x="9" y="4"/>
                    </a:cubicBezTo>
                    <a:cubicBezTo>
                      <a:pt x="7" y="3"/>
                      <a:pt x="2" y="4"/>
                      <a:pt x="3" y="2"/>
                    </a:cubicBezTo>
                    <a:cubicBezTo>
                      <a:pt x="3" y="1"/>
                      <a:pt x="4" y="1"/>
                      <a:pt x="4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</p:grpSp>
        <p:grpSp>
          <p:nvGrpSpPr>
            <p:cNvPr id="267" name="Group 63"/>
            <p:cNvGrpSpPr>
              <a:grpSpLocks/>
            </p:cNvGrpSpPr>
            <p:nvPr/>
          </p:nvGrpSpPr>
          <p:grpSpPr bwMode="auto">
            <a:xfrm>
              <a:off x="2464" y="2401"/>
              <a:ext cx="301" cy="238"/>
              <a:chOff x="2599" y="2246"/>
              <a:chExt cx="298" cy="236"/>
            </a:xfrm>
            <a:grpFill/>
          </p:grpSpPr>
          <p:sp>
            <p:nvSpPr>
              <p:cNvPr id="326" name="Freeform 64"/>
              <p:cNvSpPr>
                <a:spLocks noChangeAspect="1"/>
              </p:cNvSpPr>
              <p:nvPr/>
            </p:nvSpPr>
            <p:spPr bwMode="auto">
              <a:xfrm>
                <a:off x="2868" y="2422"/>
                <a:ext cx="29" cy="24"/>
              </a:xfrm>
              <a:custGeom>
                <a:avLst/>
                <a:gdLst>
                  <a:gd name="T0" fmla="*/ 4 w 29"/>
                  <a:gd name="T1" fmla="*/ 0 h 24"/>
                  <a:gd name="T2" fmla="*/ 15 w 29"/>
                  <a:gd name="T3" fmla="*/ 4 h 24"/>
                  <a:gd name="T4" fmla="*/ 16 w 29"/>
                  <a:gd name="T5" fmla="*/ 24 h 24"/>
                  <a:gd name="T6" fmla="*/ 3 w 29"/>
                  <a:gd name="T7" fmla="*/ 18 h 24"/>
                  <a:gd name="T8" fmla="*/ 4 w 29"/>
                  <a:gd name="T9" fmla="*/ 0 h 2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9"/>
                  <a:gd name="T16" fmla="*/ 0 h 24"/>
                  <a:gd name="T17" fmla="*/ 29 w 29"/>
                  <a:gd name="T18" fmla="*/ 24 h 2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9" h="24">
                    <a:moveTo>
                      <a:pt x="4" y="0"/>
                    </a:moveTo>
                    <a:cubicBezTo>
                      <a:pt x="8" y="2"/>
                      <a:pt x="11" y="3"/>
                      <a:pt x="15" y="4"/>
                    </a:cubicBezTo>
                    <a:cubicBezTo>
                      <a:pt x="19" y="10"/>
                      <a:pt x="29" y="21"/>
                      <a:pt x="16" y="24"/>
                    </a:cubicBezTo>
                    <a:cubicBezTo>
                      <a:pt x="11" y="23"/>
                      <a:pt x="3" y="18"/>
                      <a:pt x="3" y="18"/>
                    </a:cubicBezTo>
                    <a:cubicBezTo>
                      <a:pt x="0" y="13"/>
                      <a:pt x="4" y="6"/>
                      <a:pt x="4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27" name="Freeform 65"/>
              <p:cNvSpPr>
                <a:spLocks noChangeAspect="1"/>
              </p:cNvSpPr>
              <p:nvPr/>
            </p:nvSpPr>
            <p:spPr bwMode="auto">
              <a:xfrm>
                <a:off x="2708" y="2364"/>
                <a:ext cx="79" cy="88"/>
              </a:xfrm>
              <a:custGeom>
                <a:avLst/>
                <a:gdLst>
                  <a:gd name="T0" fmla="*/ 60 w 79"/>
                  <a:gd name="T1" fmla="*/ 0 h 88"/>
                  <a:gd name="T2" fmla="*/ 49 w 79"/>
                  <a:gd name="T3" fmla="*/ 8 h 88"/>
                  <a:gd name="T4" fmla="*/ 53 w 79"/>
                  <a:gd name="T5" fmla="*/ 26 h 88"/>
                  <a:gd name="T6" fmla="*/ 52 w 79"/>
                  <a:gd name="T7" fmla="*/ 32 h 88"/>
                  <a:gd name="T8" fmla="*/ 42 w 79"/>
                  <a:gd name="T9" fmla="*/ 31 h 88"/>
                  <a:gd name="T10" fmla="*/ 40 w 79"/>
                  <a:gd name="T11" fmla="*/ 21 h 88"/>
                  <a:gd name="T12" fmla="*/ 23 w 79"/>
                  <a:gd name="T13" fmla="*/ 8 h 88"/>
                  <a:gd name="T14" fmla="*/ 17 w 79"/>
                  <a:gd name="T15" fmla="*/ 26 h 88"/>
                  <a:gd name="T16" fmla="*/ 12 w 79"/>
                  <a:gd name="T17" fmla="*/ 33 h 88"/>
                  <a:gd name="T18" fmla="*/ 19 w 79"/>
                  <a:gd name="T19" fmla="*/ 67 h 88"/>
                  <a:gd name="T20" fmla="*/ 32 w 79"/>
                  <a:gd name="T21" fmla="*/ 68 h 88"/>
                  <a:gd name="T22" fmla="*/ 40 w 79"/>
                  <a:gd name="T23" fmla="*/ 72 h 88"/>
                  <a:gd name="T24" fmla="*/ 52 w 79"/>
                  <a:gd name="T25" fmla="*/ 82 h 88"/>
                  <a:gd name="T26" fmla="*/ 61 w 79"/>
                  <a:gd name="T27" fmla="*/ 88 h 88"/>
                  <a:gd name="T28" fmla="*/ 58 w 79"/>
                  <a:gd name="T29" fmla="*/ 69 h 88"/>
                  <a:gd name="T30" fmla="*/ 70 w 79"/>
                  <a:gd name="T31" fmla="*/ 61 h 88"/>
                  <a:gd name="T32" fmla="*/ 61 w 79"/>
                  <a:gd name="T33" fmla="*/ 48 h 88"/>
                  <a:gd name="T34" fmla="*/ 76 w 79"/>
                  <a:gd name="T35" fmla="*/ 39 h 88"/>
                  <a:gd name="T36" fmla="*/ 73 w 79"/>
                  <a:gd name="T37" fmla="*/ 24 h 88"/>
                  <a:gd name="T38" fmla="*/ 76 w 79"/>
                  <a:gd name="T39" fmla="*/ 10 h 88"/>
                  <a:gd name="T40" fmla="*/ 76 w 79"/>
                  <a:gd name="T41" fmla="*/ 4 h 88"/>
                  <a:gd name="T42" fmla="*/ 60 w 79"/>
                  <a:gd name="T43" fmla="*/ 0 h 88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79"/>
                  <a:gd name="T67" fmla="*/ 0 h 88"/>
                  <a:gd name="T68" fmla="*/ 79 w 79"/>
                  <a:gd name="T69" fmla="*/ 88 h 88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79" h="88">
                    <a:moveTo>
                      <a:pt x="60" y="0"/>
                    </a:moveTo>
                    <a:cubicBezTo>
                      <a:pt x="53" y="2"/>
                      <a:pt x="54" y="5"/>
                      <a:pt x="49" y="8"/>
                    </a:cubicBezTo>
                    <a:cubicBezTo>
                      <a:pt x="50" y="18"/>
                      <a:pt x="51" y="18"/>
                      <a:pt x="53" y="26"/>
                    </a:cubicBezTo>
                    <a:cubicBezTo>
                      <a:pt x="53" y="28"/>
                      <a:pt x="54" y="31"/>
                      <a:pt x="52" y="32"/>
                    </a:cubicBezTo>
                    <a:cubicBezTo>
                      <a:pt x="49" y="33"/>
                      <a:pt x="44" y="33"/>
                      <a:pt x="42" y="31"/>
                    </a:cubicBezTo>
                    <a:cubicBezTo>
                      <a:pt x="39" y="29"/>
                      <a:pt x="42" y="24"/>
                      <a:pt x="40" y="21"/>
                    </a:cubicBezTo>
                    <a:cubicBezTo>
                      <a:pt x="35" y="13"/>
                      <a:pt x="32" y="11"/>
                      <a:pt x="23" y="8"/>
                    </a:cubicBezTo>
                    <a:cubicBezTo>
                      <a:pt x="25" y="17"/>
                      <a:pt x="29" y="28"/>
                      <a:pt x="17" y="26"/>
                    </a:cubicBezTo>
                    <a:cubicBezTo>
                      <a:pt x="6" y="27"/>
                      <a:pt x="0" y="30"/>
                      <a:pt x="12" y="33"/>
                    </a:cubicBezTo>
                    <a:cubicBezTo>
                      <a:pt x="21" y="42"/>
                      <a:pt x="18" y="55"/>
                      <a:pt x="19" y="67"/>
                    </a:cubicBezTo>
                    <a:cubicBezTo>
                      <a:pt x="24" y="66"/>
                      <a:pt x="28" y="66"/>
                      <a:pt x="32" y="68"/>
                    </a:cubicBezTo>
                    <a:cubicBezTo>
                      <a:pt x="35" y="69"/>
                      <a:pt x="40" y="72"/>
                      <a:pt x="40" y="72"/>
                    </a:cubicBezTo>
                    <a:cubicBezTo>
                      <a:pt x="44" y="78"/>
                      <a:pt x="45" y="81"/>
                      <a:pt x="52" y="82"/>
                    </a:cubicBezTo>
                    <a:cubicBezTo>
                      <a:pt x="54" y="86"/>
                      <a:pt x="57" y="87"/>
                      <a:pt x="61" y="88"/>
                    </a:cubicBezTo>
                    <a:cubicBezTo>
                      <a:pt x="74" y="85"/>
                      <a:pt x="67" y="72"/>
                      <a:pt x="58" y="69"/>
                    </a:cubicBezTo>
                    <a:cubicBezTo>
                      <a:pt x="60" y="64"/>
                      <a:pt x="70" y="61"/>
                      <a:pt x="70" y="61"/>
                    </a:cubicBezTo>
                    <a:cubicBezTo>
                      <a:pt x="73" y="53"/>
                      <a:pt x="68" y="50"/>
                      <a:pt x="61" y="48"/>
                    </a:cubicBezTo>
                    <a:cubicBezTo>
                      <a:pt x="62" y="33"/>
                      <a:pt x="63" y="36"/>
                      <a:pt x="76" y="39"/>
                    </a:cubicBezTo>
                    <a:cubicBezTo>
                      <a:pt x="79" y="34"/>
                      <a:pt x="76" y="29"/>
                      <a:pt x="73" y="24"/>
                    </a:cubicBezTo>
                    <a:cubicBezTo>
                      <a:pt x="71" y="18"/>
                      <a:pt x="73" y="15"/>
                      <a:pt x="76" y="10"/>
                    </a:cubicBezTo>
                    <a:cubicBezTo>
                      <a:pt x="77" y="4"/>
                      <a:pt x="79" y="4"/>
                      <a:pt x="76" y="4"/>
                    </a:cubicBezTo>
                    <a:lnTo>
                      <a:pt x="60" y="0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28" name="Freeform 66"/>
              <p:cNvSpPr>
                <a:spLocks noChangeAspect="1"/>
              </p:cNvSpPr>
              <p:nvPr/>
            </p:nvSpPr>
            <p:spPr bwMode="auto">
              <a:xfrm>
                <a:off x="2717" y="2445"/>
                <a:ext cx="47" cy="37"/>
              </a:xfrm>
              <a:custGeom>
                <a:avLst/>
                <a:gdLst>
                  <a:gd name="T0" fmla="*/ 9 w 47"/>
                  <a:gd name="T1" fmla="*/ 3 h 37"/>
                  <a:gd name="T2" fmla="*/ 19 w 47"/>
                  <a:gd name="T3" fmla="*/ 9 h 37"/>
                  <a:gd name="T4" fmla="*/ 25 w 47"/>
                  <a:gd name="T5" fmla="*/ 13 h 37"/>
                  <a:gd name="T6" fmla="*/ 33 w 47"/>
                  <a:gd name="T7" fmla="*/ 11 h 37"/>
                  <a:gd name="T8" fmla="*/ 35 w 47"/>
                  <a:gd name="T9" fmla="*/ 3 h 37"/>
                  <a:gd name="T10" fmla="*/ 44 w 47"/>
                  <a:gd name="T11" fmla="*/ 12 h 37"/>
                  <a:gd name="T12" fmla="*/ 43 w 47"/>
                  <a:gd name="T13" fmla="*/ 21 h 37"/>
                  <a:gd name="T14" fmla="*/ 34 w 47"/>
                  <a:gd name="T15" fmla="*/ 18 h 37"/>
                  <a:gd name="T16" fmla="*/ 31 w 47"/>
                  <a:gd name="T17" fmla="*/ 27 h 37"/>
                  <a:gd name="T18" fmla="*/ 22 w 47"/>
                  <a:gd name="T19" fmla="*/ 30 h 37"/>
                  <a:gd name="T20" fmla="*/ 5 w 47"/>
                  <a:gd name="T21" fmla="*/ 12 h 37"/>
                  <a:gd name="T22" fmla="*/ 13 w 47"/>
                  <a:gd name="T23" fmla="*/ 0 h 37"/>
                  <a:gd name="T24" fmla="*/ 28 w 47"/>
                  <a:gd name="T25" fmla="*/ 9 h 37"/>
                  <a:gd name="T26" fmla="*/ 9 w 47"/>
                  <a:gd name="T27" fmla="*/ 3 h 37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47"/>
                  <a:gd name="T43" fmla="*/ 0 h 37"/>
                  <a:gd name="T44" fmla="*/ 47 w 47"/>
                  <a:gd name="T45" fmla="*/ 37 h 37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47" h="37">
                    <a:moveTo>
                      <a:pt x="9" y="3"/>
                    </a:moveTo>
                    <a:cubicBezTo>
                      <a:pt x="14" y="4"/>
                      <a:pt x="15" y="6"/>
                      <a:pt x="19" y="9"/>
                    </a:cubicBezTo>
                    <a:cubicBezTo>
                      <a:pt x="21" y="10"/>
                      <a:pt x="25" y="13"/>
                      <a:pt x="25" y="13"/>
                    </a:cubicBezTo>
                    <a:cubicBezTo>
                      <a:pt x="28" y="12"/>
                      <a:pt x="31" y="13"/>
                      <a:pt x="33" y="11"/>
                    </a:cubicBezTo>
                    <a:cubicBezTo>
                      <a:pt x="35" y="9"/>
                      <a:pt x="35" y="3"/>
                      <a:pt x="35" y="3"/>
                    </a:cubicBezTo>
                    <a:cubicBezTo>
                      <a:pt x="40" y="5"/>
                      <a:pt x="40" y="9"/>
                      <a:pt x="44" y="12"/>
                    </a:cubicBezTo>
                    <a:cubicBezTo>
                      <a:pt x="47" y="16"/>
                      <a:pt x="46" y="17"/>
                      <a:pt x="43" y="21"/>
                    </a:cubicBezTo>
                    <a:cubicBezTo>
                      <a:pt x="39" y="37"/>
                      <a:pt x="37" y="26"/>
                      <a:pt x="34" y="18"/>
                    </a:cubicBezTo>
                    <a:cubicBezTo>
                      <a:pt x="34" y="20"/>
                      <a:pt x="33" y="26"/>
                      <a:pt x="31" y="27"/>
                    </a:cubicBezTo>
                    <a:cubicBezTo>
                      <a:pt x="28" y="29"/>
                      <a:pt x="22" y="30"/>
                      <a:pt x="22" y="30"/>
                    </a:cubicBezTo>
                    <a:cubicBezTo>
                      <a:pt x="18" y="27"/>
                      <a:pt x="6" y="17"/>
                      <a:pt x="5" y="12"/>
                    </a:cubicBezTo>
                    <a:cubicBezTo>
                      <a:pt x="0" y="5"/>
                      <a:pt x="5" y="2"/>
                      <a:pt x="13" y="0"/>
                    </a:cubicBezTo>
                    <a:cubicBezTo>
                      <a:pt x="19" y="2"/>
                      <a:pt x="22" y="9"/>
                      <a:pt x="28" y="9"/>
                    </a:cubicBezTo>
                    <a:lnTo>
                      <a:pt x="9" y="3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29" name="Freeform 67"/>
              <p:cNvSpPr>
                <a:spLocks noChangeAspect="1"/>
              </p:cNvSpPr>
              <p:nvPr/>
            </p:nvSpPr>
            <p:spPr bwMode="auto">
              <a:xfrm>
                <a:off x="2608" y="2246"/>
                <a:ext cx="95" cy="76"/>
              </a:xfrm>
              <a:custGeom>
                <a:avLst/>
                <a:gdLst>
                  <a:gd name="T0" fmla="*/ 0 w 95"/>
                  <a:gd name="T1" fmla="*/ 72 h 76"/>
                  <a:gd name="T2" fmla="*/ 8 w 95"/>
                  <a:gd name="T3" fmla="*/ 54 h 76"/>
                  <a:gd name="T4" fmla="*/ 14 w 95"/>
                  <a:gd name="T5" fmla="*/ 46 h 76"/>
                  <a:gd name="T6" fmla="*/ 50 w 95"/>
                  <a:gd name="T7" fmla="*/ 40 h 76"/>
                  <a:gd name="T8" fmla="*/ 57 w 95"/>
                  <a:gd name="T9" fmla="*/ 29 h 76"/>
                  <a:gd name="T10" fmla="*/ 63 w 95"/>
                  <a:gd name="T11" fmla="*/ 22 h 76"/>
                  <a:gd name="T12" fmla="*/ 81 w 95"/>
                  <a:gd name="T13" fmla="*/ 10 h 76"/>
                  <a:gd name="T14" fmla="*/ 90 w 95"/>
                  <a:gd name="T15" fmla="*/ 4 h 76"/>
                  <a:gd name="T16" fmla="*/ 93 w 95"/>
                  <a:gd name="T17" fmla="*/ 1 h 76"/>
                  <a:gd name="T18" fmla="*/ 86 w 95"/>
                  <a:gd name="T19" fmla="*/ 11 h 76"/>
                  <a:gd name="T20" fmla="*/ 93 w 95"/>
                  <a:gd name="T21" fmla="*/ 22 h 76"/>
                  <a:gd name="T22" fmla="*/ 86 w 95"/>
                  <a:gd name="T23" fmla="*/ 43 h 76"/>
                  <a:gd name="T24" fmla="*/ 84 w 95"/>
                  <a:gd name="T25" fmla="*/ 46 h 76"/>
                  <a:gd name="T26" fmla="*/ 83 w 95"/>
                  <a:gd name="T27" fmla="*/ 53 h 76"/>
                  <a:gd name="T28" fmla="*/ 80 w 95"/>
                  <a:gd name="T29" fmla="*/ 47 h 76"/>
                  <a:gd name="T30" fmla="*/ 72 w 95"/>
                  <a:gd name="T31" fmla="*/ 44 h 76"/>
                  <a:gd name="T32" fmla="*/ 48 w 95"/>
                  <a:gd name="T33" fmla="*/ 49 h 76"/>
                  <a:gd name="T34" fmla="*/ 39 w 95"/>
                  <a:gd name="T35" fmla="*/ 54 h 76"/>
                  <a:gd name="T36" fmla="*/ 29 w 95"/>
                  <a:gd name="T37" fmla="*/ 52 h 76"/>
                  <a:gd name="T38" fmla="*/ 24 w 95"/>
                  <a:gd name="T39" fmla="*/ 58 h 76"/>
                  <a:gd name="T40" fmla="*/ 18 w 95"/>
                  <a:gd name="T41" fmla="*/ 60 h 76"/>
                  <a:gd name="T42" fmla="*/ 0 w 95"/>
                  <a:gd name="T43" fmla="*/ 72 h 7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95"/>
                  <a:gd name="T67" fmla="*/ 0 h 76"/>
                  <a:gd name="T68" fmla="*/ 95 w 95"/>
                  <a:gd name="T69" fmla="*/ 76 h 7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95" h="76">
                    <a:moveTo>
                      <a:pt x="0" y="72"/>
                    </a:moveTo>
                    <a:cubicBezTo>
                      <a:pt x="2" y="64"/>
                      <a:pt x="1" y="58"/>
                      <a:pt x="8" y="54"/>
                    </a:cubicBezTo>
                    <a:cubicBezTo>
                      <a:pt x="9" y="49"/>
                      <a:pt x="9" y="47"/>
                      <a:pt x="14" y="46"/>
                    </a:cubicBezTo>
                    <a:cubicBezTo>
                      <a:pt x="26" y="48"/>
                      <a:pt x="38" y="42"/>
                      <a:pt x="50" y="40"/>
                    </a:cubicBezTo>
                    <a:cubicBezTo>
                      <a:pt x="53" y="36"/>
                      <a:pt x="53" y="32"/>
                      <a:pt x="57" y="29"/>
                    </a:cubicBezTo>
                    <a:cubicBezTo>
                      <a:pt x="58" y="25"/>
                      <a:pt x="59" y="23"/>
                      <a:pt x="63" y="22"/>
                    </a:cubicBezTo>
                    <a:cubicBezTo>
                      <a:pt x="68" y="17"/>
                      <a:pt x="73" y="12"/>
                      <a:pt x="81" y="10"/>
                    </a:cubicBezTo>
                    <a:cubicBezTo>
                      <a:pt x="84" y="7"/>
                      <a:pt x="86" y="5"/>
                      <a:pt x="90" y="4"/>
                    </a:cubicBezTo>
                    <a:cubicBezTo>
                      <a:pt x="91" y="3"/>
                      <a:pt x="93" y="0"/>
                      <a:pt x="93" y="1"/>
                    </a:cubicBezTo>
                    <a:cubicBezTo>
                      <a:pt x="93" y="5"/>
                      <a:pt x="86" y="11"/>
                      <a:pt x="86" y="11"/>
                    </a:cubicBezTo>
                    <a:cubicBezTo>
                      <a:pt x="87" y="17"/>
                      <a:pt x="89" y="17"/>
                      <a:pt x="93" y="22"/>
                    </a:cubicBezTo>
                    <a:cubicBezTo>
                      <a:pt x="95" y="28"/>
                      <a:pt x="91" y="40"/>
                      <a:pt x="86" y="43"/>
                    </a:cubicBezTo>
                    <a:cubicBezTo>
                      <a:pt x="85" y="44"/>
                      <a:pt x="84" y="45"/>
                      <a:pt x="84" y="46"/>
                    </a:cubicBezTo>
                    <a:cubicBezTo>
                      <a:pt x="83" y="48"/>
                      <a:pt x="84" y="51"/>
                      <a:pt x="83" y="53"/>
                    </a:cubicBezTo>
                    <a:cubicBezTo>
                      <a:pt x="82" y="55"/>
                      <a:pt x="82" y="48"/>
                      <a:pt x="80" y="47"/>
                    </a:cubicBezTo>
                    <a:cubicBezTo>
                      <a:pt x="78" y="45"/>
                      <a:pt x="75" y="45"/>
                      <a:pt x="72" y="44"/>
                    </a:cubicBezTo>
                    <a:cubicBezTo>
                      <a:pt x="64" y="45"/>
                      <a:pt x="56" y="47"/>
                      <a:pt x="48" y="49"/>
                    </a:cubicBezTo>
                    <a:cubicBezTo>
                      <a:pt x="46" y="51"/>
                      <a:pt x="39" y="54"/>
                      <a:pt x="39" y="54"/>
                    </a:cubicBezTo>
                    <a:cubicBezTo>
                      <a:pt x="36" y="54"/>
                      <a:pt x="32" y="51"/>
                      <a:pt x="29" y="52"/>
                    </a:cubicBezTo>
                    <a:cubicBezTo>
                      <a:pt x="27" y="53"/>
                      <a:pt x="26" y="57"/>
                      <a:pt x="24" y="58"/>
                    </a:cubicBezTo>
                    <a:cubicBezTo>
                      <a:pt x="22" y="59"/>
                      <a:pt x="18" y="60"/>
                      <a:pt x="18" y="60"/>
                    </a:cubicBezTo>
                    <a:cubicBezTo>
                      <a:pt x="12" y="68"/>
                      <a:pt x="11" y="76"/>
                      <a:pt x="0" y="72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30" name="Freeform 68"/>
              <p:cNvSpPr>
                <a:spLocks noChangeAspect="1"/>
              </p:cNvSpPr>
              <p:nvPr/>
            </p:nvSpPr>
            <p:spPr bwMode="auto">
              <a:xfrm>
                <a:off x="2599" y="2294"/>
                <a:ext cx="117" cy="175"/>
              </a:xfrm>
              <a:custGeom>
                <a:avLst/>
                <a:gdLst>
                  <a:gd name="T0" fmla="*/ 21 w 117"/>
                  <a:gd name="T1" fmla="*/ 156 h 175"/>
                  <a:gd name="T2" fmla="*/ 20 w 117"/>
                  <a:gd name="T3" fmla="*/ 130 h 175"/>
                  <a:gd name="T4" fmla="*/ 12 w 117"/>
                  <a:gd name="T5" fmla="*/ 122 h 175"/>
                  <a:gd name="T6" fmla="*/ 7 w 117"/>
                  <a:gd name="T7" fmla="*/ 108 h 175"/>
                  <a:gd name="T8" fmla="*/ 5 w 117"/>
                  <a:gd name="T9" fmla="*/ 89 h 175"/>
                  <a:gd name="T10" fmla="*/ 2 w 117"/>
                  <a:gd name="T11" fmla="*/ 74 h 175"/>
                  <a:gd name="T12" fmla="*/ 17 w 117"/>
                  <a:gd name="T13" fmla="*/ 34 h 175"/>
                  <a:gd name="T14" fmla="*/ 24 w 117"/>
                  <a:gd name="T15" fmla="*/ 29 h 175"/>
                  <a:gd name="T16" fmla="*/ 33 w 117"/>
                  <a:gd name="T17" fmla="*/ 23 h 175"/>
                  <a:gd name="T18" fmla="*/ 53 w 117"/>
                  <a:gd name="T19" fmla="*/ 10 h 175"/>
                  <a:gd name="T20" fmla="*/ 68 w 117"/>
                  <a:gd name="T21" fmla="*/ 2 h 175"/>
                  <a:gd name="T22" fmla="*/ 86 w 117"/>
                  <a:gd name="T23" fmla="*/ 5 h 175"/>
                  <a:gd name="T24" fmla="*/ 92 w 117"/>
                  <a:gd name="T25" fmla="*/ 25 h 175"/>
                  <a:gd name="T26" fmla="*/ 99 w 117"/>
                  <a:gd name="T27" fmla="*/ 37 h 175"/>
                  <a:gd name="T28" fmla="*/ 114 w 117"/>
                  <a:gd name="T29" fmla="*/ 41 h 175"/>
                  <a:gd name="T30" fmla="*/ 110 w 117"/>
                  <a:gd name="T31" fmla="*/ 59 h 175"/>
                  <a:gd name="T32" fmla="*/ 105 w 117"/>
                  <a:gd name="T33" fmla="*/ 67 h 175"/>
                  <a:gd name="T34" fmla="*/ 92 w 117"/>
                  <a:gd name="T35" fmla="*/ 78 h 175"/>
                  <a:gd name="T36" fmla="*/ 81 w 117"/>
                  <a:gd name="T37" fmla="*/ 97 h 175"/>
                  <a:gd name="T38" fmla="*/ 72 w 117"/>
                  <a:gd name="T39" fmla="*/ 109 h 175"/>
                  <a:gd name="T40" fmla="*/ 96 w 117"/>
                  <a:gd name="T41" fmla="*/ 108 h 175"/>
                  <a:gd name="T42" fmla="*/ 107 w 117"/>
                  <a:gd name="T43" fmla="*/ 124 h 175"/>
                  <a:gd name="T44" fmla="*/ 110 w 117"/>
                  <a:gd name="T45" fmla="*/ 133 h 175"/>
                  <a:gd name="T46" fmla="*/ 98 w 117"/>
                  <a:gd name="T47" fmla="*/ 156 h 175"/>
                  <a:gd name="T48" fmla="*/ 90 w 117"/>
                  <a:gd name="T49" fmla="*/ 138 h 175"/>
                  <a:gd name="T50" fmla="*/ 72 w 117"/>
                  <a:gd name="T51" fmla="*/ 131 h 175"/>
                  <a:gd name="T52" fmla="*/ 62 w 117"/>
                  <a:gd name="T53" fmla="*/ 132 h 175"/>
                  <a:gd name="T54" fmla="*/ 71 w 117"/>
                  <a:gd name="T55" fmla="*/ 162 h 175"/>
                  <a:gd name="T56" fmla="*/ 79 w 117"/>
                  <a:gd name="T57" fmla="*/ 175 h 175"/>
                  <a:gd name="T58" fmla="*/ 75 w 117"/>
                  <a:gd name="T59" fmla="*/ 172 h 175"/>
                  <a:gd name="T60" fmla="*/ 41 w 117"/>
                  <a:gd name="T61" fmla="*/ 162 h 175"/>
                  <a:gd name="T62" fmla="*/ 21 w 117"/>
                  <a:gd name="T63" fmla="*/ 156 h 175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117"/>
                  <a:gd name="T97" fmla="*/ 0 h 175"/>
                  <a:gd name="T98" fmla="*/ 117 w 117"/>
                  <a:gd name="T99" fmla="*/ 175 h 175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117" h="175">
                    <a:moveTo>
                      <a:pt x="21" y="156"/>
                    </a:moveTo>
                    <a:cubicBezTo>
                      <a:pt x="24" y="151"/>
                      <a:pt x="20" y="134"/>
                      <a:pt x="20" y="130"/>
                    </a:cubicBezTo>
                    <a:cubicBezTo>
                      <a:pt x="17" y="124"/>
                      <a:pt x="16" y="126"/>
                      <a:pt x="12" y="122"/>
                    </a:cubicBezTo>
                    <a:cubicBezTo>
                      <a:pt x="10" y="117"/>
                      <a:pt x="8" y="113"/>
                      <a:pt x="7" y="108"/>
                    </a:cubicBezTo>
                    <a:cubicBezTo>
                      <a:pt x="6" y="101"/>
                      <a:pt x="6" y="96"/>
                      <a:pt x="5" y="89"/>
                    </a:cubicBezTo>
                    <a:cubicBezTo>
                      <a:pt x="4" y="84"/>
                      <a:pt x="2" y="74"/>
                      <a:pt x="2" y="74"/>
                    </a:cubicBezTo>
                    <a:cubicBezTo>
                      <a:pt x="11" y="65"/>
                      <a:pt x="0" y="38"/>
                      <a:pt x="17" y="34"/>
                    </a:cubicBezTo>
                    <a:cubicBezTo>
                      <a:pt x="18" y="31"/>
                      <a:pt x="24" y="29"/>
                      <a:pt x="24" y="29"/>
                    </a:cubicBezTo>
                    <a:cubicBezTo>
                      <a:pt x="27" y="26"/>
                      <a:pt x="30" y="25"/>
                      <a:pt x="33" y="23"/>
                    </a:cubicBezTo>
                    <a:cubicBezTo>
                      <a:pt x="37" y="16"/>
                      <a:pt x="46" y="12"/>
                      <a:pt x="53" y="10"/>
                    </a:cubicBezTo>
                    <a:cubicBezTo>
                      <a:pt x="57" y="6"/>
                      <a:pt x="62" y="4"/>
                      <a:pt x="68" y="2"/>
                    </a:cubicBezTo>
                    <a:cubicBezTo>
                      <a:pt x="74" y="3"/>
                      <a:pt x="83" y="0"/>
                      <a:pt x="86" y="5"/>
                    </a:cubicBezTo>
                    <a:cubicBezTo>
                      <a:pt x="89" y="10"/>
                      <a:pt x="88" y="21"/>
                      <a:pt x="92" y="25"/>
                    </a:cubicBezTo>
                    <a:cubicBezTo>
                      <a:pt x="95" y="28"/>
                      <a:pt x="99" y="37"/>
                      <a:pt x="99" y="37"/>
                    </a:cubicBezTo>
                    <a:cubicBezTo>
                      <a:pt x="101" y="39"/>
                      <a:pt x="114" y="41"/>
                      <a:pt x="114" y="41"/>
                    </a:cubicBezTo>
                    <a:cubicBezTo>
                      <a:pt x="117" y="49"/>
                      <a:pt x="116" y="53"/>
                      <a:pt x="110" y="59"/>
                    </a:cubicBezTo>
                    <a:cubicBezTo>
                      <a:pt x="108" y="66"/>
                      <a:pt x="110" y="64"/>
                      <a:pt x="105" y="67"/>
                    </a:cubicBezTo>
                    <a:cubicBezTo>
                      <a:pt x="102" y="72"/>
                      <a:pt x="97" y="75"/>
                      <a:pt x="92" y="78"/>
                    </a:cubicBezTo>
                    <a:cubicBezTo>
                      <a:pt x="89" y="84"/>
                      <a:pt x="86" y="92"/>
                      <a:pt x="81" y="97"/>
                    </a:cubicBezTo>
                    <a:cubicBezTo>
                      <a:pt x="79" y="102"/>
                      <a:pt x="72" y="109"/>
                      <a:pt x="72" y="109"/>
                    </a:cubicBezTo>
                    <a:cubicBezTo>
                      <a:pt x="69" y="119"/>
                      <a:pt x="90" y="106"/>
                      <a:pt x="96" y="108"/>
                    </a:cubicBezTo>
                    <a:cubicBezTo>
                      <a:pt x="102" y="111"/>
                      <a:pt x="102" y="117"/>
                      <a:pt x="107" y="124"/>
                    </a:cubicBezTo>
                    <a:cubicBezTo>
                      <a:pt x="109" y="127"/>
                      <a:pt x="110" y="133"/>
                      <a:pt x="110" y="133"/>
                    </a:cubicBezTo>
                    <a:cubicBezTo>
                      <a:pt x="109" y="167"/>
                      <a:pt x="117" y="162"/>
                      <a:pt x="98" y="156"/>
                    </a:cubicBezTo>
                    <a:cubicBezTo>
                      <a:pt x="96" y="153"/>
                      <a:pt x="93" y="141"/>
                      <a:pt x="90" y="138"/>
                    </a:cubicBezTo>
                    <a:cubicBezTo>
                      <a:pt x="88" y="131"/>
                      <a:pt x="78" y="133"/>
                      <a:pt x="72" y="131"/>
                    </a:cubicBezTo>
                    <a:cubicBezTo>
                      <a:pt x="69" y="131"/>
                      <a:pt x="65" y="131"/>
                      <a:pt x="62" y="132"/>
                    </a:cubicBezTo>
                    <a:cubicBezTo>
                      <a:pt x="54" y="136"/>
                      <a:pt x="66" y="159"/>
                      <a:pt x="71" y="162"/>
                    </a:cubicBezTo>
                    <a:cubicBezTo>
                      <a:pt x="74" y="169"/>
                      <a:pt x="78" y="174"/>
                      <a:pt x="79" y="175"/>
                    </a:cubicBezTo>
                    <a:cubicBezTo>
                      <a:pt x="78" y="174"/>
                      <a:pt x="76" y="173"/>
                      <a:pt x="75" y="172"/>
                    </a:cubicBezTo>
                    <a:cubicBezTo>
                      <a:pt x="70" y="158"/>
                      <a:pt x="52" y="162"/>
                      <a:pt x="41" y="162"/>
                    </a:cubicBezTo>
                    <a:cubicBezTo>
                      <a:pt x="34" y="161"/>
                      <a:pt x="28" y="158"/>
                      <a:pt x="21" y="156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</p:grpSp>
        <p:sp>
          <p:nvSpPr>
            <p:cNvPr id="268" name="Freeform 69"/>
            <p:cNvSpPr>
              <a:spLocks noChangeAspect="1"/>
            </p:cNvSpPr>
            <p:nvPr/>
          </p:nvSpPr>
          <p:spPr bwMode="auto">
            <a:xfrm>
              <a:off x="1631" y="2486"/>
              <a:ext cx="222" cy="257"/>
            </a:xfrm>
            <a:custGeom>
              <a:avLst/>
              <a:gdLst>
                <a:gd name="T0" fmla="*/ 474 w 219"/>
                <a:gd name="T1" fmla="*/ 203 h 254"/>
                <a:gd name="T2" fmla="*/ 446 w 219"/>
                <a:gd name="T3" fmla="*/ 165 h 254"/>
                <a:gd name="T4" fmla="*/ 392 w 219"/>
                <a:gd name="T5" fmla="*/ 177 h 254"/>
                <a:gd name="T6" fmla="*/ 335 w 219"/>
                <a:gd name="T7" fmla="*/ 137 h 254"/>
                <a:gd name="T8" fmla="*/ 360 w 219"/>
                <a:gd name="T9" fmla="*/ 117 h 254"/>
                <a:gd name="T10" fmla="*/ 420 w 219"/>
                <a:gd name="T11" fmla="*/ 38 h 254"/>
                <a:gd name="T12" fmla="*/ 458 w 219"/>
                <a:gd name="T13" fmla="*/ 19 h 254"/>
                <a:gd name="T14" fmla="*/ 434 w 219"/>
                <a:gd name="T15" fmla="*/ 7 h 254"/>
                <a:gd name="T16" fmla="*/ 417 w 219"/>
                <a:gd name="T17" fmla="*/ 25 h 254"/>
                <a:gd name="T18" fmla="*/ 335 w 219"/>
                <a:gd name="T19" fmla="*/ 18 h 254"/>
                <a:gd name="T20" fmla="*/ 298 w 219"/>
                <a:gd name="T21" fmla="*/ 35 h 254"/>
                <a:gd name="T22" fmla="*/ 306 w 219"/>
                <a:gd name="T23" fmla="*/ 105 h 254"/>
                <a:gd name="T24" fmla="*/ 316 w 219"/>
                <a:gd name="T25" fmla="*/ 120 h 254"/>
                <a:gd name="T26" fmla="*/ 284 w 219"/>
                <a:gd name="T27" fmla="*/ 137 h 254"/>
                <a:gd name="T28" fmla="*/ 211 w 219"/>
                <a:gd name="T29" fmla="*/ 120 h 254"/>
                <a:gd name="T30" fmla="*/ 138 w 219"/>
                <a:gd name="T31" fmla="*/ 119 h 254"/>
                <a:gd name="T32" fmla="*/ 134 w 219"/>
                <a:gd name="T33" fmla="*/ 159 h 254"/>
                <a:gd name="T34" fmla="*/ 130 w 219"/>
                <a:gd name="T35" fmla="*/ 175 h 254"/>
                <a:gd name="T36" fmla="*/ 106 w 219"/>
                <a:gd name="T37" fmla="*/ 207 h 254"/>
                <a:gd name="T38" fmla="*/ 208 w 219"/>
                <a:gd name="T39" fmla="*/ 278 h 254"/>
                <a:gd name="T40" fmla="*/ 140 w 219"/>
                <a:gd name="T41" fmla="*/ 303 h 254"/>
                <a:gd name="T42" fmla="*/ 105 w 219"/>
                <a:gd name="T43" fmla="*/ 349 h 254"/>
                <a:gd name="T44" fmla="*/ 118 w 219"/>
                <a:gd name="T45" fmla="*/ 363 h 254"/>
                <a:gd name="T46" fmla="*/ 29 w 219"/>
                <a:gd name="T47" fmla="*/ 398 h 254"/>
                <a:gd name="T48" fmla="*/ 13 w 219"/>
                <a:gd name="T49" fmla="*/ 377 h 254"/>
                <a:gd name="T50" fmla="*/ 4 w 219"/>
                <a:gd name="T51" fmla="*/ 413 h 254"/>
                <a:gd name="T52" fmla="*/ 23 w 219"/>
                <a:gd name="T53" fmla="*/ 408 h 254"/>
                <a:gd name="T54" fmla="*/ 4 w 219"/>
                <a:gd name="T55" fmla="*/ 447 h 254"/>
                <a:gd name="T56" fmla="*/ 29 w 219"/>
                <a:gd name="T57" fmla="*/ 456 h 254"/>
                <a:gd name="T58" fmla="*/ 5 w 219"/>
                <a:gd name="T59" fmla="*/ 480 h 254"/>
                <a:gd name="T60" fmla="*/ 26 w 219"/>
                <a:gd name="T61" fmla="*/ 509 h 254"/>
                <a:gd name="T62" fmla="*/ 170 w 219"/>
                <a:gd name="T63" fmla="*/ 504 h 254"/>
                <a:gd name="T64" fmla="*/ 274 w 219"/>
                <a:gd name="T65" fmla="*/ 497 h 254"/>
                <a:gd name="T66" fmla="*/ 332 w 219"/>
                <a:gd name="T67" fmla="*/ 468 h 254"/>
                <a:gd name="T68" fmla="*/ 428 w 219"/>
                <a:gd name="T69" fmla="*/ 452 h 254"/>
                <a:gd name="T70" fmla="*/ 464 w 219"/>
                <a:gd name="T71" fmla="*/ 398 h 254"/>
                <a:gd name="T72" fmla="*/ 474 w 219"/>
                <a:gd name="T73" fmla="*/ 377 h 254"/>
                <a:gd name="T74" fmla="*/ 471 w 219"/>
                <a:gd name="T75" fmla="*/ 278 h 254"/>
                <a:gd name="T76" fmla="*/ 494 w 219"/>
                <a:gd name="T77" fmla="*/ 216 h 254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219"/>
                <a:gd name="T118" fmla="*/ 0 h 254"/>
                <a:gd name="T119" fmla="*/ 219 w 219"/>
                <a:gd name="T120" fmla="*/ 254 h 254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219" h="254">
                  <a:moveTo>
                    <a:pt x="217" y="110"/>
                  </a:moveTo>
                  <a:cubicBezTo>
                    <a:pt x="219" y="105"/>
                    <a:pt x="213" y="105"/>
                    <a:pt x="208" y="104"/>
                  </a:cubicBezTo>
                  <a:cubicBezTo>
                    <a:pt x="202" y="100"/>
                    <a:pt x="201" y="97"/>
                    <a:pt x="196" y="92"/>
                  </a:cubicBezTo>
                  <a:cubicBezTo>
                    <a:pt x="194" y="90"/>
                    <a:pt x="194" y="85"/>
                    <a:pt x="194" y="85"/>
                  </a:cubicBezTo>
                  <a:cubicBezTo>
                    <a:pt x="191" y="77"/>
                    <a:pt x="190" y="79"/>
                    <a:pt x="182" y="82"/>
                  </a:cubicBezTo>
                  <a:cubicBezTo>
                    <a:pt x="179" y="90"/>
                    <a:pt x="182" y="92"/>
                    <a:pt x="172" y="91"/>
                  </a:cubicBezTo>
                  <a:cubicBezTo>
                    <a:pt x="165" y="89"/>
                    <a:pt x="164" y="79"/>
                    <a:pt x="154" y="76"/>
                  </a:cubicBezTo>
                  <a:cubicBezTo>
                    <a:pt x="152" y="69"/>
                    <a:pt x="155" y="77"/>
                    <a:pt x="149" y="71"/>
                  </a:cubicBezTo>
                  <a:cubicBezTo>
                    <a:pt x="147" y="69"/>
                    <a:pt x="147" y="64"/>
                    <a:pt x="146" y="61"/>
                  </a:cubicBezTo>
                  <a:cubicBezTo>
                    <a:pt x="150" y="58"/>
                    <a:pt x="154" y="57"/>
                    <a:pt x="159" y="56"/>
                  </a:cubicBezTo>
                  <a:cubicBezTo>
                    <a:pt x="165" y="47"/>
                    <a:pt x="162" y="47"/>
                    <a:pt x="173" y="46"/>
                  </a:cubicBezTo>
                  <a:cubicBezTo>
                    <a:pt x="180" y="41"/>
                    <a:pt x="178" y="44"/>
                    <a:pt x="182" y="38"/>
                  </a:cubicBezTo>
                  <a:cubicBezTo>
                    <a:pt x="184" y="32"/>
                    <a:pt x="184" y="31"/>
                    <a:pt x="190" y="29"/>
                  </a:cubicBezTo>
                  <a:cubicBezTo>
                    <a:pt x="193" y="26"/>
                    <a:pt x="196" y="20"/>
                    <a:pt x="200" y="19"/>
                  </a:cubicBezTo>
                  <a:cubicBezTo>
                    <a:pt x="202" y="14"/>
                    <a:pt x="206" y="9"/>
                    <a:pt x="202" y="6"/>
                  </a:cubicBezTo>
                  <a:cubicBezTo>
                    <a:pt x="200" y="0"/>
                    <a:pt x="194" y="3"/>
                    <a:pt x="188" y="7"/>
                  </a:cubicBezTo>
                  <a:cubicBezTo>
                    <a:pt x="187" y="11"/>
                    <a:pt x="184" y="15"/>
                    <a:pt x="183" y="19"/>
                  </a:cubicBezTo>
                  <a:cubicBezTo>
                    <a:pt x="182" y="21"/>
                    <a:pt x="181" y="25"/>
                    <a:pt x="181" y="25"/>
                  </a:cubicBezTo>
                  <a:cubicBezTo>
                    <a:pt x="170" y="22"/>
                    <a:pt x="182" y="10"/>
                    <a:pt x="165" y="8"/>
                  </a:cubicBezTo>
                  <a:cubicBezTo>
                    <a:pt x="149" y="9"/>
                    <a:pt x="158" y="15"/>
                    <a:pt x="149" y="18"/>
                  </a:cubicBezTo>
                  <a:cubicBezTo>
                    <a:pt x="148" y="23"/>
                    <a:pt x="147" y="23"/>
                    <a:pt x="142" y="25"/>
                  </a:cubicBezTo>
                  <a:cubicBezTo>
                    <a:pt x="139" y="29"/>
                    <a:pt x="135" y="34"/>
                    <a:pt x="131" y="35"/>
                  </a:cubicBezTo>
                  <a:cubicBezTo>
                    <a:pt x="131" y="36"/>
                    <a:pt x="127" y="40"/>
                    <a:pt x="128" y="41"/>
                  </a:cubicBezTo>
                  <a:cubicBezTo>
                    <a:pt x="129" y="43"/>
                    <a:pt x="134" y="43"/>
                    <a:pt x="135" y="44"/>
                  </a:cubicBezTo>
                  <a:cubicBezTo>
                    <a:pt x="138" y="45"/>
                    <a:pt x="145" y="48"/>
                    <a:pt x="145" y="48"/>
                  </a:cubicBezTo>
                  <a:cubicBezTo>
                    <a:pt x="144" y="49"/>
                    <a:pt x="142" y="58"/>
                    <a:pt x="140" y="59"/>
                  </a:cubicBezTo>
                  <a:cubicBezTo>
                    <a:pt x="137" y="61"/>
                    <a:pt x="131" y="62"/>
                    <a:pt x="131" y="62"/>
                  </a:cubicBezTo>
                  <a:cubicBezTo>
                    <a:pt x="127" y="67"/>
                    <a:pt x="125" y="64"/>
                    <a:pt x="124" y="71"/>
                  </a:cubicBezTo>
                  <a:cubicBezTo>
                    <a:pt x="116" y="70"/>
                    <a:pt x="120" y="68"/>
                    <a:pt x="113" y="65"/>
                  </a:cubicBezTo>
                  <a:cubicBezTo>
                    <a:pt x="111" y="58"/>
                    <a:pt x="101" y="60"/>
                    <a:pt x="95" y="59"/>
                  </a:cubicBezTo>
                  <a:cubicBezTo>
                    <a:pt x="92" y="55"/>
                    <a:pt x="87" y="53"/>
                    <a:pt x="83" y="52"/>
                  </a:cubicBezTo>
                  <a:cubicBezTo>
                    <a:pt x="75" y="53"/>
                    <a:pt x="67" y="51"/>
                    <a:pt x="63" y="58"/>
                  </a:cubicBezTo>
                  <a:cubicBezTo>
                    <a:pt x="62" y="64"/>
                    <a:pt x="62" y="66"/>
                    <a:pt x="58" y="70"/>
                  </a:cubicBezTo>
                  <a:cubicBezTo>
                    <a:pt x="57" y="74"/>
                    <a:pt x="57" y="79"/>
                    <a:pt x="61" y="82"/>
                  </a:cubicBezTo>
                  <a:cubicBezTo>
                    <a:pt x="64" y="85"/>
                    <a:pt x="74" y="86"/>
                    <a:pt x="74" y="86"/>
                  </a:cubicBezTo>
                  <a:cubicBezTo>
                    <a:pt x="69" y="88"/>
                    <a:pt x="64" y="88"/>
                    <a:pt x="59" y="90"/>
                  </a:cubicBezTo>
                  <a:cubicBezTo>
                    <a:pt x="61" y="95"/>
                    <a:pt x="62" y="96"/>
                    <a:pt x="61" y="101"/>
                  </a:cubicBezTo>
                  <a:cubicBezTo>
                    <a:pt x="48" y="100"/>
                    <a:pt x="47" y="93"/>
                    <a:pt x="45" y="106"/>
                  </a:cubicBezTo>
                  <a:cubicBezTo>
                    <a:pt x="46" y="114"/>
                    <a:pt x="50" y="119"/>
                    <a:pt x="59" y="121"/>
                  </a:cubicBezTo>
                  <a:cubicBezTo>
                    <a:pt x="70" y="128"/>
                    <a:pt x="81" y="133"/>
                    <a:pt x="94" y="134"/>
                  </a:cubicBezTo>
                  <a:cubicBezTo>
                    <a:pt x="89" y="141"/>
                    <a:pt x="84" y="138"/>
                    <a:pt x="74" y="137"/>
                  </a:cubicBezTo>
                  <a:cubicBezTo>
                    <a:pt x="67" y="139"/>
                    <a:pt x="70" y="146"/>
                    <a:pt x="64" y="150"/>
                  </a:cubicBezTo>
                  <a:cubicBezTo>
                    <a:pt x="62" y="155"/>
                    <a:pt x="58" y="160"/>
                    <a:pt x="53" y="162"/>
                  </a:cubicBezTo>
                  <a:cubicBezTo>
                    <a:pt x="50" y="166"/>
                    <a:pt x="39" y="175"/>
                    <a:pt x="44" y="173"/>
                  </a:cubicBezTo>
                  <a:cubicBezTo>
                    <a:pt x="58" y="174"/>
                    <a:pt x="71" y="171"/>
                    <a:pt x="85" y="173"/>
                  </a:cubicBezTo>
                  <a:cubicBezTo>
                    <a:pt x="74" y="175"/>
                    <a:pt x="64" y="179"/>
                    <a:pt x="53" y="180"/>
                  </a:cubicBezTo>
                  <a:cubicBezTo>
                    <a:pt x="47" y="182"/>
                    <a:pt x="43" y="178"/>
                    <a:pt x="37" y="180"/>
                  </a:cubicBezTo>
                  <a:cubicBezTo>
                    <a:pt x="35" y="183"/>
                    <a:pt x="31" y="192"/>
                    <a:pt x="29" y="196"/>
                  </a:cubicBezTo>
                  <a:cubicBezTo>
                    <a:pt x="28" y="198"/>
                    <a:pt x="27" y="202"/>
                    <a:pt x="27" y="202"/>
                  </a:cubicBezTo>
                  <a:cubicBezTo>
                    <a:pt x="25" y="195"/>
                    <a:pt x="20" y="189"/>
                    <a:pt x="13" y="187"/>
                  </a:cubicBezTo>
                  <a:cubicBezTo>
                    <a:pt x="6" y="188"/>
                    <a:pt x="9" y="190"/>
                    <a:pt x="4" y="193"/>
                  </a:cubicBezTo>
                  <a:cubicBezTo>
                    <a:pt x="3" y="196"/>
                    <a:pt x="0" y="200"/>
                    <a:pt x="4" y="202"/>
                  </a:cubicBezTo>
                  <a:cubicBezTo>
                    <a:pt x="6" y="203"/>
                    <a:pt x="10" y="204"/>
                    <a:pt x="10" y="204"/>
                  </a:cubicBezTo>
                  <a:cubicBezTo>
                    <a:pt x="16" y="203"/>
                    <a:pt x="18" y="203"/>
                    <a:pt x="23" y="200"/>
                  </a:cubicBezTo>
                  <a:cubicBezTo>
                    <a:pt x="24" y="201"/>
                    <a:pt x="27" y="201"/>
                    <a:pt x="27" y="202"/>
                  </a:cubicBezTo>
                  <a:cubicBezTo>
                    <a:pt x="27" y="205"/>
                    <a:pt x="7" y="216"/>
                    <a:pt x="4" y="217"/>
                  </a:cubicBezTo>
                  <a:cubicBezTo>
                    <a:pt x="5" y="222"/>
                    <a:pt x="6" y="222"/>
                    <a:pt x="11" y="224"/>
                  </a:cubicBezTo>
                  <a:cubicBezTo>
                    <a:pt x="17" y="223"/>
                    <a:pt x="24" y="218"/>
                    <a:pt x="29" y="222"/>
                  </a:cubicBezTo>
                  <a:cubicBezTo>
                    <a:pt x="31" y="223"/>
                    <a:pt x="29" y="226"/>
                    <a:pt x="28" y="228"/>
                  </a:cubicBezTo>
                  <a:cubicBezTo>
                    <a:pt x="23" y="235"/>
                    <a:pt x="12" y="234"/>
                    <a:pt x="5" y="236"/>
                  </a:cubicBezTo>
                  <a:cubicBezTo>
                    <a:pt x="14" y="240"/>
                    <a:pt x="23" y="238"/>
                    <a:pt x="32" y="241"/>
                  </a:cubicBezTo>
                  <a:cubicBezTo>
                    <a:pt x="31" y="245"/>
                    <a:pt x="30" y="249"/>
                    <a:pt x="26" y="250"/>
                  </a:cubicBezTo>
                  <a:cubicBezTo>
                    <a:pt x="32" y="254"/>
                    <a:pt x="38" y="253"/>
                    <a:pt x="45" y="254"/>
                  </a:cubicBezTo>
                  <a:cubicBezTo>
                    <a:pt x="56" y="252"/>
                    <a:pt x="68" y="250"/>
                    <a:pt x="79" y="248"/>
                  </a:cubicBezTo>
                  <a:cubicBezTo>
                    <a:pt x="83" y="247"/>
                    <a:pt x="92" y="244"/>
                    <a:pt x="92" y="244"/>
                  </a:cubicBezTo>
                  <a:cubicBezTo>
                    <a:pt x="98" y="238"/>
                    <a:pt x="112" y="243"/>
                    <a:pt x="119" y="244"/>
                  </a:cubicBezTo>
                  <a:cubicBezTo>
                    <a:pt x="122" y="242"/>
                    <a:pt x="128" y="238"/>
                    <a:pt x="128" y="238"/>
                  </a:cubicBezTo>
                  <a:cubicBezTo>
                    <a:pt x="130" y="232"/>
                    <a:pt x="143" y="231"/>
                    <a:pt x="148" y="230"/>
                  </a:cubicBezTo>
                  <a:cubicBezTo>
                    <a:pt x="162" y="232"/>
                    <a:pt x="166" y="235"/>
                    <a:pt x="178" y="239"/>
                  </a:cubicBezTo>
                  <a:cubicBezTo>
                    <a:pt x="188" y="236"/>
                    <a:pt x="182" y="231"/>
                    <a:pt x="185" y="220"/>
                  </a:cubicBezTo>
                  <a:cubicBezTo>
                    <a:pt x="186" y="216"/>
                    <a:pt x="197" y="215"/>
                    <a:pt x="197" y="215"/>
                  </a:cubicBezTo>
                  <a:cubicBezTo>
                    <a:pt x="203" y="209"/>
                    <a:pt x="200" y="203"/>
                    <a:pt x="203" y="196"/>
                  </a:cubicBezTo>
                  <a:cubicBezTo>
                    <a:pt x="204" y="194"/>
                    <a:pt x="206" y="192"/>
                    <a:pt x="207" y="190"/>
                  </a:cubicBezTo>
                  <a:cubicBezTo>
                    <a:pt x="207" y="189"/>
                    <a:pt x="208" y="188"/>
                    <a:pt x="208" y="187"/>
                  </a:cubicBezTo>
                  <a:cubicBezTo>
                    <a:pt x="211" y="169"/>
                    <a:pt x="211" y="159"/>
                    <a:pt x="209" y="140"/>
                  </a:cubicBezTo>
                  <a:cubicBezTo>
                    <a:pt x="209" y="138"/>
                    <a:pt x="207" y="134"/>
                    <a:pt x="207" y="134"/>
                  </a:cubicBezTo>
                  <a:cubicBezTo>
                    <a:pt x="208" y="128"/>
                    <a:pt x="209" y="124"/>
                    <a:pt x="211" y="119"/>
                  </a:cubicBezTo>
                  <a:cubicBezTo>
                    <a:pt x="212" y="111"/>
                    <a:pt x="210" y="114"/>
                    <a:pt x="217" y="110"/>
                  </a:cubicBez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  <p:grpSp>
          <p:nvGrpSpPr>
            <p:cNvPr id="269" name="Group 70"/>
            <p:cNvGrpSpPr>
              <a:grpSpLocks noChangeAspect="1"/>
            </p:cNvGrpSpPr>
            <p:nvPr/>
          </p:nvGrpSpPr>
          <p:grpSpPr bwMode="auto">
            <a:xfrm>
              <a:off x="2582" y="1531"/>
              <a:ext cx="400" cy="1042"/>
              <a:chOff x="2717" y="1385"/>
              <a:chExt cx="395" cy="1031"/>
            </a:xfrm>
            <a:grpFill/>
          </p:grpSpPr>
          <p:sp>
            <p:nvSpPr>
              <p:cNvPr id="323" name="Freeform 71"/>
              <p:cNvSpPr>
                <a:spLocks noChangeAspect="1"/>
              </p:cNvSpPr>
              <p:nvPr/>
            </p:nvSpPr>
            <p:spPr bwMode="auto">
              <a:xfrm>
                <a:off x="2998" y="2203"/>
                <a:ext cx="50" cy="89"/>
              </a:xfrm>
              <a:custGeom>
                <a:avLst/>
                <a:gdLst>
                  <a:gd name="T0" fmla="*/ 42 w 50"/>
                  <a:gd name="T1" fmla="*/ 3 h 89"/>
                  <a:gd name="T2" fmla="*/ 24 w 50"/>
                  <a:gd name="T3" fmla="*/ 14 h 89"/>
                  <a:gd name="T4" fmla="*/ 15 w 50"/>
                  <a:gd name="T5" fmla="*/ 19 h 89"/>
                  <a:gd name="T6" fmla="*/ 0 w 50"/>
                  <a:gd name="T7" fmla="*/ 38 h 89"/>
                  <a:gd name="T8" fmla="*/ 4 w 50"/>
                  <a:gd name="T9" fmla="*/ 51 h 89"/>
                  <a:gd name="T10" fmla="*/ 0 w 50"/>
                  <a:gd name="T11" fmla="*/ 62 h 89"/>
                  <a:gd name="T12" fmla="*/ 7 w 50"/>
                  <a:gd name="T13" fmla="*/ 72 h 89"/>
                  <a:gd name="T14" fmla="*/ 6 w 50"/>
                  <a:gd name="T15" fmla="*/ 81 h 89"/>
                  <a:gd name="T16" fmla="*/ 13 w 50"/>
                  <a:gd name="T17" fmla="*/ 83 h 89"/>
                  <a:gd name="T18" fmla="*/ 23 w 50"/>
                  <a:gd name="T19" fmla="*/ 65 h 89"/>
                  <a:gd name="T20" fmla="*/ 33 w 50"/>
                  <a:gd name="T21" fmla="*/ 48 h 89"/>
                  <a:gd name="T22" fmla="*/ 23 w 50"/>
                  <a:gd name="T23" fmla="*/ 29 h 89"/>
                  <a:gd name="T24" fmla="*/ 34 w 50"/>
                  <a:gd name="T25" fmla="*/ 18 h 89"/>
                  <a:gd name="T26" fmla="*/ 48 w 50"/>
                  <a:gd name="T27" fmla="*/ 6 h 89"/>
                  <a:gd name="T28" fmla="*/ 42 w 50"/>
                  <a:gd name="T29" fmla="*/ 3 h 89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50"/>
                  <a:gd name="T46" fmla="*/ 0 h 89"/>
                  <a:gd name="T47" fmla="*/ 50 w 50"/>
                  <a:gd name="T48" fmla="*/ 89 h 89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50" h="89">
                    <a:moveTo>
                      <a:pt x="42" y="3"/>
                    </a:moveTo>
                    <a:cubicBezTo>
                      <a:pt x="27" y="4"/>
                      <a:pt x="15" y="0"/>
                      <a:pt x="24" y="14"/>
                    </a:cubicBezTo>
                    <a:cubicBezTo>
                      <a:pt x="21" y="18"/>
                      <a:pt x="20" y="18"/>
                      <a:pt x="15" y="19"/>
                    </a:cubicBezTo>
                    <a:cubicBezTo>
                      <a:pt x="7" y="24"/>
                      <a:pt x="7" y="31"/>
                      <a:pt x="0" y="38"/>
                    </a:cubicBezTo>
                    <a:cubicBezTo>
                      <a:pt x="1" y="44"/>
                      <a:pt x="2" y="46"/>
                      <a:pt x="4" y="51"/>
                    </a:cubicBezTo>
                    <a:cubicBezTo>
                      <a:pt x="3" y="55"/>
                      <a:pt x="1" y="58"/>
                      <a:pt x="0" y="62"/>
                    </a:cubicBezTo>
                    <a:cubicBezTo>
                      <a:pt x="1" y="68"/>
                      <a:pt x="1" y="70"/>
                      <a:pt x="7" y="72"/>
                    </a:cubicBezTo>
                    <a:cubicBezTo>
                      <a:pt x="10" y="76"/>
                      <a:pt x="8" y="76"/>
                      <a:pt x="6" y="81"/>
                    </a:cubicBezTo>
                    <a:cubicBezTo>
                      <a:pt x="7" y="88"/>
                      <a:pt x="9" y="89"/>
                      <a:pt x="13" y="83"/>
                    </a:cubicBezTo>
                    <a:cubicBezTo>
                      <a:pt x="15" y="71"/>
                      <a:pt x="12" y="67"/>
                      <a:pt x="23" y="65"/>
                    </a:cubicBezTo>
                    <a:cubicBezTo>
                      <a:pt x="31" y="61"/>
                      <a:pt x="27" y="54"/>
                      <a:pt x="33" y="48"/>
                    </a:cubicBezTo>
                    <a:cubicBezTo>
                      <a:pt x="30" y="40"/>
                      <a:pt x="27" y="36"/>
                      <a:pt x="23" y="29"/>
                    </a:cubicBezTo>
                    <a:cubicBezTo>
                      <a:pt x="24" y="24"/>
                      <a:pt x="29" y="21"/>
                      <a:pt x="34" y="18"/>
                    </a:cubicBezTo>
                    <a:cubicBezTo>
                      <a:pt x="37" y="8"/>
                      <a:pt x="36" y="7"/>
                      <a:pt x="48" y="6"/>
                    </a:cubicBezTo>
                    <a:cubicBezTo>
                      <a:pt x="50" y="1"/>
                      <a:pt x="50" y="3"/>
                      <a:pt x="42" y="3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24" name="Freeform 72"/>
              <p:cNvSpPr>
                <a:spLocks noChangeAspect="1"/>
              </p:cNvSpPr>
              <p:nvPr/>
            </p:nvSpPr>
            <p:spPr bwMode="auto">
              <a:xfrm>
                <a:off x="2932" y="2263"/>
                <a:ext cx="29" cy="87"/>
              </a:xfrm>
              <a:custGeom>
                <a:avLst/>
                <a:gdLst>
                  <a:gd name="T0" fmla="*/ 27 w 29"/>
                  <a:gd name="T1" fmla="*/ 0 h 87"/>
                  <a:gd name="T2" fmla="*/ 19 w 29"/>
                  <a:gd name="T3" fmla="*/ 15 h 87"/>
                  <a:gd name="T4" fmla="*/ 13 w 29"/>
                  <a:gd name="T5" fmla="*/ 30 h 87"/>
                  <a:gd name="T6" fmla="*/ 7 w 29"/>
                  <a:gd name="T7" fmla="*/ 38 h 87"/>
                  <a:gd name="T8" fmla="*/ 1 w 29"/>
                  <a:gd name="T9" fmla="*/ 57 h 87"/>
                  <a:gd name="T10" fmla="*/ 9 w 29"/>
                  <a:gd name="T11" fmla="*/ 78 h 87"/>
                  <a:gd name="T12" fmla="*/ 12 w 29"/>
                  <a:gd name="T13" fmla="*/ 85 h 87"/>
                  <a:gd name="T14" fmla="*/ 24 w 29"/>
                  <a:gd name="T15" fmla="*/ 32 h 87"/>
                  <a:gd name="T16" fmla="*/ 25 w 29"/>
                  <a:gd name="T17" fmla="*/ 17 h 87"/>
                  <a:gd name="T18" fmla="*/ 29 w 29"/>
                  <a:gd name="T19" fmla="*/ 8 h 87"/>
                  <a:gd name="T20" fmla="*/ 27 w 29"/>
                  <a:gd name="T21" fmla="*/ 0 h 87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29"/>
                  <a:gd name="T34" fmla="*/ 0 h 87"/>
                  <a:gd name="T35" fmla="*/ 29 w 29"/>
                  <a:gd name="T36" fmla="*/ 87 h 87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29" h="87">
                    <a:moveTo>
                      <a:pt x="27" y="0"/>
                    </a:moveTo>
                    <a:cubicBezTo>
                      <a:pt x="24" y="5"/>
                      <a:pt x="23" y="11"/>
                      <a:pt x="19" y="15"/>
                    </a:cubicBezTo>
                    <a:cubicBezTo>
                      <a:pt x="18" y="21"/>
                      <a:pt x="17" y="26"/>
                      <a:pt x="13" y="30"/>
                    </a:cubicBezTo>
                    <a:cubicBezTo>
                      <a:pt x="11" y="37"/>
                      <a:pt x="13" y="35"/>
                      <a:pt x="7" y="38"/>
                    </a:cubicBezTo>
                    <a:cubicBezTo>
                      <a:pt x="5" y="44"/>
                      <a:pt x="5" y="51"/>
                      <a:pt x="1" y="57"/>
                    </a:cubicBezTo>
                    <a:cubicBezTo>
                      <a:pt x="0" y="64"/>
                      <a:pt x="2" y="76"/>
                      <a:pt x="9" y="78"/>
                    </a:cubicBezTo>
                    <a:cubicBezTo>
                      <a:pt x="10" y="80"/>
                      <a:pt x="11" y="87"/>
                      <a:pt x="12" y="85"/>
                    </a:cubicBezTo>
                    <a:cubicBezTo>
                      <a:pt x="18" y="68"/>
                      <a:pt x="18" y="49"/>
                      <a:pt x="24" y="32"/>
                    </a:cubicBezTo>
                    <a:cubicBezTo>
                      <a:pt x="24" y="27"/>
                      <a:pt x="24" y="22"/>
                      <a:pt x="25" y="17"/>
                    </a:cubicBezTo>
                    <a:cubicBezTo>
                      <a:pt x="26" y="14"/>
                      <a:pt x="29" y="8"/>
                      <a:pt x="29" y="8"/>
                    </a:cubicBezTo>
                    <a:cubicBezTo>
                      <a:pt x="28" y="2"/>
                      <a:pt x="29" y="5"/>
                      <a:pt x="27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25" name="Freeform 73"/>
              <p:cNvSpPr>
                <a:spLocks noChangeAspect="1"/>
              </p:cNvSpPr>
              <p:nvPr/>
            </p:nvSpPr>
            <p:spPr bwMode="auto">
              <a:xfrm>
                <a:off x="2717" y="1385"/>
                <a:ext cx="395" cy="1031"/>
              </a:xfrm>
              <a:custGeom>
                <a:avLst/>
                <a:gdLst>
                  <a:gd name="T0" fmla="*/ 240 w 395"/>
                  <a:gd name="T1" fmla="*/ 3 h 1031"/>
                  <a:gd name="T2" fmla="*/ 240 w 395"/>
                  <a:gd name="T3" fmla="*/ 33 h 1031"/>
                  <a:gd name="T4" fmla="*/ 188 w 395"/>
                  <a:gd name="T5" fmla="*/ 73 h 1031"/>
                  <a:gd name="T6" fmla="*/ 144 w 395"/>
                  <a:gd name="T7" fmla="*/ 130 h 1031"/>
                  <a:gd name="T8" fmla="*/ 135 w 395"/>
                  <a:gd name="T9" fmla="*/ 193 h 1031"/>
                  <a:gd name="T10" fmla="*/ 103 w 395"/>
                  <a:gd name="T11" fmla="*/ 302 h 1031"/>
                  <a:gd name="T12" fmla="*/ 92 w 395"/>
                  <a:gd name="T13" fmla="*/ 331 h 1031"/>
                  <a:gd name="T14" fmla="*/ 87 w 395"/>
                  <a:gd name="T15" fmla="*/ 358 h 1031"/>
                  <a:gd name="T16" fmla="*/ 74 w 395"/>
                  <a:gd name="T17" fmla="*/ 393 h 1031"/>
                  <a:gd name="T18" fmla="*/ 29 w 395"/>
                  <a:gd name="T19" fmla="*/ 457 h 1031"/>
                  <a:gd name="T20" fmla="*/ 38 w 395"/>
                  <a:gd name="T21" fmla="*/ 563 h 1031"/>
                  <a:gd name="T22" fmla="*/ 45 w 395"/>
                  <a:gd name="T23" fmla="*/ 633 h 1031"/>
                  <a:gd name="T24" fmla="*/ 40 w 395"/>
                  <a:gd name="T25" fmla="*/ 702 h 1031"/>
                  <a:gd name="T26" fmla="*/ 21 w 395"/>
                  <a:gd name="T27" fmla="*/ 773 h 1031"/>
                  <a:gd name="T28" fmla="*/ 3 w 395"/>
                  <a:gd name="T29" fmla="*/ 771 h 1031"/>
                  <a:gd name="T30" fmla="*/ 35 w 395"/>
                  <a:gd name="T31" fmla="*/ 865 h 1031"/>
                  <a:gd name="T32" fmla="*/ 69 w 395"/>
                  <a:gd name="T33" fmla="*/ 926 h 1031"/>
                  <a:gd name="T34" fmla="*/ 94 w 395"/>
                  <a:gd name="T35" fmla="*/ 1031 h 1031"/>
                  <a:gd name="T36" fmla="*/ 136 w 395"/>
                  <a:gd name="T37" fmla="*/ 993 h 1031"/>
                  <a:gd name="T38" fmla="*/ 196 w 395"/>
                  <a:gd name="T39" fmla="*/ 963 h 1031"/>
                  <a:gd name="T40" fmla="*/ 207 w 395"/>
                  <a:gd name="T41" fmla="*/ 939 h 1031"/>
                  <a:gd name="T42" fmla="*/ 220 w 395"/>
                  <a:gd name="T43" fmla="*/ 897 h 1031"/>
                  <a:gd name="T44" fmla="*/ 201 w 395"/>
                  <a:gd name="T45" fmla="*/ 790 h 1031"/>
                  <a:gd name="T46" fmla="*/ 252 w 395"/>
                  <a:gd name="T47" fmla="*/ 750 h 1031"/>
                  <a:gd name="T48" fmla="*/ 284 w 395"/>
                  <a:gd name="T49" fmla="*/ 745 h 1031"/>
                  <a:gd name="T50" fmla="*/ 298 w 395"/>
                  <a:gd name="T51" fmla="*/ 693 h 1031"/>
                  <a:gd name="T52" fmla="*/ 255 w 395"/>
                  <a:gd name="T53" fmla="*/ 645 h 1031"/>
                  <a:gd name="T54" fmla="*/ 226 w 395"/>
                  <a:gd name="T55" fmla="*/ 637 h 1031"/>
                  <a:gd name="T56" fmla="*/ 226 w 395"/>
                  <a:gd name="T57" fmla="*/ 507 h 1031"/>
                  <a:gd name="T58" fmla="*/ 305 w 395"/>
                  <a:gd name="T59" fmla="*/ 399 h 1031"/>
                  <a:gd name="T60" fmla="*/ 332 w 395"/>
                  <a:gd name="T61" fmla="*/ 365 h 1031"/>
                  <a:gd name="T62" fmla="*/ 312 w 395"/>
                  <a:gd name="T63" fmla="*/ 309 h 1031"/>
                  <a:gd name="T64" fmla="*/ 372 w 395"/>
                  <a:gd name="T65" fmla="*/ 229 h 1031"/>
                  <a:gd name="T66" fmla="*/ 384 w 395"/>
                  <a:gd name="T67" fmla="*/ 213 h 1031"/>
                  <a:gd name="T68" fmla="*/ 365 w 395"/>
                  <a:gd name="T69" fmla="*/ 133 h 1031"/>
                  <a:gd name="T70" fmla="*/ 340 w 395"/>
                  <a:gd name="T71" fmla="*/ 62 h 1031"/>
                  <a:gd name="T72" fmla="*/ 253 w 395"/>
                  <a:gd name="T73" fmla="*/ 0 h 1031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395"/>
                  <a:gd name="T112" fmla="*/ 0 h 1031"/>
                  <a:gd name="T113" fmla="*/ 395 w 395"/>
                  <a:gd name="T114" fmla="*/ 1031 h 1031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395" h="1031">
                    <a:moveTo>
                      <a:pt x="253" y="0"/>
                    </a:moveTo>
                    <a:cubicBezTo>
                      <a:pt x="251" y="0"/>
                      <a:pt x="240" y="2"/>
                      <a:pt x="240" y="3"/>
                    </a:cubicBezTo>
                    <a:cubicBezTo>
                      <a:pt x="239" y="7"/>
                      <a:pt x="244" y="20"/>
                      <a:pt x="244" y="25"/>
                    </a:cubicBezTo>
                    <a:cubicBezTo>
                      <a:pt x="243" y="28"/>
                      <a:pt x="240" y="33"/>
                      <a:pt x="240" y="33"/>
                    </a:cubicBezTo>
                    <a:cubicBezTo>
                      <a:pt x="239" y="38"/>
                      <a:pt x="245" y="47"/>
                      <a:pt x="236" y="54"/>
                    </a:cubicBezTo>
                    <a:cubicBezTo>
                      <a:pt x="159" y="33"/>
                      <a:pt x="202" y="64"/>
                      <a:pt x="188" y="73"/>
                    </a:cubicBezTo>
                    <a:cubicBezTo>
                      <a:pt x="172" y="83"/>
                      <a:pt x="202" y="87"/>
                      <a:pt x="179" y="88"/>
                    </a:cubicBezTo>
                    <a:cubicBezTo>
                      <a:pt x="135" y="86"/>
                      <a:pt x="146" y="119"/>
                      <a:pt x="144" y="130"/>
                    </a:cubicBezTo>
                    <a:cubicBezTo>
                      <a:pt x="148" y="137"/>
                      <a:pt x="146" y="147"/>
                      <a:pt x="148" y="155"/>
                    </a:cubicBezTo>
                    <a:cubicBezTo>
                      <a:pt x="145" y="174"/>
                      <a:pt x="145" y="177"/>
                      <a:pt x="135" y="193"/>
                    </a:cubicBezTo>
                    <a:cubicBezTo>
                      <a:pt x="128" y="208"/>
                      <a:pt x="111" y="225"/>
                      <a:pt x="106" y="243"/>
                    </a:cubicBezTo>
                    <a:cubicBezTo>
                      <a:pt x="102" y="265"/>
                      <a:pt x="102" y="276"/>
                      <a:pt x="103" y="302"/>
                    </a:cubicBezTo>
                    <a:cubicBezTo>
                      <a:pt x="101" y="308"/>
                      <a:pt x="101" y="311"/>
                      <a:pt x="96" y="315"/>
                    </a:cubicBezTo>
                    <a:cubicBezTo>
                      <a:pt x="95" y="320"/>
                      <a:pt x="94" y="326"/>
                      <a:pt x="92" y="331"/>
                    </a:cubicBezTo>
                    <a:cubicBezTo>
                      <a:pt x="91" y="334"/>
                      <a:pt x="88" y="341"/>
                      <a:pt x="88" y="341"/>
                    </a:cubicBezTo>
                    <a:cubicBezTo>
                      <a:pt x="87" y="349"/>
                      <a:pt x="83" y="350"/>
                      <a:pt x="87" y="358"/>
                    </a:cubicBezTo>
                    <a:cubicBezTo>
                      <a:pt x="90" y="371"/>
                      <a:pt x="99" y="375"/>
                      <a:pt x="93" y="397"/>
                    </a:cubicBezTo>
                    <a:cubicBezTo>
                      <a:pt x="86" y="396"/>
                      <a:pt x="81" y="395"/>
                      <a:pt x="74" y="393"/>
                    </a:cubicBezTo>
                    <a:cubicBezTo>
                      <a:pt x="54" y="388"/>
                      <a:pt x="50" y="411"/>
                      <a:pt x="40" y="421"/>
                    </a:cubicBezTo>
                    <a:cubicBezTo>
                      <a:pt x="38" y="432"/>
                      <a:pt x="34" y="447"/>
                      <a:pt x="29" y="457"/>
                    </a:cubicBezTo>
                    <a:cubicBezTo>
                      <a:pt x="38" y="472"/>
                      <a:pt x="29" y="481"/>
                      <a:pt x="34" y="493"/>
                    </a:cubicBezTo>
                    <a:cubicBezTo>
                      <a:pt x="36" y="512"/>
                      <a:pt x="42" y="526"/>
                      <a:pt x="38" y="563"/>
                    </a:cubicBezTo>
                    <a:cubicBezTo>
                      <a:pt x="35" y="590"/>
                      <a:pt x="51" y="584"/>
                      <a:pt x="64" y="596"/>
                    </a:cubicBezTo>
                    <a:cubicBezTo>
                      <a:pt x="65" y="607"/>
                      <a:pt x="46" y="623"/>
                      <a:pt x="45" y="633"/>
                    </a:cubicBezTo>
                    <a:cubicBezTo>
                      <a:pt x="44" y="645"/>
                      <a:pt x="59" y="657"/>
                      <a:pt x="58" y="669"/>
                    </a:cubicBezTo>
                    <a:cubicBezTo>
                      <a:pt x="53" y="679"/>
                      <a:pt x="48" y="693"/>
                      <a:pt x="40" y="702"/>
                    </a:cubicBezTo>
                    <a:cubicBezTo>
                      <a:pt x="32" y="709"/>
                      <a:pt x="29" y="725"/>
                      <a:pt x="28" y="737"/>
                    </a:cubicBezTo>
                    <a:cubicBezTo>
                      <a:pt x="29" y="753"/>
                      <a:pt x="27" y="758"/>
                      <a:pt x="21" y="773"/>
                    </a:cubicBezTo>
                    <a:cubicBezTo>
                      <a:pt x="18" y="778"/>
                      <a:pt x="8" y="757"/>
                      <a:pt x="5" y="757"/>
                    </a:cubicBezTo>
                    <a:cubicBezTo>
                      <a:pt x="1" y="763"/>
                      <a:pt x="0" y="764"/>
                      <a:pt x="3" y="771"/>
                    </a:cubicBezTo>
                    <a:cubicBezTo>
                      <a:pt x="5" y="784"/>
                      <a:pt x="15" y="823"/>
                      <a:pt x="20" y="838"/>
                    </a:cubicBezTo>
                    <a:cubicBezTo>
                      <a:pt x="22" y="849"/>
                      <a:pt x="32" y="855"/>
                      <a:pt x="35" y="865"/>
                    </a:cubicBezTo>
                    <a:cubicBezTo>
                      <a:pt x="39" y="877"/>
                      <a:pt x="43" y="897"/>
                      <a:pt x="50" y="907"/>
                    </a:cubicBezTo>
                    <a:cubicBezTo>
                      <a:pt x="59" y="911"/>
                      <a:pt x="63" y="918"/>
                      <a:pt x="69" y="926"/>
                    </a:cubicBezTo>
                    <a:cubicBezTo>
                      <a:pt x="72" y="940"/>
                      <a:pt x="75" y="958"/>
                      <a:pt x="64" y="969"/>
                    </a:cubicBezTo>
                    <a:cubicBezTo>
                      <a:pt x="68" y="986"/>
                      <a:pt x="81" y="1021"/>
                      <a:pt x="94" y="1031"/>
                    </a:cubicBezTo>
                    <a:cubicBezTo>
                      <a:pt x="110" y="1029"/>
                      <a:pt x="124" y="1029"/>
                      <a:pt x="140" y="1027"/>
                    </a:cubicBezTo>
                    <a:cubicBezTo>
                      <a:pt x="148" y="1016"/>
                      <a:pt x="140" y="1004"/>
                      <a:pt x="136" y="993"/>
                    </a:cubicBezTo>
                    <a:cubicBezTo>
                      <a:pt x="141" y="973"/>
                      <a:pt x="160" y="970"/>
                      <a:pt x="177" y="969"/>
                    </a:cubicBezTo>
                    <a:cubicBezTo>
                      <a:pt x="184" y="966"/>
                      <a:pt x="189" y="966"/>
                      <a:pt x="196" y="963"/>
                    </a:cubicBezTo>
                    <a:cubicBezTo>
                      <a:pt x="197" y="956"/>
                      <a:pt x="201" y="951"/>
                      <a:pt x="204" y="945"/>
                    </a:cubicBezTo>
                    <a:cubicBezTo>
                      <a:pt x="205" y="943"/>
                      <a:pt x="207" y="939"/>
                      <a:pt x="207" y="939"/>
                    </a:cubicBezTo>
                    <a:cubicBezTo>
                      <a:pt x="209" y="929"/>
                      <a:pt x="212" y="918"/>
                      <a:pt x="215" y="909"/>
                    </a:cubicBezTo>
                    <a:cubicBezTo>
                      <a:pt x="216" y="905"/>
                      <a:pt x="220" y="897"/>
                      <a:pt x="220" y="897"/>
                    </a:cubicBezTo>
                    <a:cubicBezTo>
                      <a:pt x="223" y="877"/>
                      <a:pt x="220" y="851"/>
                      <a:pt x="226" y="832"/>
                    </a:cubicBezTo>
                    <a:cubicBezTo>
                      <a:pt x="224" y="801"/>
                      <a:pt x="227" y="803"/>
                      <a:pt x="201" y="790"/>
                    </a:cubicBezTo>
                    <a:cubicBezTo>
                      <a:pt x="206" y="783"/>
                      <a:pt x="227" y="780"/>
                      <a:pt x="236" y="779"/>
                    </a:cubicBezTo>
                    <a:cubicBezTo>
                      <a:pt x="248" y="772"/>
                      <a:pt x="241" y="756"/>
                      <a:pt x="252" y="750"/>
                    </a:cubicBezTo>
                    <a:cubicBezTo>
                      <a:pt x="256" y="753"/>
                      <a:pt x="257" y="760"/>
                      <a:pt x="260" y="764"/>
                    </a:cubicBezTo>
                    <a:cubicBezTo>
                      <a:pt x="271" y="760"/>
                      <a:pt x="276" y="753"/>
                      <a:pt x="284" y="745"/>
                    </a:cubicBezTo>
                    <a:cubicBezTo>
                      <a:pt x="280" y="729"/>
                      <a:pt x="264" y="732"/>
                      <a:pt x="245" y="731"/>
                    </a:cubicBezTo>
                    <a:cubicBezTo>
                      <a:pt x="247" y="722"/>
                      <a:pt x="295" y="707"/>
                      <a:pt x="298" y="693"/>
                    </a:cubicBezTo>
                    <a:cubicBezTo>
                      <a:pt x="300" y="679"/>
                      <a:pt x="283" y="659"/>
                      <a:pt x="272" y="651"/>
                    </a:cubicBezTo>
                    <a:cubicBezTo>
                      <a:pt x="271" y="644"/>
                      <a:pt x="262" y="646"/>
                      <a:pt x="255" y="645"/>
                    </a:cubicBezTo>
                    <a:cubicBezTo>
                      <a:pt x="247" y="638"/>
                      <a:pt x="253" y="642"/>
                      <a:pt x="240" y="640"/>
                    </a:cubicBezTo>
                    <a:cubicBezTo>
                      <a:pt x="235" y="639"/>
                      <a:pt x="226" y="637"/>
                      <a:pt x="226" y="637"/>
                    </a:cubicBezTo>
                    <a:cubicBezTo>
                      <a:pt x="218" y="626"/>
                      <a:pt x="221" y="632"/>
                      <a:pt x="221" y="605"/>
                    </a:cubicBezTo>
                    <a:cubicBezTo>
                      <a:pt x="221" y="585"/>
                      <a:pt x="219" y="536"/>
                      <a:pt x="226" y="507"/>
                    </a:cubicBezTo>
                    <a:cubicBezTo>
                      <a:pt x="230" y="491"/>
                      <a:pt x="240" y="477"/>
                      <a:pt x="249" y="464"/>
                    </a:cubicBezTo>
                    <a:cubicBezTo>
                      <a:pt x="266" y="441"/>
                      <a:pt x="282" y="417"/>
                      <a:pt x="305" y="399"/>
                    </a:cubicBezTo>
                    <a:cubicBezTo>
                      <a:pt x="312" y="393"/>
                      <a:pt x="317" y="387"/>
                      <a:pt x="324" y="381"/>
                    </a:cubicBezTo>
                    <a:cubicBezTo>
                      <a:pt x="331" y="369"/>
                      <a:pt x="329" y="375"/>
                      <a:pt x="332" y="365"/>
                    </a:cubicBezTo>
                    <a:cubicBezTo>
                      <a:pt x="330" y="342"/>
                      <a:pt x="344" y="349"/>
                      <a:pt x="336" y="334"/>
                    </a:cubicBezTo>
                    <a:cubicBezTo>
                      <a:pt x="335" y="327"/>
                      <a:pt x="318" y="313"/>
                      <a:pt x="312" y="309"/>
                    </a:cubicBezTo>
                    <a:cubicBezTo>
                      <a:pt x="314" y="296"/>
                      <a:pt x="334" y="264"/>
                      <a:pt x="344" y="251"/>
                    </a:cubicBezTo>
                    <a:cubicBezTo>
                      <a:pt x="350" y="241"/>
                      <a:pt x="360" y="231"/>
                      <a:pt x="372" y="229"/>
                    </a:cubicBezTo>
                    <a:cubicBezTo>
                      <a:pt x="380" y="225"/>
                      <a:pt x="386" y="229"/>
                      <a:pt x="395" y="227"/>
                    </a:cubicBezTo>
                    <a:cubicBezTo>
                      <a:pt x="388" y="225"/>
                      <a:pt x="387" y="220"/>
                      <a:pt x="384" y="213"/>
                    </a:cubicBezTo>
                    <a:cubicBezTo>
                      <a:pt x="383" y="206"/>
                      <a:pt x="377" y="199"/>
                      <a:pt x="373" y="193"/>
                    </a:cubicBezTo>
                    <a:cubicBezTo>
                      <a:pt x="370" y="173"/>
                      <a:pt x="378" y="150"/>
                      <a:pt x="365" y="133"/>
                    </a:cubicBezTo>
                    <a:cubicBezTo>
                      <a:pt x="362" y="120"/>
                      <a:pt x="351" y="107"/>
                      <a:pt x="346" y="94"/>
                    </a:cubicBezTo>
                    <a:cubicBezTo>
                      <a:pt x="345" y="80"/>
                      <a:pt x="352" y="69"/>
                      <a:pt x="340" y="62"/>
                    </a:cubicBezTo>
                    <a:cubicBezTo>
                      <a:pt x="327" y="46"/>
                      <a:pt x="304" y="36"/>
                      <a:pt x="287" y="24"/>
                    </a:cubicBezTo>
                    <a:cubicBezTo>
                      <a:pt x="276" y="16"/>
                      <a:pt x="267" y="5"/>
                      <a:pt x="253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</p:grpSp>
        <p:grpSp>
          <p:nvGrpSpPr>
            <p:cNvPr id="270" name="Group 74"/>
            <p:cNvGrpSpPr>
              <a:grpSpLocks/>
            </p:cNvGrpSpPr>
            <p:nvPr/>
          </p:nvGrpSpPr>
          <p:grpSpPr bwMode="auto">
            <a:xfrm>
              <a:off x="2358" y="1338"/>
              <a:ext cx="737" cy="1042"/>
              <a:chOff x="1955" y="-432"/>
              <a:chExt cx="2919" cy="4123"/>
            </a:xfrm>
            <a:grpFill/>
          </p:grpSpPr>
          <p:sp>
            <p:nvSpPr>
              <p:cNvPr id="321" name="Freeform 75"/>
              <p:cNvSpPr>
                <a:spLocks noChangeAspect="1"/>
              </p:cNvSpPr>
              <p:nvPr/>
            </p:nvSpPr>
            <p:spPr bwMode="auto">
              <a:xfrm>
                <a:off x="3019" y="312"/>
                <a:ext cx="392" cy="468"/>
              </a:xfrm>
              <a:custGeom>
                <a:avLst/>
                <a:gdLst>
                  <a:gd name="T0" fmla="*/ 2147483647 w 98"/>
                  <a:gd name="T1" fmla="*/ 2147483647 h 117"/>
                  <a:gd name="T2" fmla="*/ 2147483647 w 98"/>
                  <a:gd name="T3" fmla="*/ 2147483647 h 117"/>
                  <a:gd name="T4" fmla="*/ 2147483647 w 98"/>
                  <a:gd name="T5" fmla="*/ 2147483647 h 117"/>
                  <a:gd name="T6" fmla="*/ 2147483647 w 98"/>
                  <a:gd name="T7" fmla="*/ 2147483647 h 117"/>
                  <a:gd name="T8" fmla="*/ 2147483647 w 98"/>
                  <a:gd name="T9" fmla="*/ 2147483647 h 117"/>
                  <a:gd name="T10" fmla="*/ 2147483647 w 98"/>
                  <a:gd name="T11" fmla="*/ 2147483647 h 117"/>
                  <a:gd name="T12" fmla="*/ 2147483647 w 98"/>
                  <a:gd name="T13" fmla="*/ 2147483647 h 117"/>
                  <a:gd name="T14" fmla="*/ 2147483647 w 98"/>
                  <a:gd name="T15" fmla="*/ 2147483647 h 117"/>
                  <a:gd name="T16" fmla="*/ 2147483647 w 98"/>
                  <a:gd name="T17" fmla="*/ 0 h 117"/>
                  <a:gd name="T18" fmla="*/ 2147483647 w 98"/>
                  <a:gd name="T19" fmla="*/ 2147483647 h 117"/>
                  <a:gd name="T20" fmla="*/ 2147483647 w 98"/>
                  <a:gd name="T21" fmla="*/ 2147483647 h 117"/>
                  <a:gd name="T22" fmla="*/ 2147483647 w 98"/>
                  <a:gd name="T23" fmla="*/ 2147483647 h 117"/>
                  <a:gd name="T24" fmla="*/ 2147483647 w 98"/>
                  <a:gd name="T25" fmla="*/ 2147483647 h 117"/>
                  <a:gd name="T26" fmla="*/ 2147483647 w 98"/>
                  <a:gd name="T27" fmla="*/ 2147483647 h 117"/>
                  <a:gd name="T28" fmla="*/ 2147483647 w 98"/>
                  <a:gd name="T29" fmla="*/ 2147483647 h 117"/>
                  <a:gd name="T30" fmla="*/ 2147483647 w 98"/>
                  <a:gd name="T31" fmla="*/ 2147483647 h 117"/>
                  <a:gd name="T32" fmla="*/ 2147483647 w 98"/>
                  <a:gd name="T33" fmla="*/ 2147483647 h 117"/>
                  <a:gd name="T34" fmla="*/ 2147483647 w 98"/>
                  <a:gd name="T35" fmla="*/ 2147483647 h 117"/>
                  <a:gd name="T36" fmla="*/ 2147483647 w 98"/>
                  <a:gd name="T37" fmla="*/ 2147483647 h 117"/>
                  <a:gd name="T38" fmla="*/ 2147483647 w 98"/>
                  <a:gd name="T39" fmla="*/ 2147483647 h 117"/>
                  <a:gd name="T40" fmla="*/ 2147483647 w 98"/>
                  <a:gd name="T41" fmla="*/ 2147483647 h 117"/>
                  <a:gd name="T42" fmla="*/ 0 w 98"/>
                  <a:gd name="T43" fmla="*/ 2147483647 h 117"/>
                  <a:gd name="T44" fmla="*/ 2147483647 w 98"/>
                  <a:gd name="T45" fmla="*/ 2147483647 h 117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98"/>
                  <a:gd name="T70" fmla="*/ 0 h 117"/>
                  <a:gd name="T71" fmla="*/ 98 w 98"/>
                  <a:gd name="T72" fmla="*/ 117 h 117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98" h="117">
                    <a:moveTo>
                      <a:pt x="14" y="94"/>
                    </a:moveTo>
                    <a:cubicBezTo>
                      <a:pt x="22" y="88"/>
                      <a:pt x="22" y="81"/>
                      <a:pt x="30" y="74"/>
                    </a:cubicBezTo>
                    <a:cubicBezTo>
                      <a:pt x="32" y="68"/>
                      <a:pt x="33" y="76"/>
                      <a:pt x="39" y="74"/>
                    </a:cubicBezTo>
                    <a:cubicBezTo>
                      <a:pt x="45" y="75"/>
                      <a:pt x="46" y="68"/>
                      <a:pt x="52" y="70"/>
                    </a:cubicBezTo>
                    <a:cubicBezTo>
                      <a:pt x="59" y="69"/>
                      <a:pt x="64" y="66"/>
                      <a:pt x="56" y="60"/>
                    </a:cubicBezTo>
                    <a:cubicBezTo>
                      <a:pt x="51" y="57"/>
                      <a:pt x="40" y="54"/>
                      <a:pt x="40" y="54"/>
                    </a:cubicBezTo>
                    <a:cubicBezTo>
                      <a:pt x="37" y="44"/>
                      <a:pt x="54" y="34"/>
                      <a:pt x="60" y="33"/>
                    </a:cubicBezTo>
                    <a:cubicBezTo>
                      <a:pt x="63" y="29"/>
                      <a:pt x="72" y="38"/>
                      <a:pt x="74" y="33"/>
                    </a:cubicBezTo>
                    <a:cubicBezTo>
                      <a:pt x="73" y="24"/>
                      <a:pt x="67" y="3"/>
                      <a:pt x="79" y="0"/>
                    </a:cubicBezTo>
                    <a:cubicBezTo>
                      <a:pt x="84" y="2"/>
                      <a:pt x="85" y="2"/>
                      <a:pt x="86" y="7"/>
                    </a:cubicBezTo>
                    <a:cubicBezTo>
                      <a:pt x="85" y="15"/>
                      <a:pt x="83" y="15"/>
                      <a:pt x="79" y="21"/>
                    </a:cubicBezTo>
                    <a:cubicBezTo>
                      <a:pt x="78" y="25"/>
                      <a:pt x="77" y="26"/>
                      <a:pt x="80" y="31"/>
                    </a:cubicBezTo>
                    <a:cubicBezTo>
                      <a:pt x="81" y="33"/>
                      <a:pt x="84" y="37"/>
                      <a:pt x="84" y="37"/>
                    </a:cubicBezTo>
                    <a:cubicBezTo>
                      <a:pt x="88" y="35"/>
                      <a:pt x="92" y="32"/>
                      <a:pt x="97" y="30"/>
                    </a:cubicBezTo>
                    <a:cubicBezTo>
                      <a:pt x="98" y="32"/>
                      <a:pt x="88" y="46"/>
                      <a:pt x="85" y="51"/>
                    </a:cubicBezTo>
                    <a:cubicBezTo>
                      <a:pt x="82" y="56"/>
                      <a:pt x="84" y="58"/>
                      <a:pt x="79" y="63"/>
                    </a:cubicBezTo>
                    <a:cubicBezTo>
                      <a:pt x="72" y="79"/>
                      <a:pt x="78" y="81"/>
                      <a:pt x="56" y="82"/>
                    </a:cubicBezTo>
                    <a:cubicBezTo>
                      <a:pt x="50" y="84"/>
                      <a:pt x="43" y="83"/>
                      <a:pt x="37" y="85"/>
                    </a:cubicBezTo>
                    <a:cubicBezTo>
                      <a:pt x="36" y="85"/>
                      <a:pt x="32" y="93"/>
                      <a:pt x="31" y="94"/>
                    </a:cubicBezTo>
                    <a:cubicBezTo>
                      <a:pt x="26" y="100"/>
                      <a:pt x="22" y="101"/>
                      <a:pt x="16" y="105"/>
                    </a:cubicBezTo>
                    <a:cubicBezTo>
                      <a:pt x="12" y="111"/>
                      <a:pt x="15" y="107"/>
                      <a:pt x="6" y="114"/>
                    </a:cubicBezTo>
                    <a:cubicBezTo>
                      <a:pt x="4" y="115"/>
                      <a:pt x="0" y="117"/>
                      <a:pt x="0" y="117"/>
                    </a:cubicBezTo>
                    <a:lnTo>
                      <a:pt x="14" y="94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22" name="Freeform 76"/>
              <p:cNvSpPr>
                <a:spLocks noChangeAspect="1"/>
              </p:cNvSpPr>
              <p:nvPr/>
            </p:nvSpPr>
            <p:spPr bwMode="auto">
              <a:xfrm>
                <a:off x="1955" y="-432"/>
                <a:ext cx="2919" cy="4123"/>
              </a:xfrm>
              <a:custGeom>
                <a:avLst/>
                <a:gdLst>
                  <a:gd name="T0" fmla="*/ 1000 w 2919"/>
                  <a:gd name="T1" fmla="*/ 3731 h 4123"/>
                  <a:gd name="T2" fmla="*/ 1064 w 2919"/>
                  <a:gd name="T3" fmla="*/ 3291 h 4123"/>
                  <a:gd name="T4" fmla="*/ 1044 w 2919"/>
                  <a:gd name="T5" fmla="*/ 2867 h 4123"/>
                  <a:gd name="T6" fmla="*/ 1050 w 2919"/>
                  <a:gd name="T7" fmla="*/ 2452 h 4123"/>
                  <a:gd name="T8" fmla="*/ 1258 w 2919"/>
                  <a:gd name="T9" fmla="*/ 2352 h 4123"/>
                  <a:gd name="T10" fmla="*/ 1261 w 2919"/>
                  <a:gd name="T11" fmla="*/ 2075 h 4123"/>
                  <a:gd name="T12" fmla="*/ 1309 w 2919"/>
                  <a:gd name="T13" fmla="*/ 1734 h 4123"/>
                  <a:gd name="T14" fmla="*/ 1463 w 2919"/>
                  <a:gd name="T15" fmla="*/ 1288 h 4123"/>
                  <a:gd name="T16" fmla="*/ 1834 w 2919"/>
                  <a:gd name="T17" fmla="*/ 980 h 4123"/>
                  <a:gd name="T18" fmla="*/ 1967 w 2919"/>
                  <a:gd name="T19" fmla="*/ 684 h 4123"/>
                  <a:gd name="T20" fmla="*/ 2443 w 2919"/>
                  <a:gd name="T21" fmla="*/ 676 h 4123"/>
                  <a:gd name="T22" fmla="*/ 2514 w 2919"/>
                  <a:gd name="T23" fmla="*/ 381 h 4123"/>
                  <a:gd name="T24" fmla="*/ 2761 w 2919"/>
                  <a:gd name="T25" fmla="*/ 406 h 4123"/>
                  <a:gd name="T26" fmla="*/ 2857 w 2919"/>
                  <a:gd name="T27" fmla="*/ 444 h 4123"/>
                  <a:gd name="T28" fmla="*/ 2695 w 2919"/>
                  <a:gd name="T29" fmla="*/ 268 h 4123"/>
                  <a:gd name="T30" fmla="*/ 2647 w 2919"/>
                  <a:gd name="T31" fmla="*/ 40 h 4123"/>
                  <a:gd name="T32" fmla="*/ 2435 w 2919"/>
                  <a:gd name="T33" fmla="*/ 244 h 4123"/>
                  <a:gd name="T34" fmla="*/ 2319 w 2919"/>
                  <a:gd name="T35" fmla="*/ 340 h 4123"/>
                  <a:gd name="T36" fmla="*/ 2183 w 2919"/>
                  <a:gd name="T37" fmla="*/ 168 h 4123"/>
                  <a:gd name="T38" fmla="*/ 2007 w 2919"/>
                  <a:gd name="T39" fmla="*/ 360 h 4123"/>
                  <a:gd name="T40" fmla="*/ 1823 w 2919"/>
                  <a:gd name="T41" fmla="*/ 632 h 4123"/>
                  <a:gd name="T42" fmla="*/ 1695 w 2919"/>
                  <a:gd name="T43" fmla="*/ 520 h 4123"/>
                  <a:gd name="T44" fmla="*/ 1675 w 2919"/>
                  <a:gd name="T45" fmla="*/ 648 h 4123"/>
                  <a:gd name="T46" fmla="*/ 1523 w 2919"/>
                  <a:gd name="T47" fmla="*/ 820 h 4123"/>
                  <a:gd name="T48" fmla="*/ 1559 w 2919"/>
                  <a:gd name="T49" fmla="*/ 996 h 4123"/>
                  <a:gd name="T50" fmla="*/ 1324 w 2919"/>
                  <a:gd name="T51" fmla="*/ 1244 h 4123"/>
                  <a:gd name="T52" fmla="*/ 1368 w 2919"/>
                  <a:gd name="T53" fmla="*/ 1380 h 4123"/>
                  <a:gd name="T54" fmla="*/ 1220 w 2919"/>
                  <a:gd name="T55" fmla="*/ 1444 h 4123"/>
                  <a:gd name="T56" fmla="*/ 1116 w 2919"/>
                  <a:gd name="T57" fmla="*/ 1656 h 4123"/>
                  <a:gd name="T58" fmla="*/ 1092 w 2919"/>
                  <a:gd name="T59" fmla="*/ 1784 h 4123"/>
                  <a:gd name="T60" fmla="*/ 1044 w 2919"/>
                  <a:gd name="T61" fmla="*/ 1968 h 4123"/>
                  <a:gd name="T62" fmla="*/ 976 w 2919"/>
                  <a:gd name="T63" fmla="*/ 2087 h 4123"/>
                  <a:gd name="T64" fmla="*/ 720 w 2919"/>
                  <a:gd name="T65" fmla="*/ 2375 h 4123"/>
                  <a:gd name="T66" fmla="*/ 828 w 2919"/>
                  <a:gd name="T67" fmla="*/ 2539 h 4123"/>
                  <a:gd name="T68" fmla="*/ 608 w 2919"/>
                  <a:gd name="T69" fmla="*/ 2539 h 4123"/>
                  <a:gd name="T70" fmla="*/ 496 w 2919"/>
                  <a:gd name="T71" fmla="*/ 2671 h 4123"/>
                  <a:gd name="T72" fmla="*/ 332 w 2919"/>
                  <a:gd name="T73" fmla="*/ 2791 h 4123"/>
                  <a:gd name="T74" fmla="*/ 188 w 2919"/>
                  <a:gd name="T75" fmla="*/ 2855 h 4123"/>
                  <a:gd name="T76" fmla="*/ 296 w 2919"/>
                  <a:gd name="T77" fmla="*/ 3011 h 4123"/>
                  <a:gd name="T78" fmla="*/ 216 w 2919"/>
                  <a:gd name="T79" fmla="*/ 3163 h 4123"/>
                  <a:gd name="T80" fmla="*/ 8 w 2919"/>
                  <a:gd name="T81" fmla="*/ 3295 h 4123"/>
                  <a:gd name="T82" fmla="*/ 268 w 2919"/>
                  <a:gd name="T83" fmla="*/ 3411 h 4123"/>
                  <a:gd name="T84" fmla="*/ 160 w 2919"/>
                  <a:gd name="T85" fmla="*/ 3471 h 4123"/>
                  <a:gd name="T86" fmla="*/ 112 w 2919"/>
                  <a:gd name="T87" fmla="*/ 3607 h 4123"/>
                  <a:gd name="T88" fmla="*/ 116 w 2919"/>
                  <a:gd name="T89" fmla="*/ 3679 h 4123"/>
                  <a:gd name="T90" fmla="*/ 140 w 2919"/>
                  <a:gd name="T91" fmla="*/ 3795 h 4123"/>
                  <a:gd name="T92" fmla="*/ 312 w 2919"/>
                  <a:gd name="T93" fmla="*/ 4103 h 4123"/>
                  <a:gd name="T94" fmla="*/ 660 w 2919"/>
                  <a:gd name="T95" fmla="*/ 3863 h 4123"/>
                  <a:gd name="T96" fmla="*/ 896 w 2919"/>
                  <a:gd name="T97" fmla="*/ 3739 h 4123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2919"/>
                  <a:gd name="T148" fmla="*/ 0 h 4123"/>
                  <a:gd name="T149" fmla="*/ 2919 w 2919"/>
                  <a:gd name="T150" fmla="*/ 4123 h 4123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2919" h="4123">
                    <a:moveTo>
                      <a:pt x="908" y="3795"/>
                    </a:moveTo>
                    <a:cubicBezTo>
                      <a:pt x="936" y="3799"/>
                      <a:pt x="940" y="3846"/>
                      <a:pt x="969" y="3860"/>
                    </a:cubicBezTo>
                    <a:cubicBezTo>
                      <a:pt x="984" y="3828"/>
                      <a:pt x="1000" y="3779"/>
                      <a:pt x="1000" y="3731"/>
                    </a:cubicBezTo>
                    <a:cubicBezTo>
                      <a:pt x="1004" y="3695"/>
                      <a:pt x="1012" y="3591"/>
                      <a:pt x="1044" y="3575"/>
                    </a:cubicBezTo>
                    <a:cubicBezTo>
                      <a:pt x="1080" y="3527"/>
                      <a:pt x="1088" y="3503"/>
                      <a:pt x="1116" y="3447"/>
                    </a:cubicBezTo>
                    <a:cubicBezTo>
                      <a:pt x="1131" y="3395"/>
                      <a:pt x="1060" y="3339"/>
                      <a:pt x="1064" y="3291"/>
                    </a:cubicBezTo>
                    <a:cubicBezTo>
                      <a:pt x="1072" y="3259"/>
                      <a:pt x="1148" y="3192"/>
                      <a:pt x="1144" y="3152"/>
                    </a:cubicBezTo>
                    <a:cubicBezTo>
                      <a:pt x="1136" y="3128"/>
                      <a:pt x="1057" y="3114"/>
                      <a:pt x="1041" y="3066"/>
                    </a:cubicBezTo>
                    <a:cubicBezTo>
                      <a:pt x="1037" y="3010"/>
                      <a:pt x="1050" y="2922"/>
                      <a:pt x="1044" y="2867"/>
                    </a:cubicBezTo>
                    <a:cubicBezTo>
                      <a:pt x="1038" y="2795"/>
                      <a:pt x="1009" y="2712"/>
                      <a:pt x="1021" y="2658"/>
                    </a:cubicBezTo>
                    <a:cubicBezTo>
                      <a:pt x="1021" y="2606"/>
                      <a:pt x="1001" y="2620"/>
                      <a:pt x="1006" y="2586"/>
                    </a:cubicBezTo>
                    <a:cubicBezTo>
                      <a:pt x="1023" y="2550"/>
                      <a:pt x="1040" y="2479"/>
                      <a:pt x="1050" y="2452"/>
                    </a:cubicBezTo>
                    <a:cubicBezTo>
                      <a:pt x="1060" y="2425"/>
                      <a:pt x="1053" y="2442"/>
                      <a:pt x="1068" y="2423"/>
                    </a:cubicBezTo>
                    <a:cubicBezTo>
                      <a:pt x="1097" y="2381"/>
                      <a:pt x="1098" y="2363"/>
                      <a:pt x="1140" y="2336"/>
                    </a:cubicBezTo>
                    <a:cubicBezTo>
                      <a:pt x="1172" y="2324"/>
                      <a:pt x="1219" y="2351"/>
                      <a:pt x="1258" y="2352"/>
                    </a:cubicBezTo>
                    <a:cubicBezTo>
                      <a:pt x="1282" y="2291"/>
                      <a:pt x="1251" y="2230"/>
                      <a:pt x="1227" y="2178"/>
                    </a:cubicBezTo>
                    <a:cubicBezTo>
                      <a:pt x="1237" y="2136"/>
                      <a:pt x="1229" y="2151"/>
                      <a:pt x="1242" y="2118"/>
                    </a:cubicBezTo>
                    <a:cubicBezTo>
                      <a:pt x="1248" y="2101"/>
                      <a:pt x="1256" y="2090"/>
                      <a:pt x="1261" y="2075"/>
                    </a:cubicBezTo>
                    <a:cubicBezTo>
                      <a:pt x="1266" y="2060"/>
                      <a:pt x="1264" y="2041"/>
                      <a:pt x="1270" y="2025"/>
                    </a:cubicBezTo>
                    <a:cubicBezTo>
                      <a:pt x="1276" y="2009"/>
                      <a:pt x="1291" y="2027"/>
                      <a:pt x="1297" y="1979"/>
                    </a:cubicBezTo>
                    <a:cubicBezTo>
                      <a:pt x="1301" y="1899"/>
                      <a:pt x="1291" y="1804"/>
                      <a:pt x="1309" y="1734"/>
                    </a:cubicBezTo>
                    <a:cubicBezTo>
                      <a:pt x="1339" y="1683"/>
                      <a:pt x="1347" y="1664"/>
                      <a:pt x="1432" y="1528"/>
                    </a:cubicBezTo>
                    <a:cubicBezTo>
                      <a:pt x="1449" y="1493"/>
                      <a:pt x="1462" y="1497"/>
                      <a:pt x="1479" y="1391"/>
                    </a:cubicBezTo>
                    <a:cubicBezTo>
                      <a:pt x="1479" y="1340"/>
                      <a:pt x="1474" y="1332"/>
                      <a:pt x="1463" y="1288"/>
                    </a:cubicBezTo>
                    <a:cubicBezTo>
                      <a:pt x="1471" y="1170"/>
                      <a:pt x="1432" y="1122"/>
                      <a:pt x="1644" y="1113"/>
                    </a:cubicBezTo>
                    <a:cubicBezTo>
                      <a:pt x="1599" y="1074"/>
                      <a:pt x="1638" y="1067"/>
                      <a:pt x="1650" y="1047"/>
                    </a:cubicBezTo>
                    <a:cubicBezTo>
                      <a:pt x="1662" y="992"/>
                      <a:pt x="1560" y="908"/>
                      <a:pt x="1834" y="980"/>
                    </a:cubicBezTo>
                    <a:cubicBezTo>
                      <a:pt x="1866" y="972"/>
                      <a:pt x="1834" y="899"/>
                      <a:pt x="1863" y="868"/>
                    </a:cubicBezTo>
                    <a:cubicBezTo>
                      <a:pt x="1871" y="836"/>
                      <a:pt x="1845" y="806"/>
                      <a:pt x="1849" y="773"/>
                    </a:cubicBezTo>
                    <a:cubicBezTo>
                      <a:pt x="1920" y="785"/>
                      <a:pt x="1896" y="693"/>
                      <a:pt x="1967" y="684"/>
                    </a:cubicBezTo>
                    <a:cubicBezTo>
                      <a:pt x="2039" y="708"/>
                      <a:pt x="2055" y="728"/>
                      <a:pt x="2085" y="804"/>
                    </a:cubicBezTo>
                    <a:cubicBezTo>
                      <a:pt x="2166" y="816"/>
                      <a:pt x="2326" y="813"/>
                      <a:pt x="2416" y="740"/>
                    </a:cubicBezTo>
                    <a:cubicBezTo>
                      <a:pt x="2431" y="709"/>
                      <a:pt x="2423" y="720"/>
                      <a:pt x="2443" y="676"/>
                    </a:cubicBezTo>
                    <a:cubicBezTo>
                      <a:pt x="2440" y="551"/>
                      <a:pt x="2419" y="548"/>
                      <a:pt x="2419" y="504"/>
                    </a:cubicBezTo>
                    <a:cubicBezTo>
                      <a:pt x="2419" y="460"/>
                      <a:pt x="2426" y="432"/>
                      <a:pt x="2442" y="412"/>
                    </a:cubicBezTo>
                    <a:cubicBezTo>
                      <a:pt x="2458" y="392"/>
                      <a:pt x="2460" y="387"/>
                      <a:pt x="2514" y="381"/>
                    </a:cubicBezTo>
                    <a:cubicBezTo>
                      <a:pt x="2542" y="324"/>
                      <a:pt x="2521" y="323"/>
                      <a:pt x="2578" y="310"/>
                    </a:cubicBezTo>
                    <a:cubicBezTo>
                      <a:pt x="2622" y="334"/>
                      <a:pt x="2673" y="357"/>
                      <a:pt x="2700" y="385"/>
                    </a:cubicBezTo>
                    <a:cubicBezTo>
                      <a:pt x="2724" y="388"/>
                      <a:pt x="2745" y="394"/>
                      <a:pt x="2761" y="406"/>
                    </a:cubicBezTo>
                    <a:cubicBezTo>
                      <a:pt x="2772" y="422"/>
                      <a:pt x="2775" y="456"/>
                      <a:pt x="2778" y="482"/>
                    </a:cubicBezTo>
                    <a:cubicBezTo>
                      <a:pt x="2772" y="510"/>
                      <a:pt x="2760" y="525"/>
                      <a:pt x="2766" y="575"/>
                    </a:cubicBezTo>
                    <a:cubicBezTo>
                      <a:pt x="2791" y="551"/>
                      <a:pt x="2833" y="468"/>
                      <a:pt x="2857" y="444"/>
                    </a:cubicBezTo>
                    <a:cubicBezTo>
                      <a:pt x="2865" y="408"/>
                      <a:pt x="2907" y="376"/>
                      <a:pt x="2915" y="340"/>
                    </a:cubicBezTo>
                    <a:cubicBezTo>
                      <a:pt x="2907" y="280"/>
                      <a:pt x="2859" y="296"/>
                      <a:pt x="2799" y="292"/>
                    </a:cubicBezTo>
                    <a:cubicBezTo>
                      <a:pt x="2763" y="280"/>
                      <a:pt x="2683" y="292"/>
                      <a:pt x="2695" y="268"/>
                    </a:cubicBezTo>
                    <a:cubicBezTo>
                      <a:pt x="2755" y="224"/>
                      <a:pt x="2823" y="240"/>
                      <a:pt x="2879" y="184"/>
                    </a:cubicBezTo>
                    <a:cubicBezTo>
                      <a:pt x="2919" y="144"/>
                      <a:pt x="2823" y="80"/>
                      <a:pt x="2803" y="80"/>
                    </a:cubicBezTo>
                    <a:cubicBezTo>
                      <a:pt x="2663" y="48"/>
                      <a:pt x="2751" y="40"/>
                      <a:pt x="2647" y="40"/>
                    </a:cubicBezTo>
                    <a:cubicBezTo>
                      <a:pt x="2643" y="52"/>
                      <a:pt x="2563" y="160"/>
                      <a:pt x="2563" y="160"/>
                    </a:cubicBezTo>
                    <a:cubicBezTo>
                      <a:pt x="2555" y="168"/>
                      <a:pt x="2527" y="0"/>
                      <a:pt x="2511" y="4"/>
                    </a:cubicBezTo>
                    <a:cubicBezTo>
                      <a:pt x="2491" y="20"/>
                      <a:pt x="2447" y="224"/>
                      <a:pt x="2435" y="244"/>
                    </a:cubicBezTo>
                    <a:cubicBezTo>
                      <a:pt x="2423" y="308"/>
                      <a:pt x="2427" y="136"/>
                      <a:pt x="2407" y="112"/>
                    </a:cubicBezTo>
                    <a:cubicBezTo>
                      <a:pt x="2399" y="148"/>
                      <a:pt x="2375" y="256"/>
                      <a:pt x="2359" y="292"/>
                    </a:cubicBezTo>
                    <a:cubicBezTo>
                      <a:pt x="2343" y="320"/>
                      <a:pt x="2335" y="320"/>
                      <a:pt x="2319" y="340"/>
                    </a:cubicBezTo>
                    <a:cubicBezTo>
                      <a:pt x="2307" y="352"/>
                      <a:pt x="2287" y="380"/>
                      <a:pt x="2287" y="380"/>
                    </a:cubicBezTo>
                    <a:cubicBezTo>
                      <a:pt x="2287" y="296"/>
                      <a:pt x="2323" y="132"/>
                      <a:pt x="2319" y="48"/>
                    </a:cubicBezTo>
                    <a:cubicBezTo>
                      <a:pt x="2319" y="40"/>
                      <a:pt x="2199" y="164"/>
                      <a:pt x="2183" y="168"/>
                    </a:cubicBezTo>
                    <a:cubicBezTo>
                      <a:pt x="2159" y="192"/>
                      <a:pt x="2131" y="200"/>
                      <a:pt x="2099" y="212"/>
                    </a:cubicBezTo>
                    <a:cubicBezTo>
                      <a:pt x="2071" y="248"/>
                      <a:pt x="2059" y="276"/>
                      <a:pt x="2039" y="312"/>
                    </a:cubicBezTo>
                    <a:cubicBezTo>
                      <a:pt x="2031" y="328"/>
                      <a:pt x="2007" y="360"/>
                      <a:pt x="2007" y="360"/>
                    </a:cubicBezTo>
                    <a:cubicBezTo>
                      <a:pt x="1999" y="408"/>
                      <a:pt x="2011" y="484"/>
                      <a:pt x="1951" y="492"/>
                    </a:cubicBezTo>
                    <a:cubicBezTo>
                      <a:pt x="1923" y="480"/>
                      <a:pt x="1907" y="484"/>
                      <a:pt x="1883" y="500"/>
                    </a:cubicBezTo>
                    <a:cubicBezTo>
                      <a:pt x="1859" y="544"/>
                      <a:pt x="1875" y="604"/>
                      <a:pt x="1823" y="632"/>
                    </a:cubicBezTo>
                    <a:cubicBezTo>
                      <a:pt x="1807" y="604"/>
                      <a:pt x="1835" y="564"/>
                      <a:pt x="1815" y="540"/>
                    </a:cubicBezTo>
                    <a:cubicBezTo>
                      <a:pt x="1811" y="512"/>
                      <a:pt x="1787" y="452"/>
                      <a:pt x="1763" y="440"/>
                    </a:cubicBezTo>
                    <a:cubicBezTo>
                      <a:pt x="1723" y="448"/>
                      <a:pt x="1703" y="480"/>
                      <a:pt x="1695" y="520"/>
                    </a:cubicBezTo>
                    <a:cubicBezTo>
                      <a:pt x="1695" y="568"/>
                      <a:pt x="1691" y="648"/>
                      <a:pt x="1723" y="692"/>
                    </a:cubicBezTo>
                    <a:cubicBezTo>
                      <a:pt x="1715" y="708"/>
                      <a:pt x="1715" y="716"/>
                      <a:pt x="1699" y="700"/>
                    </a:cubicBezTo>
                    <a:cubicBezTo>
                      <a:pt x="1687" y="688"/>
                      <a:pt x="1683" y="664"/>
                      <a:pt x="1675" y="648"/>
                    </a:cubicBezTo>
                    <a:cubicBezTo>
                      <a:pt x="1663" y="628"/>
                      <a:pt x="1647" y="572"/>
                      <a:pt x="1627" y="560"/>
                    </a:cubicBezTo>
                    <a:cubicBezTo>
                      <a:pt x="1607" y="588"/>
                      <a:pt x="1595" y="648"/>
                      <a:pt x="1579" y="676"/>
                    </a:cubicBezTo>
                    <a:cubicBezTo>
                      <a:pt x="1571" y="724"/>
                      <a:pt x="1559" y="784"/>
                      <a:pt x="1523" y="820"/>
                    </a:cubicBezTo>
                    <a:cubicBezTo>
                      <a:pt x="1515" y="844"/>
                      <a:pt x="1475" y="900"/>
                      <a:pt x="1475" y="900"/>
                    </a:cubicBezTo>
                    <a:cubicBezTo>
                      <a:pt x="1467" y="972"/>
                      <a:pt x="1444" y="972"/>
                      <a:pt x="1535" y="976"/>
                    </a:cubicBezTo>
                    <a:cubicBezTo>
                      <a:pt x="1555" y="980"/>
                      <a:pt x="1579" y="960"/>
                      <a:pt x="1559" y="996"/>
                    </a:cubicBezTo>
                    <a:cubicBezTo>
                      <a:pt x="1543" y="1024"/>
                      <a:pt x="1471" y="1024"/>
                      <a:pt x="1471" y="1024"/>
                    </a:cubicBezTo>
                    <a:cubicBezTo>
                      <a:pt x="1444" y="1040"/>
                      <a:pt x="1444" y="1092"/>
                      <a:pt x="1420" y="1112"/>
                    </a:cubicBezTo>
                    <a:cubicBezTo>
                      <a:pt x="1396" y="1160"/>
                      <a:pt x="1348" y="1196"/>
                      <a:pt x="1324" y="1244"/>
                    </a:cubicBezTo>
                    <a:cubicBezTo>
                      <a:pt x="1336" y="1276"/>
                      <a:pt x="1352" y="1288"/>
                      <a:pt x="1372" y="1312"/>
                    </a:cubicBezTo>
                    <a:cubicBezTo>
                      <a:pt x="1328" y="1332"/>
                      <a:pt x="1296" y="1336"/>
                      <a:pt x="1248" y="1344"/>
                    </a:cubicBezTo>
                    <a:cubicBezTo>
                      <a:pt x="1220" y="1396"/>
                      <a:pt x="1332" y="1376"/>
                      <a:pt x="1368" y="1380"/>
                    </a:cubicBezTo>
                    <a:cubicBezTo>
                      <a:pt x="1376" y="1380"/>
                      <a:pt x="1392" y="1416"/>
                      <a:pt x="1384" y="1416"/>
                    </a:cubicBezTo>
                    <a:cubicBezTo>
                      <a:pt x="1372" y="1416"/>
                      <a:pt x="1344" y="1416"/>
                      <a:pt x="1332" y="1416"/>
                    </a:cubicBezTo>
                    <a:cubicBezTo>
                      <a:pt x="1288" y="1424"/>
                      <a:pt x="1264" y="1436"/>
                      <a:pt x="1220" y="1444"/>
                    </a:cubicBezTo>
                    <a:cubicBezTo>
                      <a:pt x="1196" y="1468"/>
                      <a:pt x="1172" y="1484"/>
                      <a:pt x="1152" y="1508"/>
                    </a:cubicBezTo>
                    <a:cubicBezTo>
                      <a:pt x="1140" y="1520"/>
                      <a:pt x="1124" y="1556"/>
                      <a:pt x="1124" y="1556"/>
                    </a:cubicBezTo>
                    <a:cubicBezTo>
                      <a:pt x="1136" y="1584"/>
                      <a:pt x="1124" y="1624"/>
                      <a:pt x="1116" y="1656"/>
                    </a:cubicBezTo>
                    <a:cubicBezTo>
                      <a:pt x="1156" y="1664"/>
                      <a:pt x="1180" y="1684"/>
                      <a:pt x="1224" y="1688"/>
                    </a:cubicBezTo>
                    <a:cubicBezTo>
                      <a:pt x="1204" y="1712"/>
                      <a:pt x="1184" y="1728"/>
                      <a:pt x="1152" y="1732"/>
                    </a:cubicBezTo>
                    <a:cubicBezTo>
                      <a:pt x="1124" y="1748"/>
                      <a:pt x="1108" y="1752"/>
                      <a:pt x="1092" y="1784"/>
                    </a:cubicBezTo>
                    <a:cubicBezTo>
                      <a:pt x="1112" y="1872"/>
                      <a:pt x="1100" y="1772"/>
                      <a:pt x="1076" y="1828"/>
                    </a:cubicBezTo>
                    <a:cubicBezTo>
                      <a:pt x="1068" y="1848"/>
                      <a:pt x="1088" y="1896"/>
                      <a:pt x="1092" y="1916"/>
                    </a:cubicBezTo>
                    <a:cubicBezTo>
                      <a:pt x="1064" y="1920"/>
                      <a:pt x="1000" y="1912"/>
                      <a:pt x="1044" y="1968"/>
                    </a:cubicBezTo>
                    <a:cubicBezTo>
                      <a:pt x="1036" y="1988"/>
                      <a:pt x="1032" y="2004"/>
                      <a:pt x="1028" y="2016"/>
                    </a:cubicBezTo>
                    <a:cubicBezTo>
                      <a:pt x="1016" y="2020"/>
                      <a:pt x="1020" y="2032"/>
                      <a:pt x="1012" y="2040"/>
                    </a:cubicBezTo>
                    <a:cubicBezTo>
                      <a:pt x="956" y="2103"/>
                      <a:pt x="1020" y="2067"/>
                      <a:pt x="976" y="2087"/>
                    </a:cubicBezTo>
                    <a:cubicBezTo>
                      <a:pt x="952" y="2147"/>
                      <a:pt x="904" y="2195"/>
                      <a:pt x="840" y="2203"/>
                    </a:cubicBezTo>
                    <a:cubicBezTo>
                      <a:pt x="804" y="2223"/>
                      <a:pt x="812" y="2207"/>
                      <a:pt x="800" y="2235"/>
                    </a:cubicBezTo>
                    <a:cubicBezTo>
                      <a:pt x="788" y="2291"/>
                      <a:pt x="752" y="2331"/>
                      <a:pt x="720" y="2375"/>
                    </a:cubicBezTo>
                    <a:cubicBezTo>
                      <a:pt x="752" y="2463"/>
                      <a:pt x="768" y="2443"/>
                      <a:pt x="792" y="2479"/>
                    </a:cubicBezTo>
                    <a:cubicBezTo>
                      <a:pt x="832" y="2471"/>
                      <a:pt x="876" y="2427"/>
                      <a:pt x="912" y="2407"/>
                    </a:cubicBezTo>
                    <a:cubicBezTo>
                      <a:pt x="908" y="2463"/>
                      <a:pt x="888" y="2527"/>
                      <a:pt x="828" y="2539"/>
                    </a:cubicBezTo>
                    <a:cubicBezTo>
                      <a:pt x="800" y="2559"/>
                      <a:pt x="800" y="2559"/>
                      <a:pt x="764" y="2555"/>
                    </a:cubicBezTo>
                    <a:cubicBezTo>
                      <a:pt x="716" y="2543"/>
                      <a:pt x="684" y="2539"/>
                      <a:pt x="652" y="2495"/>
                    </a:cubicBezTo>
                    <a:cubicBezTo>
                      <a:pt x="636" y="2507"/>
                      <a:pt x="608" y="2539"/>
                      <a:pt x="608" y="2539"/>
                    </a:cubicBezTo>
                    <a:cubicBezTo>
                      <a:pt x="600" y="2571"/>
                      <a:pt x="588" y="2591"/>
                      <a:pt x="564" y="2611"/>
                    </a:cubicBezTo>
                    <a:cubicBezTo>
                      <a:pt x="556" y="2643"/>
                      <a:pt x="544" y="2655"/>
                      <a:pt x="532" y="2683"/>
                    </a:cubicBezTo>
                    <a:cubicBezTo>
                      <a:pt x="604" y="2695"/>
                      <a:pt x="516" y="2675"/>
                      <a:pt x="496" y="2671"/>
                    </a:cubicBezTo>
                    <a:cubicBezTo>
                      <a:pt x="456" y="2651"/>
                      <a:pt x="432" y="2659"/>
                      <a:pt x="380" y="2663"/>
                    </a:cubicBezTo>
                    <a:cubicBezTo>
                      <a:pt x="356" y="2675"/>
                      <a:pt x="336" y="2691"/>
                      <a:pt x="312" y="2703"/>
                    </a:cubicBezTo>
                    <a:cubicBezTo>
                      <a:pt x="324" y="2771"/>
                      <a:pt x="320" y="2743"/>
                      <a:pt x="332" y="2791"/>
                    </a:cubicBezTo>
                    <a:cubicBezTo>
                      <a:pt x="328" y="2823"/>
                      <a:pt x="316" y="2843"/>
                      <a:pt x="308" y="2875"/>
                    </a:cubicBezTo>
                    <a:cubicBezTo>
                      <a:pt x="308" y="2851"/>
                      <a:pt x="312" y="2827"/>
                      <a:pt x="304" y="2803"/>
                    </a:cubicBezTo>
                    <a:cubicBezTo>
                      <a:pt x="300" y="2795"/>
                      <a:pt x="208" y="2847"/>
                      <a:pt x="188" y="2855"/>
                    </a:cubicBezTo>
                    <a:cubicBezTo>
                      <a:pt x="168" y="2887"/>
                      <a:pt x="156" y="2911"/>
                      <a:pt x="120" y="2927"/>
                    </a:cubicBezTo>
                    <a:cubicBezTo>
                      <a:pt x="136" y="2983"/>
                      <a:pt x="156" y="2979"/>
                      <a:pt x="216" y="2983"/>
                    </a:cubicBezTo>
                    <a:cubicBezTo>
                      <a:pt x="240" y="2999"/>
                      <a:pt x="268" y="2999"/>
                      <a:pt x="296" y="3011"/>
                    </a:cubicBezTo>
                    <a:cubicBezTo>
                      <a:pt x="252" y="3035"/>
                      <a:pt x="184" y="2995"/>
                      <a:pt x="140" y="2979"/>
                    </a:cubicBezTo>
                    <a:cubicBezTo>
                      <a:pt x="76" y="2983"/>
                      <a:pt x="64" y="2983"/>
                      <a:pt x="28" y="3031"/>
                    </a:cubicBezTo>
                    <a:cubicBezTo>
                      <a:pt x="4" y="3167"/>
                      <a:pt x="108" y="3159"/>
                      <a:pt x="216" y="3163"/>
                    </a:cubicBezTo>
                    <a:cubicBezTo>
                      <a:pt x="240" y="3167"/>
                      <a:pt x="452" y="3143"/>
                      <a:pt x="424" y="3183"/>
                    </a:cubicBezTo>
                    <a:cubicBezTo>
                      <a:pt x="352" y="3179"/>
                      <a:pt x="276" y="3183"/>
                      <a:pt x="216" y="3175"/>
                    </a:cubicBezTo>
                    <a:cubicBezTo>
                      <a:pt x="0" y="3179"/>
                      <a:pt x="16" y="3127"/>
                      <a:pt x="8" y="3295"/>
                    </a:cubicBezTo>
                    <a:cubicBezTo>
                      <a:pt x="12" y="3375"/>
                      <a:pt x="8" y="3419"/>
                      <a:pt x="88" y="3451"/>
                    </a:cubicBezTo>
                    <a:cubicBezTo>
                      <a:pt x="144" y="3443"/>
                      <a:pt x="180" y="3431"/>
                      <a:pt x="232" y="3423"/>
                    </a:cubicBezTo>
                    <a:cubicBezTo>
                      <a:pt x="244" y="3419"/>
                      <a:pt x="256" y="3415"/>
                      <a:pt x="268" y="3411"/>
                    </a:cubicBezTo>
                    <a:cubicBezTo>
                      <a:pt x="276" y="3407"/>
                      <a:pt x="284" y="3411"/>
                      <a:pt x="292" y="3407"/>
                    </a:cubicBezTo>
                    <a:cubicBezTo>
                      <a:pt x="296" y="3407"/>
                      <a:pt x="312" y="3395"/>
                      <a:pt x="308" y="3399"/>
                    </a:cubicBezTo>
                    <a:cubicBezTo>
                      <a:pt x="268" y="3439"/>
                      <a:pt x="216" y="3459"/>
                      <a:pt x="160" y="3471"/>
                    </a:cubicBezTo>
                    <a:cubicBezTo>
                      <a:pt x="128" y="3483"/>
                      <a:pt x="104" y="3495"/>
                      <a:pt x="76" y="3511"/>
                    </a:cubicBezTo>
                    <a:cubicBezTo>
                      <a:pt x="64" y="3531"/>
                      <a:pt x="56" y="3539"/>
                      <a:pt x="32" y="3547"/>
                    </a:cubicBezTo>
                    <a:cubicBezTo>
                      <a:pt x="92" y="3575"/>
                      <a:pt x="88" y="3543"/>
                      <a:pt x="112" y="3607"/>
                    </a:cubicBezTo>
                    <a:cubicBezTo>
                      <a:pt x="96" y="3655"/>
                      <a:pt x="84" y="3683"/>
                      <a:pt x="44" y="3723"/>
                    </a:cubicBezTo>
                    <a:cubicBezTo>
                      <a:pt x="36" y="3731"/>
                      <a:pt x="60" y="3715"/>
                      <a:pt x="68" y="3711"/>
                    </a:cubicBezTo>
                    <a:cubicBezTo>
                      <a:pt x="84" y="3699"/>
                      <a:pt x="116" y="3679"/>
                      <a:pt x="116" y="3679"/>
                    </a:cubicBezTo>
                    <a:cubicBezTo>
                      <a:pt x="140" y="3691"/>
                      <a:pt x="132" y="3703"/>
                      <a:pt x="120" y="3723"/>
                    </a:cubicBezTo>
                    <a:cubicBezTo>
                      <a:pt x="132" y="3763"/>
                      <a:pt x="148" y="3787"/>
                      <a:pt x="192" y="3795"/>
                    </a:cubicBezTo>
                    <a:cubicBezTo>
                      <a:pt x="168" y="3811"/>
                      <a:pt x="168" y="3799"/>
                      <a:pt x="140" y="3795"/>
                    </a:cubicBezTo>
                    <a:cubicBezTo>
                      <a:pt x="112" y="3799"/>
                      <a:pt x="104" y="3803"/>
                      <a:pt x="88" y="3823"/>
                    </a:cubicBezTo>
                    <a:cubicBezTo>
                      <a:pt x="96" y="3915"/>
                      <a:pt x="120" y="3959"/>
                      <a:pt x="188" y="4031"/>
                    </a:cubicBezTo>
                    <a:cubicBezTo>
                      <a:pt x="228" y="4055"/>
                      <a:pt x="268" y="4083"/>
                      <a:pt x="312" y="4103"/>
                    </a:cubicBezTo>
                    <a:cubicBezTo>
                      <a:pt x="332" y="4111"/>
                      <a:pt x="372" y="4123"/>
                      <a:pt x="372" y="4123"/>
                    </a:cubicBezTo>
                    <a:cubicBezTo>
                      <a:pt x="408" y="4107"/>
                      <a:pt x="492" y="4035"/>
                      <a:pt x="532" y="4007"/>
                    </a:cubicBezTo>
                    <a:cubicBezTo>
                      <a:pt x="584" y="3967"/>
                      <a:pt x="620" y="3899"/>
                      <a:pt x="660" y="3863"/>
                    </a:cubicBezTo>
                    <a:cubicBezTo>
                      <a:pt x="680" y="3823"/>
                      <a:pt x="740" y="3811"/>
                      <a:pt x="776" y="3783"/>
                    </a:cubicBezTo>
                    <a:cubicBezTo>
                      <a:pt x="800" y="3727"/>
                      <a:pt x="824" y="3667"/>
                      <a:pt x="836" y="3607"/>
                    </a:cubicBezTo>
                    <a:cubicBezTo>
                      <a:pt x="856" y="3599"/>
                      <a:pt x="888" y="3707"/>
                      <a:pt x="896" y="3739"/>
                    </a:cubicBezTo>
                    <a:cubicBezTo>
                      <a:pt x="900" y="3799"/>
                      <a:pt x="932" y="3767"/>
                      <a:pt x="908" y="3795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</p:grpSp>
        <p:grpSp>
          <p:nvGrpSpPr>
            <p:cNvPr id="271" name="Group 77"/>
            <p:cNvGrpSpPr>
              <a:grpSpLocks/>
            </p:cNvGrpSpPr>
            <p:nvPr/>
          </p:nvGrpSpPr>
          <p:grpSpPr bwMode="auto">
            <a:xfrm>
              <a:off x="2834" y="1417"/>
              <a:ext cx="434" cy="792"/>
              <a:chOff x="3842" y="-120"/>
              <a:chExt cx="1720" cy="3135"/>
            </a:xfrm>
            <a:grpFill/>
          </p:grpSpPr>
          <p:sp>
            <p:nvSpPr>
              <p:cNvPr id="319" name="Freeform 78"/>
              <p:cNvSpPr>
                <a:spLocks noChangeAspect="1"/>
              </p:cNvSpPr>
              <p:nvPr/>
            </p:nvSpPr>
            <p:spPr bwMode="auto">
              <a:xfrm>
                <a:off x="4079" y="2895"/>
                <a:ext cx="152" cy="120"/>
              </a:xfrm>
              <a:custGeom>
                <a:avLst/>
                <a:gdLst>
                  <a:gd name="T0" fmla="*/ 2147483647 w 38"/>
                  <a:gd name="T1" fmla="*/ 2147483647 h 30"/>
                  <a:gd name="T2" fmla="*/ 0 w 38"/>
                  <a:gd name="T3" fmla="*/ 2147483647 h 30"/>
                  <a:gd name="T4" fmla="*/ 2147483647 w 38"/>
                  <a:gd name="T5" fmla="*/ 2147483647 h 30"/>
                  <a:gd name="T6" fmla="*/ 2147483647 w 38"/>
                  <a:gd name="T7" fmla="*/ 2147483647 h 30"/>
                  <a:gd name="T8" fmla="*/ 2147483647 w 38"/>
                  <a:gd name="T9" fmla="*/ 2147483647 h 30"/>
                  <a:gd name="T10" fmla="*/ 2147483647 w 38"/>
                  <a:gd name="T11" fmla="*/ 2147483647 h 30"/>
                  <a:gd name="T12" fmla="*/ 2147483647 w 38"/>
                  <a:gd name="T13" fmla="*/ 2147483647 h 3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8"/>
                  <a:gd name="T22" fmla="*/ 0 h 30"/>
                  <a:gd name="T23" fmla="*/ 38 w 38"/>
                  <a:gd name="T24" fmla="*/ 30 h 30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8" h="30">
                    <a:moveTo>
                      <a:pt x="21" y="4"/>
                    </a:moveTo>
                    <a:cubicBezTo>
                      <a:pt x="13" y="1"/>
                      <a:pt x="4" y="0"/>
                      <a:pt x="0" y="8"/>
                    </a:cubicBezTo>
                    <a:cubicBezTo>
                      <a:pt x="1" y="26"/>
                      <a:pt x="4" y="26"/>
                      <a:pt x="19" y="30"/>
                    </a:cubicBezTo>
                    <a:cubicBezTo>
                      <a:pt x="29" y="28"/>
                      <a:pt x="31" y="22"/>
                      <a:pt x="38" y="15"/>
                    </a:cubicBezTo>
                    <a:cubicBezTo>
                      <a:pt x="36" y="5"/>
                      <a:pt x="27" y="6"/>
                      <a:pt x="17" y="5"/>
                    </a:cubicBezTo>
                    <a:cubicBezTo>
                      <a:pt x="9" y="3"/>
                      <a:pt x="11" y="5"/>
                      <a:pt x="8" y="2"/>
                    </a:cubicBezTo>
                    <a:lnTo>
                      <a:pt x="21" y="4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20" name="Freeform 79"/>
              <p:cNvSpPr>
                <a:spLocks noChangeAspect="1"/>
              </p:cNvSpPr>
              <p:nvPr/>
            </p:nvSpPr>
            <p:spPr bwMode="auto">
              <a:xfrm>
                <a:off x="3842" y="-120"/>
                <a:ext cx="1720" cy="3083"/>
              </a:xfrm>
              <a:custGeom>
                <a:avLst/>
                <a:gdLst>
                  <a:gd name="T0" fmla="*/ 1628 w 1720"/>
                  <a:gd name="T1" fmla="*/ 2255 h 3083"/>
                  <a:gd name="T2" fmla="*/ 1720 w 1720"/>
                  <a:gd name="T3" fmla="*/ 1955 h 3083"/>
                  <a:gd name="T4" fmla="*/ 1456 w 1720"/>
                  <a:gd name="T5" fmla="*/ 1775 h 3083"/>
                  <a:gd name="T6" fmla="*/ 1448 w 1720"/>
                  <a:gd name="T7" fmla="*/ 1683 h 3083"/>
                  <a:gd name="T8" fmla="*/ 1432 w 1720"/>
                  <a:gd name="T9" fmla="*/ 1583 h 3083"/>
                  <a:gd name="T10" fmla="*/ 1352 w 1720"/>
                  <a:gd name="T11" fmla="*/ 1512 h 3083"/>
                  <a:gd name="T12" fmla="*/ 1264 w 1720"/>
                  <a:gd name="T13" fmla="*/ 1320 h 3083"/>
                  <a:gd name="T14" fmla="*/ 1276 w 1720"/>
                  <a:gd name="T15" fmla="*/ 1188 h 3083"/>
                  <a:gd name="T16" fmla="*/ 1132 w 1720"/>
                  <a:gd name="T17" fmla="*/ 992 h 3083"/>
                  <a:gd name="T18" fmla="*/ 1120 w 1720"/>
                  <a:gd name="T19" fmla="*/ 688 h 3083"/>
                  <a:gd name="T20" fmla="*/ 1072 w 1720"/>
                  <a:gd name="T21" fmla="*/ 600 h 3083"/>
                  <a:gd name="T22" fmla="*/ 908 w 1720"/>
                  <a:gd name="T23" fmla="*/ 512 h 3083"/>
                  <a:gd name="T24" fmla="*/ 880 w 1720"/>
                  <a:gd name="T25" fmla="*/ 312 h 3083"/>
                  <a:gd name="T26" fmla="*/ 968 w 1720"/>
                  <a:gd name="T27" fmla="*/ 132 h 3083"/>
                  <a:gd name="T28" fmla="*/ 888 w 1720"/>
                  <a:gd name="T29" fmla="*/ 168 h 3083"/>
                  <a:gd name="T30" fmla="*/ 813 w 1720"/>
                  <a:gd name="T31" fmla="*/ 72 h 3083"/>
                  <a:gd name="T32" fmla="*/ 693 w 1720"/>
                  <a:gd name="T33" fmla="*/ 0 h 3083"/>
                  <a:gd name="T34" fmla="*/ 573 w 1720"/>
                  <a:gd name="T35" fmla="*/ 76 h 3083"/>
                  <a:gd name="T36" fmla="*/ 545 w 1720"/>
                  <a:gd name="T37" fmla="*/ 244 h 3083"/>
                  <a:gd name="T38" fmla="*/ 533 w 1720"/>
                  <a:gd name="T39" fmla="*/ 416 h 3083"/>
                  <a:gd name="T40" fmla="*/ 409 w 1720"/>
                  <a:gd name="T41" fmla="*/ 484 h 3083"/>
                  <a:gd name="T42" fmla="*/ 153 w 1720"/>
                  <a:gd name="T43" fmla="*/ 412 h 3083"/>
                  <a:gd name="T44" fmla="*/ 9 w 1720"/>
                  <a:gd name="T45" fmla="*/ 436 h 3083"/>
                  <a:gd name="T46" fmla="*/ 265 w 1720"/>
                  <a:gd name="T47" fmla="*/ 620 h 3083"/>
                  <a:gd name="T48" fmla="*/ 390 w 1720"/>
                  <a:gd name="T49" fmla="*/ 756 h 3083"/>
                  <a:gd name="T50" fmla="*/ 477 w 1720"/>
                  <a:gd name="T51" fmla="*/ 1016 h 3083"/>
                  <a:gd name="T52" fmla="*/ 495 w 1720"/>
                  <a:gd name="T53" fmla="*/ 1224 h 3083"/>
                  <a:gd name="T54" fmla="*/ 580 w 1720"/>
                  <a:gd name="T55" fmla="*/ 1365 h 3083"/>
                  <a:gd name="T56" fmla="*/ 681 w 1720"/>
                  <a:gd name="T57" fmla="*/ 1396 h 3083"/>
                  <a:gd name="T58" fmla="*/ 741 w 1720"/>
                  <a:gd name="T59" fmla="*/ 1432 h 3083"/>
                  <a:gd name="T60" fmla="*/ 545 w 1720"/>
                  <a:gd name="T61" fmla="*/ 1959 h 3083"/>
                  <a:gd name="T62" fmla="*/ 489 w 1720"/>
                  <a:gd name="T63" fmla="*/ 2051 h 3083"/>
                  <a:gd name="T64" fmla="*/ 369 w 1720"/>
                  <a:gd name="T65" fmla="*/ 2239 h 3083"/>
                  <a:gd name="T66" fmla="*/ 457 w 1720"/>
                  <a:gd name="T67" fmla="*/ 2559 h 3083"/>
                  <a:gd name="T68" fmla="*/ 457 w 1720"/>
                  <a:gd name="T69" fmla="*/ 2987 h 3083"/>
                  <a:gd name="T70" fmla="*/ 485 w 1720"/>
                  <a:gd name="T71" fmla="*/ 2999 h 3083"/>
                  <a:gd name="T72" fmla="*/ 657 w 1720"/>
                  <a:gd name="T73" fmla="*/ 3055 h 3083"/>
                  <a:gd name="T74" fmla="*/ 729 w 1720"/>
                  <a:gd name="T75" fmla="*/ 3083 h 3083"/>
                  <a:gd name="T76" fmla="*/ 956 w 1720"/>
                  <a:gd name="T77" fmla="*/ 2991 h 3083"/>
                  <a:gd name="T78" fmla="*/ 1024 w 1720"/>
                  <a:gd name="T79" fmla="*/ 2955 h 3083"/>
                  <a:gd name="T80" fmla="*/ 1192 w 1720"/>
                  <a:gd name="T81" fmla="*/ 2859 h 3083"/>
                  <a:gd name="T82" fmla="*/ 1372 w 1720"/>
                  <a:gd name="T83" fmla="*/ 2783 h 3083"/>
                  <a:gd name="T84" fmla="*/ 1396 w 1720"/>
                  <a:gd name="T85" fmla="*/ 2723 h 3083"/>
                  <a:gd name="T86" fmla="*/ 1576 w 1720"/>
                  <a:gd name="T87" fmla="*/ 2351 h 3083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1720"/>
                  <a:gd name="T133" fmla="*/ 0 h 3083"/>
                  <a:gd name="T134" fmla="*/ 1720 w 1720"/>
                  <a:gd name="T135" fmla="*/ 3083 h 3083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1720" h="3083">
                    <a:moveTo>
                      <a:pt x="1576" y="2351"/>
                    </a:moveTo>
                    <a:cubicBezTo>
                      <a:pt x="1584" y="2323"/>
                      <a:pt x="1604" y="2279"/>
                      <a:pt x="1628" y="2255"/>
                    </a:cubicBezTo>
                    <a:cubicBezTo>
                      <a:pt x="1636" y="2223"/>
                      <a:pt x="1636" y="2191"/>
                      <a:pt x="1648" y="2159"/>
                    </a:cubicBezTo>
                    <a:cubicBezTo>
                      <a:pt x="1656" y="2087"/>
                      <a:pt x="1688" y="2023"/>
                      <a:pt x="1720" y="1955"/>
                    </a:cubicBezTo>
                    <a:cubicBezTo>
                      <a:pt x="1700" y="1907"/>
                      <a:pt x="1640" y="1879"/>
                      <a:pt x="1592" y="1839"/>
                    </a:cubicBezTo>
                    <a:cubicBezTo>
                      <a:pt x="1548" y="1811"/>
                      <a:pt x="1480" y="1791"/>
                      <a:pt x="1456" y="1775"/>
                    </a:cubicBezTo>
                    <a:cubicBezTo>
                      <a:pt x="1452" y="1767"/>
                      <a:pt x="1440" y="1751"/>
                      <a:pt x="1440" y="1751"/>
                    </a:cubicBezTo>
                    <a:cubicBezTo>
                      <a:pt x="1440" y="1727"/>
                      <a:pt x="1440" y="1703"/>
                      <a:pt x="1448" y="1683"/>
                    </a:cubicBezTo>
                    <a:cubicBezTo>
                      <a:pt x="1452" y="1671"/>
                      <a:pt x="1480" y="1631"/>
                      <a:pt x="1480" y="1631"/>
                    </a:cubicBezTo>
                    <a:cubicBezTo>
                      <a:pt x="1476" y="1595"/>
                      <a:pt x="1460" y="1603"/>
                      <a:pt x="1432" y="1583"/>
                    </a:cubicBezTo>
                    <a:cubicBezTo>
                      <a:pt x="1420" y="1575"/>
                      <a:pt x="1396" y="1559"/>
                      <a:pt x="1396" y="1559"/>
                    </a:cubicBezTo>
                    <a:cubicBezTo>
                      <a:pt x="1384" y="1543"/>
                      <a:pt x="1368" y="1524"/>
                      <a:pt x="1352" y="1512"/>
                    </a:cubicBezTo>
                    <a:cubicBezTo>
                      <a:pt x="1332" y="1484"/>
                      <a:pt x="1340" y="1496"/>
                      <a:pt x="1324" y="1472"/>
                    </a:cubicBezTo>
                    <a:cubicBezTo>
                      <a:pt x="1312" y="1420"/>
                      <a:pt x="1280" y="1372"/>
                      <a:pt x="1264" y="1320"/>
                    </a:cubicBezTo>
                    <a:cubicBezTo>
                      <a:pt x="1264" y="1288"/>
                      <a:pt x="1264" y="1260"/>
                      <a:pt x="1268" y="1228"/>
                    </a:cubicBezTo>
                    <a:cubicBezTo>
                      <a:pt x="1268" y="1216"/>
                      <a:pt x="1276" y="1188"/>
                      <a:pt x="1276" y="1188"/>
                    </a:cubicBezTo>
                    <a:cubicBezTo>
                      <a:pt x="1272" y="1148"/>
                      <a:pt x="1248" y="1080"/>
                      <a:pt x="1204" y="1064"/>
                    </a:cubicBezTo>
                    <a:cubicBezTo>
                      <a:pt x="1188" y="1040"/>
                      <a:pt x="1156" y="1008"/>
                      <a:pt x="1132" y="992"/>
                    </a:cubicBezTo>
                    <a:cubicBezTo>
                      <a:pt x="1120" y="972"/>
                      <a:pt x="1104" y="932"/>
                      <a:pt x="1080" y="924"/>
                    </a:cubicBezTo>
                    <a:cubicBezTo>
                      <a:pt x="1056" y="840"/>
                      <a:pt x="1052" y="756"/>
                      <a:pt x="1120" y="688"/>
                    </a:cubicBezTo>
                    <a:cubicBezTo>
                      <a:pt x="1124" y="672"/>
                      <a:pt x="1128" y="644"/>
                      <a:pt x="1120" y="632"/>
                    </a:cubicBezTo>
                    <a:cubicBezTo>
                      <a:pt x="1108" y="616"/>
                      <a:pt x="1088" y="612"/>
                      <a:pt x="1072" y="600"/>
                    </a:cubicBezTo>
                    <a:cubicBezTo>
                      <a:pt x="1044" y="576"/>
                      <a:pt x="1020" y="556"/>
                      <a:pt x="984" y="544"/>
                    </a:cubicBezTo>
                    <a:cubicBezTo>
                      <a:pt x="968" y="528"/>
                      <a:pt x="932" y="520"/>
                      <a:pt x="908" y="512"/>
                    </a:cubicBezTo>
                    <a:cubicBezTo>
                      <a:pt x="888" y="492"/>
                      <a:pt x="876" y="448"/>
                      <a:pt x="872" y="416"/>
                    </a:cubicBezTo>
                    <a:cubicBezTo>
                      <a:pt x="864" y="380"/>
                      <a:pt x="861" y="344"/>
                      <a:pt x="880" y="312"/>
                    </a:cubicBezTo>
                    <a:cubicBezTo>
                      <a:pt x="888" y="288"/>
                      <a:pt x="888" y="260"/>
                      <a:pt x="908" y="240"/>
                    </a:cubicBezTo>
                    <a:cubicBezTo>
                      <a:pt x="924" y="212"/>
                      <a:pt x="972" y="128"/>
                      <a:pt x="968" y="132"/>
                    </a:cubicBezTo>
                    <a:cubicBezTo>
                      <a:pt x="956" y="148"/>
                      <a:pt x="892" y="256"/>
                      <a:pt x="880" y="264"/>
                    </a:cubicBezTo>
                    <a:cubicBezTo>
                      <a:pt x="872" y="228"/>
                      <a:pt x="876" y="204"/>
                      <a:pt x="888" y="168"/>
                    </a:cubicBezTo>
                    <a:cubicBezTo>
                      <a:pt x="884" y="132"/>
                      <a:pt x="892" y="108"/>
                      <a:pt x="864" y="88"/>
                    </a:cubicBezTo>
                    <a:cubicBezTo>
                      <a:pt x="849" y="76"/>
                      <a:pt x="813" y="72"/>
                      <a:pt x="813" y="72"/>
                    </a:cubicBezTo>
                    <a:cubicBezTo>
                      <a:pt x="789" y="48"/>
                      <a:pt x="757" y="36"/>
                      <a:pt x="729" y="16"/>
                    </a:cubicBezTo>
                    <a:cubicBezTo>
                      <a:pt x="717" y="8"/>
                      <a:pt x="693" y="0"/>
                      <a:pt x="693" y="0"/>
                    </a:cubicBezTo>
                    <a:cubicBezTo>
                      <a:pt x="669" y="4"/>
                      <a:pt x="657" y="0"/>
                      <a:pt x="645" y="24"/>
                    </a:cubicBezTo>
                    <a:cubicBezTo>
                      <a:pt x="637" y="72"/>
                      <a:pt x="621" y="72"/>
                      <a:pt x="573" y="76"/>
                    </a:cubicBezTo>
                    <a:cubicBezTo>
                      <a:pt x="557" y="92"/>
                      <a:pt x="549" y="116"/>
                      <a:pt x="537" y="136"/>
                    </a:cubicBezTo>
                    <a:cubicBezTo>
                      <a:pt x="529" y="172"/>
                      <a:pt x="529" y="208"/>
                      <a:pt x="545" y="244"/>
                    </a:cubicBezTo>
                    <a:cubicBezTo>
                      <a:pt x="548" y="283"/>
                      <a:pt x="560" y="337"/>
                      <a:pt x="558" y="366"/>
                    </a:cubicBezTo>
                    <a:cubicBezTo>
                      <a:pt x="544" y="390"/>
                      <a:pt x="540" y="403"/>
                      <a:pt x="533" y="416"/>
                    </a:cubicBezTo>
                    <a:cubicBezTo>
                      <a:pt x="526" y="440"/>
                      <a:pt x="537" y="408"/>
                      <a:pt x="513" y="444"/>
                    </a:cubicBezTo>
                    <a:cubicBezTo>
                      <a:pt x="497" y="456"/>
                      <a:pt x="441" y="472"/>
                      <a:pt x="409" y="484"/>
                    </a:cubicBezTo>
                    <a:cubicBezTo>
                      <a:pt x="357" y="492"/>
                      <a:pt x="245" y="504"/>
                      <a:pt x="197" y="492"/>
                    </a:cubicBezTo>
                    <a:cubicBezTo>
                      <a:pt x="181" y="460"/>
                      <a:pt x="181" y="432"/>
                      <a:pt x="153" y="412"/>
                    </a:cubicBezTo>
                    <a:cubicBezTo>
                      <a:pt x="141" y="392"/>
                      <a:pt x="105" y="380"/>
                      <a:pt x="81" y="372"/>
                    </a:cubicBezTo>
                    <a:cubicBezTo>
                      <a:pt x="41" y="384"/>
                      <a:pt x="41" y="392"/>
                      <a:pt x="9" y="436"/>
                    </a:cubicBezTo>
                    <a:cubicBezTo>
                      <a:pt x="0" y="456"/>
                      <a:pt x="27" y="455"/>
                      <a:pt x="66" y="482"/>
                    </a:cubicBezTo>
                    <a:cubicBezTo>
                      <a:pt x="108" y="513"/>
                      <a:pt x="171" y="567"/>
                      <a:pt x="265" y="620"/>
                    </a:cubicBezTo>
                    <a:cubicBezTo>
                      <a:pt x="309" y="651"/>
                      <a:pt x="309" y="642"/>
                      <a:pt x="330" y="668"/>
                    </a:cubicBezTo>
                    <a:cubicBezTo>
                      <a:pt x="369" y="701"/>
                      <a:pt x="393" y="722"/>
                      <a:pt x="390" y="756"/>
                    </a:cubicBezTo>
                    <a:cubicBezTo>
                      <a:pt x="363" y="848"/>
                      <a:pt x="438" y="911"/>
                      <a:pt x="450" y="947"/>
                    </a:cubicBezTo>
                    <a:cubicBezTo>
                      <a:pt x="465" y="990"/>
                      <a:pt x="469" y="995"/>
                      <a:pt x="477" y="1016"/>
                    </a:cubicBezTo>
                    <a:cubicBezTo>
                      <a:pt x="485" y="1032"/>
                      <a:pt x="492" y="1059"/>
                      <a:pt x="495" y="1077"/>
                    </a:cubicBezTo>
                    <a:cubicBezTo>
                      <a:pt x="491" y="1109"/>
                      <a:pt x="486" y="1193"/>
                      <a:pt x="495" y="1224"/>
                    </a:cubicBezTo>
                    <a:cubicBezTo>
                      <a:pt x="522" y="1266"/>
                      <a:pt x="535" y="1281"/>
                      <a:pt x="537" y="1301"/>
                    </a:cubicBezTo>
                    <a:cubicBezTo>
                      <a:pt x="557" y="1341"/>
                      <a:pt x="555" y="1352"/>
                      <a:pt x="580" y="1365"/>
                    </a:cubicBezTo>
                    <a:cubicBezTo>
                      <a:pt x="580" y="1369"/>
                      <a:pt x="617" y="1380"/>
                      <a:pt x="633" y="1380"/>
                    </a:cubicBezTo>
                    <a:cubicBezTo>
                      <a:pt x="649" y="1384"/>
                      <a:pt x="665" y="1392"/>
                      <a:pt x="681" y="1396"/>
                    </a:cubicBezTo>
                    <a:cubicBezTo>
                      <a:pt x="689" y="1400"/>
                      <a:pt x="705" y="1404"/>
                      <a:pt x="705" y="1404"/>
                    </a:cubicBezTo>
                    <a:cubicBezTo>
                      <a:pt x="717" y="1416"/>
                      <a:pt x="741" y="1432"/>
                      <a:pt x="741" y="1432"/>
                    </a:cubicBezTo>
                    <a:cubicBezTo>
                      <a:pt x="753" y="1488"/>
                      <a:pt x="737" y="1536"/>
                      <a:pt x="705" y="1583"/>
                    </a:cubicBezTo>
                    <a:cubicBezTo>
                      <a:pt x="673" y="1671"/>
                      <a:pt x="617" y="1879"/>
                      <a:pt x="545" y="1959"/>
                    </a:cubicBezTo>
                    <a:cubicBezTo>
                      <a:pt x="533" y="1975"/>
                      <a:pt x="525" y="1995"/>
                      <a:pt x="509" y="2003"/>
                    </a:cubicBezTo>
                    <a:cubicBezTo>
                      <a:pt x="501" y="2023"/>
                      <a:pt x="497" y="2035"/>
                      <a:pt x="489" y="2051"/>
                    </a:cubicBezTo>
                    <a:cubicBezTo>
                      <a:pt x="485" y="2059"/>
                      <a:pt x="481" y="2075"/>
                      <a:pt x="481" y="2075"/>
                    </a:cubicBezTo>
                    <a:cubicBezTo>
                      <a:pt x="461" y="2107"/>
                      <a:pt x="381" y="2167"/>
                      <a:pt x="369" y="2239"/>
                    </a:cubicBezTo>
                    <a:cubicBezTo>
                      <a:pt x="349" y="2315"/>
                      <a:pt x="365" y="2435"/>
                      <a:pt x="413" y="2507"/>
                    </a:cubicBezTo>
                    <a:cubicBezTo>
                      <a:pt x="421" y="2535"/>
                      <a:pt x="445" y="2535"/>
                      <a:pt x="457" y="2559"/>
                    </a:cubicBezTo>
                    <a:cubicBezTo>
                      <a:pt x="473" y="2591"/>
                      <a:pt x="465" y="2655"/>
                      <a:pt x="473" y="2687"/>
                    </a:cubicBezTo>
                    <a:cubicBezTo>
                      <a:pt x="477" y="2787"/>
                      <a:pt x="473" y="2887"/>
                      <a:pt x="457" y="2987"/>
                    </a:cubicBezTo>
                    <a:cubicBezTo>
                      <a:pt x="457" y="2995"/>
                      <a:pt x="453" y="3003"/>
                      <a:pt x="461" y="3007"/>
                    </a:cubicBezTo>
                    <a:cubicBezTo>
                      <a:pt x="469" y="3011"/>
                      <a:pt x="485" y="2999"/>
                      <a:pt x="485" y="2999"/>
                    </a:cubicBezTo>
                    <a:cubicBezTo>
                      <a:pt x="525" y="3007"/>
                      <a:pt x="561" y="3019"/>
                      <a:pt x="597" y="3031"/>
                    </a:cubicBezTo>
                    <a:cubicBezTo>
                      <a:pt x="621" y="3039"/>
                      <a:pt x="637" y="3047"/>
                      <a:pt x="657" y="3055"/>
                    </a:cubicBezTo>
                    <a:cubicBezTo>
                      <a:pt x="661" y="3055"/>
                      <a:pt x="669" y="3059"/>
                      <a:pt x="669" y="3059"/>
                    </a:cubicBezTo>
                    <a:cubicBezTo>
                      <a:pt x="685" y="3075"/>
                      <a:pt x="705" y="3079"/>
                      <a:pt x="729" y="3083"/>
                    </a:cubicBezTo>
                    <a:cubicBezTo>
                      <a:pt x="769" y="3075"/>
                      <a:pt x="801" y="3055"/>
                      <a:pt x="841" y="3047"/>
                    </a:cubicBezTo>
                    <a:cubicBezTo>
                      <a:pt x="880" y="3027"/>
                      <a:pt x="912" y="2999"/>
                      <a:pt x="956" y="2991"/>
                    </a:cubicBezTo>
                    <a:cubicBezTo>
                      <a:pt x="968" y="2983"/>
                      <a:pt x="980" y="2967"/>
                      <a:pt x="992" y="2963"/>
                    </a:cubicBezTo>
                    <a:cubicBezTo>
                      <a:pt x="1004" y="2959"/>
                      <a:pt x="1024" y="2955"/>
                      <a:pt x="1024" y="2955"/>
                    </a:cubicBezTo>
                    <a:cubicBezTo>
                      <a:pt x="1040" y="2931"/>
                      <a:pt x="1092" y="2915"/>
                      <a:pt x="1120" y="2907"/>
                    </a:cubicBezTo>
                    <a:cubicBezTo>
                      <a:pt x="1132" y="2887"/>
                      <a:pt x="1168" y="2867"/>
                      <a:pt x="1192" y="2859"/>
                    </a:cubicBezTo>
                    <a:cubicBezTo>
                      <a:pt x="1212" y="2827"/>
                      <a:pt x="1276" y="2839"/>
                      <a:pt x="1312" y="2831"/>
                    </a:cubicBezTo>
                    <a:cubicBezTo>
                      <a:pt x="1336" y="2811"/>
                      <a:pt x="1348" y="2791"/>
                      <a:pt x="1372" y="2783"/>
                    </a:cubicBezTo>
                    <a:cubicBezTo>
                      <a:pt x="1380" y="2779"/>
                      <a:pt x="1396" y="2767"/>
                      <a:pt x="1396" y="2767"/>
                    </a:cubicBezTo>
                    <a:cubicBezTo>
                      <a:pt x="1389" y="2753"/>
                      <a:pt x="1388" y="2743"/>
                      <a:pt x="1396" y="2723"/>
                    </a:cubicBezTo>
                    <a:cubicBezTo>
                      <a:pt x="1412" y="2675"/>
                      <a:pt x="1465" y="2573"/>
                      <a:pt x="1500" y="2534"/>
                    </a:cubicBezTo>
                    <a:cubicBezTo>
                      <a:pt x="1530" y="2472"/>
                      <a:pt x="1555" y="2397"/>
                      <a:pt x="1576" y="2351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</p:grpSp>
        <p:sp>
          <p:nvSpPr>
            <p:cNvPr id="272" name="Freeform 80"/>
            <p:cNvSpPr>
              <a:spLocks noChangeAspect="1"/>
            </p:cNvSpPr>
            <p:nvPr/>
          </p:nvSpPr>
          <p:spPr bwMode="auto">
            <a:xfrm>
              <a:off x="2987" y="2315"/>
              <a:ext cx="291" cy="179"/>
            </a:xfrm>
            <a:custGeom>
              <a:avLst/>
              <a:gdLst>
                <a:gd name="T0" fmla="*/ 0 w 1156"/>
                <a:gd name="T1" fmla="*/ 0 h 708"/>
                <a:gd name="T2" fmla="*/ 0 w 1156"/>
                <a:gd name="T3" fmla="*/ 0 h 708"/>
                <a:gd name="T4" fmla="*/ 0 w 1156"/>
                <a:gd name="T5" fmla="*/ 0 h 708"/>
                <a:gd name="T6" fmla="*/ 0 w 1156"/>
                <a:gd name="T7" fmla="*/ 0 h 708"/>
                <a:gd name="T8" fmla="*/ 0 w 1156"/>
                <a:gd name="T9" fmla="*/ 0 h 708"/>
                <a:gd name="T10" fmla="*/ 0 w 1156"/>
                <a:gd name="T11" fmla="*/ 0 h 708"/>
                <a:gd name="T12" fmla="*/ 0 w 1156"/>
                <a:gd name="T13" fmla="*/ 0 h 708"/>
                <a:gd name="T14" fmla="*/ 0 w 1156"/>
                <a:gd name="T15" fmla="*/ 0 h 708"/>
                <a:gd name="T16" fmla="*/ 0 w 1156"/>
                <a:gd name="T17" fmla="*/ 0 h 708"/>
                <a:gd name="T18" fmla="*/ 0 w 1156"/>
                <a:gd name="T19" fmla="*/ 0 h 708"/>
                <a:gd name="T20" fmla="*/ 0 w 1156"/>
                <a:gd name="T21" fmla="*/ 0 h 708"/>
                <a:gd name="T22" fmla="*/ 0 w 1156"/>
                <a:gd name="T23" fmla="*/ 0 h 708"/>
                <a:gd name="T24" fmla="*/ 0 w 1156"/>
                <a:gd name="T25" fmla="*/ 0 h 708"/>
                <a:gd name="T26" fmla="*/ 0 w 1156"/>
                <a:gd name="T27" fmla="*/ 0 h 708"/>
                <a:gd name="T28" fmla="*/ 0 w 1156"/>
                <a:gd name="T29" fmla="*/ 0 h 708"/>
                <a:gd name="T30" fmla="*/ 0 w 1156"/>
                <a:gd name="T31" fmla="*/ 0 h 708"/>
                <a:gd name="T32" fmla="*/ 0 w 1156"/>
                <a:gd name="T33" fmla="*/ 0 h 708"/>
                <a:gd name="T34" fmla="*/ 0 w 1156"/>
                <a:gd name="T35" fmla="*/ 0 h 708"/>
                <a:gd name="T36" fmla="*/ 0 w 1156"/>
                <a:gd name="T37" fmla="*/ 0 h 708"/>
                <a:gd name="T38" fmla="*/ 0 w 1156"/>
                <a:gd name="T39" fmla="*/ 0 h 708"/>
                <a:gd name="T40" fmla="*/ 0 w 1156"/>
                <a:gd name="T41" fmla="*/ 0 h 708"/>
                <a:gd name="T42" fmla="*/ 0 w 1156"/>
                <a:gd name="T43" fmla="*/ 0 h 708"/>
                <a:gd name="T44" fmla="*/ 0 w 1156"/>
                <a:gd name="T45" fmla="*/ 0 h 708"/>
                <a:gd name="T46" fmla="*/ 0 w 1156"/>
                <a:gd name="T47" fmla="*/ 0 h 708"/>
                <a:gd name="T48" fmla="*/ 0 w 1156"/>
                <a:gd name="T49" fmla="*/ 0 h 708"/>
                <a:gd name="T50" fmla="*/ 0 w 1156"/>
                <a:gd name="T51" fmla="*/ 0 h 708"/>
                <a:gd name="T52" fmla="*/ 0 w 1156"/>
                <a:gd name="T53" fmla="*/ 0 h 708"/>
                <a:gd name="T54" fmla="*/ 0 w 1156"/>
                <a:gd name="T55" fmla="*/ 0 h 708"/>
                <a:gd name="T56" fmla="*/ 0 w 1156"/>
                <a:gd name="T57" fmla="*/ 0 h 708"/>
                <a:gd name="T58" fmla="*/ 0 w 1156"/>
                <a:gd name="T59" fmla="*/ 0 h 708"/>
                <a:gd name="T60" fmla="*/ 0 w 1156"/>
                <a:gd name="T61" fmla="*/ 0 h 708"/>
                <a:gd name="T62" fmla="*/ 0 w 1156"/>
                <a:gd name="T63" fmla="*/ 0 h 708"/>
                <a:gd name="T64" fmla="*/ 0 w 1156"/>
                <a:gd name="T65" fmla="*/ 0 h 708"/>
                <a:gd name="T66" fmla="*/ 0 w 1156"/>
                <a:gd name="T67" fmla="*/ 0 h 708"/>
                <a:gd name="T68" fmla="*/ 0 w 1156"/>
                <a:gd name="T69" fmla="*/ 0 h 708"/>
                <a:gd name="T70" fmla="*/ 0 w 1156"/>
                <a:gd name="T71" fmla="*/ 0 h 708"/>
                <a:gd name="T72" fmla="*/ 0 w 1156"/>
                <a:gd name="T73" fmla="*/ 0 h 708"/>
                <a:gd name="T74" fmla="*/ 0 w 1156"/>
                <a:gd name="T75" fmla="*/ 0 h 708"/>
                <a:gd name="T76" fmla="*/ 0 w 1156"/>
                <a:gd name="T77" fmla="*/ 0 h 708"/>
                <a:gd name="T78" fmla="*/ 0 w 1156"/>
                <a:gd name="T79" fmla="*/ 0 h 708"/>
                <a:gd name="T80" fmla="*/ 0 w 1156"/>
                <a:gd name="T81" fmla="*/ 0 h 708"/>
                <a:gd name="T82" fmla="*/ 0 w 1156"/>
                <a:gd name="T83" fmla="*/ 0 h 708"/>
                <a:gd name="T84" fmla="*/ 0 w 1156"/>
                <a:gd name="T85" fmla="*/ 0 h 708"/>
                <a:gd name="T86" fmla="*/ 0 w 1156"/>
                <a:gd name="T87" fmla="*/ 0 h 708"/>
                <a:gd name="T88" fmla="*/ 0 w 1156"/>
                <a:gd name="T89" fmla="*/ 0 h 708"/>
                <a:gd name="T90" fmla="*/ 0 w 1156"/>
                <a:gd name="T91" fmla="*/ 0 h 708"/>
                <a:gd name="T92" fmla="*/ 0 w 1156"/>
                <a:gd name="T93" fmla="*/ 0 h 708"/>
                <a:gd name="T94" fmla="*/ 0 w 1156"/>
                <a:gd name="T95" fmla="*/ 0 h 708"/>
                <a:gd name="T96" fmla="*/ 0 w 1156"/>
                <a:gd name="T97" fmla="*/ 0 h 708"/>
                <a:gd name="T98" fmla="*/ 0 w 1156"/>
                <a:gd name="T99" fmla="*/ 0 h 708"/>
                <a:gd name="T100" fmla="*/ 0 w 1156"/>
                <a:gd name="T101" fmla="*/ 0 h 708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156"/>
                <a:gd name="T154" fmla="*/ 0 h 708"/>
                <a:gd name="T155" fmla="*/ 1156 w 1156"/>
                <a:gd name="T156" fmla="*/ 708 h 708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156" h="708">
                  <a:moveTo>
                    <a:pt x="1156" y="416"/>
                  </a:moveTo>
                  <a:cubicBezTo>
                    <a:pt x="1148" y="404"/>
                    <a:pt x="1144" y="392"/>
                    <a:pt x="1132" y="380"/>
                  </a:cubicBezTo>
                  <a:cubicBezTo>
                    <a:pt x="1124" y="356"/>
                    <a:pt x="1128" y="328"/>
                    <a:pt x="1104" y="312"/>
                  </a:cubicBezTo>
                  <a:cubicBezTo>
                    <a:pt x="1096" y="292"/>
                    <a:pt x="1052" y="232"/>
                    <a:pt x="1032" y="224"/>
                  </a:cubicBezTo>
                  <a:cubicBezTo>
                    <a:pt x="1036" y="132"/>
                    <a:pt x="1048" y="140"/>
                    <a:pt x="976" y="92"/>
                  </a:cubicBezTo>
                  <a:cubicBezTo>
                    <a:pt x="972" y="76"/>
                    <a:pt x="953" y="83"/>
                    <a:pt x="945" y="63"/>
                  </a:cubicBezTo>
                  <a:cubicBezTo>
                    <a:pt x="845" y="72"/>
                    <a:pt x="831" y="92"/>
                    <a:pt x="819" y="99"/>
                  </a:cubicBezTo>
                  <a:cubicBezTo>
                    <a:pt x="789" y="104"/>
                    <a:pt x="786" y="98"/>
                    <a:pt x="764" y="96"/>
                  </a:cubicBezTo>
                  <a:cubicBezTo>
                    <a:pt x="740" y="60"/>
                    <a:pt x="719" y="78"/>
                    <a:pt x="684" y="50"/>
                  </a:cubicBezTo>
                  <a:cubicBezTo>
                    <a:pt x="672" y="38"/>
                    <a:pt x="664" y="24"/>
                    <a:pt x="648" y="20"/>
                  </a:cubicBezTo>
                  <a:cubicBezTo>
                    <a:pt x="636" y="0"/>
                    <a:pt x="626" y="10"/>
                    <a:pt x="602" y="6"/>
                  </a:cubicBezTo>
                  <a:cubicBezTo>
                    <a:pt x="564" y="9"/>
                    <a:pt x="564" y="0"/>
                    <a:pt x="532" y="20"/>
                  </a:cubicBezTo>
                  <a:cubicBezTo>
                    <a:pt x="509" y="32"/>
                    <a:pt x="483" y="62"/>
                    <a:pt x="460" y="52"/>
                  </a:cubicBezTo>
                  <a:cubicBezTo>
                    <a:pt x="432" y="88"/>
                    <a:pt x="456" y="192"/>
                    <a:pt x="496" y="220"/>
                  </a:cubicBezTo>
                  <a:cubicBezTo>
                    <a:pt x="504" y="252"/>
                    <a:pt x="512" y="288"/>
                    <a:pt x="484" y="308"/>
                  </a:cubicBezTo>
                  <a:cubicBezTo>
                    <a:pt x="472" y="328"/>
                    <a:pt x="472" y="336"/>
                    <a:pt x="448" y="344"/>
                  </a:cubicBezTo>
                  <a:cubicBezTo>
                    <a:pt x="416" y="344"/>
                    <a:pt x="388" y="348"/>
                    <a:pt x="356" y="340"/>
                  </a:cubicBezTo>
                  <a:cubicBezTo>
                    <a:pt x="352" y="340"/>
                    <a:pt x="352" y="328"/>
                    <a:pt x="348" y="324"/>
                  </a:cubicBezTo>
                  <a:cubicBezTo>
                    <a:pt x="336" y="312"/>
                    <a:pt x="304" y="300"/>
                    <a:pt x="288" y="296"/>
                  </a:cubicBezTo>
                  <a:cubicBezTo>
                    <a:pt x="276" y="276"/>
                    <a:pt x="268" y="256"/>
                    <a:pt x="252" y="240"/>
                  </a:cubicBezTo>
                  <a:cubicBezTo>
                    <a:pt x="244" y="228"/>
                    <a:pt x="216" y="212"/>
                    <a:pt x="216" y="212"/>
                  </a:cubicBezTo>
                  <a:cubicBezTo>
                    <a:pt x="208" y="196"/>
                    <a:pt x="192" y="180"/>
                    <a:pt x="180" y="172"/>
                  </a:cubicBezTo>
                  <a:cubicBezTo>
                    <a:pt x="160" y="180"/>
                    <a:pt x="172" y="188"/>
                    <a:pt x="148" y="192"/>
                  </a:cubicBezTo>
                  <a:cubicBezTo>
                    <a:pt x="124" y="208"/>
                    <a:pt x="96" y="216"/>
                    <a:pt x="76" y="236"/>
                  </a:cubicBezTo>
                  <a:cubicBezTo>
                    <a:pt x="68" y="260"/>
                    <a:pt x="64" y="280"/>
                    <a:pt x="48" y="296"/>
                  </a:cubicBezTo>
                  <a:cubicBezTo>
                    <a:pt x="40" y="320"/>
                    <a:pt x="20" y="336"/>
                    <a:pt x="16" y="364"/>
                  </a:cubicBezTo>
                  <a:cubicBezTo>
                    <a:pt x="12" y="420"/>
                    <a:pt x="8" y="436"/>
                    <a:pt x="0" y="484"/>
                  </a:cubicBezTo>
                  <a:cubicBezTo>
                    <a:pt x="4" y="536"/>
                    <a:pt x="0" y="696"/>
                    <a:pt x="36" y="708"/>
                  </a:cubicBezTo>
                  <a:cubicBezTo>
                    <a:pt x="39" y="684"/>
                    <a:pt x="59" y="655"/>
                    <a:pt x="69" y="638"/>
                  </a:cubicBezTo>
                  <a:cubicBezTo>
                    <a:pt x="79" y="621"/>
                    <a:pt x="83" y="639"/>
                    <a:pt x="96" y="608"/>
                  </a:cubicBezTo>
                  <a:cubicBezTo>
                    <a:pt x="117" y="605"/>
                    <a:pt x="162" y="570"/>
                    <a:pt x="204" y="576"/>
                  </a:cubicBezTo>
                  <a:cubicBezTo>
                    <a:pt x="226" y="564"/>
                    <a:pt x="216" y="548"/>
                    <a:pt x="230" y="546"/>
                  </a:cubicBezTo>
                  <a:cubicBezTo>
                    <a:pt x="236" y="544"/>
                    <a:pt x="231" y="558"/>
                    <a:pt x="240" y="561"/>
                  </a:cubicBezTo>
                  <a:cubicBezTo>
                    <a:pt x="249" y="564"/>
                    <a:pt x="269" y="561"/>
                    <a:pt x="287" y="566"/>
                  </a:cubicBezTo>
                  <a:cubicBezTo>
                    <a:pt x="299" y="552"/>
                    <a:pt x="299" y="560"/>
                    <a:pt x="303" y="539"/>
                  </a:cubicBezTo>
                  <a:cubicBezTo>
                    <a:pt x="323" y="551"/>
                    <a:pt x="315" y="561"/>
                    <a:pt x="330" y="567"/>
                  </a:cubicBezTo>
                  <a:cubicBezTo>
                    <a:pt x="381" y="536"/>
                    <a:pt x="393" y="531"/>
                    <a:pt x="410" y="549"/>
                  </a:cubicBezTo>
                  <a:cubicBezTo>
                    <a:pt x="410" y="531"/>
                    <a:pt x="414" y="530"/>
                    <a:pt x="489" y="527"/>
                  </a:cubicBezTo>
                  <a:cubicBezTo>
                    <a:pt x="511" y="536"/>
                    <a:pt x="562" y="537"/>
                    <a:pt x="576" y="533"/>
                  </a:cubicBezTo>
                  <a:cubicBezTo>
                    <a:pt x="590" y="529"/>
                    <a:pt x="566" y="515"/>
                    <a:pt x="576" y="504"/>
                  </a:cubicBezTo>
                  <a:cubicBezTo>
                    <a:pt x="576" y="488"/>
                    <a:pt x="625" y="468"/>
                    <a:pt x="638" y="470"/>
                  </a:cubicBezTo>
                  <a:cubicBezTo>
                    <a:pt x="642" y="486"/>
                    <a:pt x="641" y="508"/>
                    <a:pt x="657" y="516"/>
                  </a:cubicBezTo>
                  <a:cubicBezTo>
                    <a:pt x="669" y="524"/>
                    <a:pt x="690" y="530"/>
                    <a:pt x="690" y="530"/>
                  </a:cubicBezTo>
                  <a:cubicBezTo>
                    <a:pt x="726" y="526"/>
                    <a:pt x="752" y="524"/>
                    <a:pt x="784" y="536"/>
                  </a:cubicBezTo>
                  <a:cubicBezTo>
                    <a:pt x="786" y="551"/>
                    <a:pt x="840" y="567"/>
                    <a:pt x="879" y="588"/>
                  </a:cubicBezTo>
                  <a:cubicBezTo>
                    <a:pt x="899" y="617"/>
                    <a:pt x="932" y="612"/>
                    <a:pt x="944" y="620"/>
                  </a:cubicBezTo>
                  <a:cubicBezTo>
                    <a:pt x="954" y="612"/>
                    <a:pt x="960" y="614"/>
                    <a:pt x="960" y="614"/>
                  </a:cubicBezTo>
                  <a:cubicBezTo>
                    <a:pt x="986" y="576"/>
                    <a:pt x="998" y="552"/>
                    <a:pt x="1094" y="566"/>
                  </a:cubicBezTo>
                  <a:cubicBezTo>
                    <a:pt x="1097" y="543"/>
                    <a:pt x="1101" y="578"/>
                    <a:pt x="1088" y="522"/>
                  </a:cubicBezTo>
                  <a:cubicBezTo>
                    <a:pt x="1091" y="488"/>
                    <a:pt x="1117" y="475"/>
                    <a:pt x="1137" y="447"/>
                  </a:cubicBezTo>
                  <a:cubicBezTo>
                    <a:pt x="1140" y="428"/>
                    <a:pt x="1145" y="422"/>
                    <a:pt x="1156" y="416"/>
                  </a:cubicBez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  <p:sp>
          <p:nvSpPr>
            <p:cNvPr id="273" name="Freeform 81"/>
            <p:cNvSpPr>
              <a:spLocks noChangeAspect="1"/>
            </p:cNvSpPr>
            <p:nvPr/>
          </p:nvSpPr>
          <p:spPr bwMode="auto">
            <a:xfrm>
              <a:off x="2996" y="2433"/>
              <a:ext cx="240" cy="192"/>
            </a:xfrm>
            <a:custGeom>
              <a:avLst/>
              <a:gdLst>
                <a:gd name="T0" fmla="*/ 0 w 952"/>
                <a:gd name="T1" fmla="*/ 0 h 758"/>
                <a:gd name="T2" fmla="*/ 0 w 952"/>
                <a:gd name="T3" fmla="*/ 0 h 758"/>
                <a:gd name="T4" fmla="*/ 0 w 952"/>
                <a:gd name="T5" fmla="*/ 0 h 758"/>
                <a:gd name="T6" fmla="*/ 0 w 952"/>
                <a:gd name="T7" fmla="*/ 0 h 758"/>
                <a:gd name="T8" fmla="*/ 0 w 952"/>
                <a:gd name="T9" fmla="*/ 0 h 758"/>
                <a:gd name="T10" fmla="*/ 0 w 952"/>
                <a:gd name="T11" fmla="*/ 0 h 758"/>
                <a:gd name="T12" fmla="*/ 0 w 952"/>
                <a:gd name="T13" fmla="*/ 0 h 758"/>
                <a:gd name="T14" fmla="*/ 0 w 952"/>
                <a:gd name="T15" fmla="*/ 0 h 758"/>
                <a:gd name="T16" fmla="*/ 0 w 952"/>
                <a:gd name="T17" fmla="*/ 0 h 758"/>
                <a:gd name="T18" fmla="*/ 0 w 952"/>
                <a:gd name="T19" fmla="*/ 0 h 758"/>
                <a:gd name="T20" fmla="*/ 0 w 952"/>
                <a:gd name="T21" fmla="*/ 0 h 758"/>
                <a:gd name="T22" fmla="*/ 0 w 952"/>
                <a:gd name="T23" fmla="*/ 0 h 758"/>
                <a:gd name="T24" fmla="*/ 0 w 952"/>
                <a:gd name="T25" fmla="*/ 0 h 758"/>
                <a:gd name="T26" fmla="*/ 0 w 952"/>
                <a:gd name="T27" fmla="*/ 0 h 758"/>
                <a:gd name="T28" fmla="*/ 0 w 952"/>
                <a:gd name="T29" fmla="*/ 0 h 758"/>
                <a:gd name="T30" fmla="*/ 0 w 952"/>
                <a:gd name="T31" fmla="*/ 0 h 758"/>
                <a:gd name="T32" fmla="*/ 0 w 952"/>
                <a:gd name="T33" fmla="*/ 0 h 758"/>
                <a:gd name="T34" fmla="*/ 0 w 952"/>
                <a:gd name="T35" fmla="*/ 0 h 758"/>
                <a:gd name="T36" fmla="*/ 0 w 952"/>
                <a:gd name="T37" fmla="*/ 0 h 758"/>
                <a:gd name="T38" fmla="*/ 0 w 952"/>
                <a:gd name="T39" fmla="*/ 0 h 758"/>
                <a:gd name="T40" fmla="*/ 0 w 952"/>
                <a:gd name="T41" fmla="*/ 0 h 758"/>
                <a:gd name="T42" fmla="*/ 0 w 952"/>
                <a:gd name="T43" fmla="*/ 0 h 758"/>
                <a:gd name="T44" fmla="*/ 0 w 952"/>
                <a:gd name="T45" fmla="*/ 0 h 758"/>
                <a:gd name="T46" fmla="*/ 0 w 952"/>
                <a:gd name="T47" fmla="*/ 0 h 758"/>
                <a:gd name="T48" fmla="*/ 0 w 952"/>
                <a:gd name="T49" fmla="*/ 0 h 758"/>
                <a:gd name="T50" fmla="*/ 0 w 952"/>
                <a:gd name="T51" fmla="*/ 0 h 758"/>
                <a:gd name="T52" fmla="*/ 0 w 952"/>
                <a:gd name="T53" fmla="*/ 0 h 758"/>
                <a:gd name="T54" fmla="*/ 0 w 952"/>
                <a:gd name="T55" fmla="*/ 0 h 758"/>
                <a:gd name="T56" fmla="*/ 0 w 952"/>
                <a:gd name="T57" fmla="*/ 0 h 758"/>
                <a:gd name="T58" fmla="*/ 0 w 952"/>
                <a:gd name="T59" fmla="*/ 0 h 758"/>
                <a:gd name="T60" fmla="*/ 0 w 952"/>
                <a:gd name="T61" fmla="*/ 0 h 758"/>
                <a:gd name="T62" fmla="*/ 0 w 952"/>
                <a:gd name="T63" fmla="*/ 0 h 758"/>
                <a:gd name="T64" fmla="*/ 0 w 952"/>
                <a:gd name="T65" fmla="*/ 0 h 758"/>
                <a:gd name="T66" fmla="*/ 0 w 952"/>
                <a:gd name="T67" fmla="*/ 0 h 758"/>
                <a:gd name="T68" fmla="*/ 0 w 952"/>
                <a:gd name="T69" fmla="*/ 0 h 758"/>
                <a:gd name="T70" fmla="*/ 0 w 952"/>
                <a:gd name="T71" fmla="*/ 0 h 758"/>
                <a:gd name="T72" fmla="*/ 0 w 952"/>
                <a:gd name="T73" fmla="*/ 0 h 758"/>
                <a:gd name="T74" fmla="*/ 0 w 952"/>
                <a:gd name="T75" fmla="*/ 0 h 758"/>
                <a:gd name="T76" fmla="*/ 0 w 952"/>
                <a:gd name="T77" fmla="*/ 0 h 758"/>
                <a:gd name="T78" fmla="*/ 0 w 952"/>
                <a:gd name="T79" fmla="*/ 0 h 758"/>
                <a:gd name="T80" fmla="*/ 0 w 952"/>
                <a:gd name="T81" fmla="*/ 0 h 758"/>
                <a:gd name="T82" fmla="*/ 0 w 952"/>
                <a:gd name="T83" fmla="*/ 0 h 758"/>
                <a:gd name="T84" fmla="*/ 0 w 952"/>
                <a:gd name="T85" fmla="*/ 0 h 758"/>
                <a:gd name="T86" fmla="*/ 0 w 952"/>
                <a:gd name="T87" fmla="*/ 0 h 758"/>
                <a:gd name="T88" fmla="*/ 0 w 952"/>
                <a:gd name="T89" fmla="*/ 0 h 758"/>
                <a:gd name="T90" fmla="*/ 0 w 952"/>
                <a:gd name="T91" fmla="*/ 0 h 758"/>
                <a:gd name="T92" fmla="*/ 0 w 952"/>
                <a:gd name="T93" fmla="*/ 0 h 758"/>
                <a:gd name="T94" fmla="*/ 0 w 952"/>
                <a:gd name="T95" fmla="*/ 0 h 758"/>
                <a:gd name="T96" fmla="*/ 0 w 952"/>
                <a:gd name="T97" fmla="*/ 0 h 758"/>
                <a:gd name="T98" fmla="*/ 0 w 952"/>
                <a:gd name="T99" fmla="*/ 0 h 758"/>
                <a:gd name="T100" fmla="*/ 0 w 952"/>
                <a:gd name="T101" fmla="*/ 0 h 758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952"/>
                <a:gd name="T154" fmla="*/ 0 h 758"/>
                <a:gd name="T155" fmla="*/ 952 w 952"/>
                <a:gd name="T156" fmla="*/ 758 h 758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952" h="758">
                  <a:moveTo>
                    <a:pt x="912" y="152"/>
                  </a:moveTo>
                  <a:cubicBezTo>
                    <a:pt x="844" y="140"/>
                    <a:pt x="856" y="120"/>
                    <a:pt x="808" y="104"/>
                  </a:cubicBezTo>
                  <a:cubicBezTo>
                    <a:pt x="792" y="88"/>
                    <a:pt x="776" y="92"/>
                    <a:pt x="756" y="80"/>
                  </a:cubicBezTo>
                  <a:cubicBezTo>
                    <a:pt x="736" y="48"/>
                    <a:pt x="696" y="60"/>
                    <a:pt x="656" y="60"/>
                  </a:cubicBezTo>
                  <a:cubicBezTo>
                    <a:pt x="648" y="60"/>
                    <a:pt x="620" y="52"/>
                    <a:pt x="616" y="48"/>
                  </a:cubicBezTo>
                  <a:cubicBezTo>
                    <a:pt x="604" y="36"/>
                    <a:pt x="600" y="0"/>
                    <a:pt x="600" y="0"/>
                  </a:cubicBezTo>
                  <a:cubicBezTo>
                    <a:pt x="580" y="4"/>
                    <a:pt x="544" y="24"/>
                    <a:pt x="544" y="24"/>
                  </a:cubicBezTo>
                  <a:cubicBezTo>
                    <a:pt x="532" y="34"/>
                    <a:pt x="542" y="50"/>
                    <a:pt x="546" y="66"/>
                  </a:cubicBezTo>
                  <a:cubicBezTo>
                    <a:pt x="531" y="68"/>
                    <a:pt x="507" y="69"/>
                    <a:pt x="492" y="68"/>
                  </a:cubicBezTo>
                  <a:cubicBezTo>
                    <a:pt x="476" y="72"/>
                    <a:pt x="472" y="64"/>
                    <a:pt x="456" y="60"/>
                  </a:cubicBezTo>
                  <a:cubicBezTo>
                    <a:pt x="416" y="64"/>
                    <a:pt x="380" y="48"/>
                    <a:pt x="372" y="84"/>
                  </a:cubicBezTo>
                  <a:cubicBezTo>
                    <a:pt x="368" y="68"/>
                    <a:pt x="356" y="64"/>
                    <a:pt x="340" y="68"/>
                  </a:cubicBezTo>
                  <a:cubicBezTo>
                    <a:pt x="328" y="80"/>
                    <a:pt x="320" y="88"/>
                    <a:pt x="304" y="92"/>
                  </a:cubicBezTo>
                  <a:cubicBezTo>
                    <a:pt x="288" y="116"/>
                    <a:pt x="280" y="80"/>
                    <a:pt x="268" y="68"/>
                  </a:cubicBezTo>
                  <a:cubicBezTo>
                    <a:pt x="260" y="108"/>
                    <a:pt x="244" y="96"/>
                    <a:pt x="204" y="92"/>
                  </a:cubicBezTo>
                  <a:cubicBezTo>
                    <a:pt x="192" y="60"/>
                    <a:pt x="184" y="100"/>
                    <a:pt x="176" y="104"/>
                  </a:cubicBezTo>
                  <a:cubicBezTo>
                    <a:pt x="160" y="108"/>
                    <a:pt x="144" y="108"/>
                    <a:pt x="128" y="108"/>
                  </a:cubicBezTo>
                  <a:cubicBezTo>
                    <a:pt x="112" y="116"/>
                    <a:pt x="100" y="124"/>
                    <a:pt x="84" y="132"/>
                  </a:cubicBezTo>
                  <a:cubicBezTo>
                    <a:pt x="76" y="136"/>
                    <a:pt x="60" y="140"/>
                    <a:pt x="60" y="140"/>
                  </a:cubicBezTo>
                  <a:cubicBezTo>
                    <a:pt x="52" y="156"/>
                    <a:pt x="52" y="164"/>
                    <a:pt x="36" y="168"/>
                  </a:cubicBezTo>
                  <a:cubicBezTo>
                    <a:pt x="28" y="188"/>
                    <a:pt x="16" y="200"/>
                    <a:pt x="4" y="216"/>
                  </a:cubicBezTo>
                  <a:cubicBezTo>
                    <a:pt x="4" y="236"/>
                    <a:pt x="0" y="320"/>
                    <a:pt x="24" y="328"/>
                  </a:cubicBezTo>
                  <a:cubicBezTo>
                    <a:pt x="32" y="356"/>
                    <a:pt x="20" y="408"/>
                    <a:pt x="52" y="420"/>
                  </a:cubicBezTo>
                  <a:cubicBezTo>
                    <a:pt x="83" y="429"/>
                    <a:pt x="100" y="442"/>
                    <a:pt x="128" y="450"/>
                  </a:cubicBezTo>
                  <a:cubicBezTo>
                    <a:pt x="148" y="462"/>
                    <a:pt x="201" y="480"/>
                    <a:pt x="201" y="480"/>
                  </a:cubicBezTo>
                  <a:cubicBezTo>
                    <a:pt x="231" y="495"/>
                    <a:pt x="287" y="480"/>
                    <a:pt x="315" y="504"/>
                  </a:cubicBezTo>
                  <a:cubicBezTo>
                    <a:pt x="319" y="528"/>
                    <a:pt x="343" y="641"/>
                    <a:pt x="359" y="657"/>
                  </a:cubicBezTo>
                  <a:cubicBezTo>
                    <a:pt x="396" y="660"/>
                    <a:pt x="422" y="663"/>
                    <a:pt x="443" y="684"/>
                  </a:cubicBezTo>
                  <a:cubicBezTo>
                    <a:pt x="485" y="708"/>
                    <a:pt x="492" y="726"/>
                    <a:pt x="509" y="758"/>
                  </a:cubicBezTo>
                  <a:cubicBezTo>
                    <a:pt x="563" y="758"/>
                    <a:pt x="566" y="755"/>
                    <a:pt x="615" y="725"/>
                  </a:cubicBezTo>
                  <a:cubicBezTo>
                    <a:pt x="636" y="750"/>
                    <a:pt x="657" y="750"/>
                    <a:pt x="683" y="714"/>
                  </a:cubicBezTo>
                  <a:cubicBezTo>
                    <a:pt x="701" y="709"/>
                    <a:pt x="719" y="701"/>
                    <a:pt x="723" y="696"/>
                  </a:cubicBezTo>
                  <a:cubicBezTo>
                    <a:pt x="741" y="686"/>
                    <a:pt x="705" y="688"/>
                    <a:pt x="707" y="680"/>
                  </a:cubicBezTo>
                  <a:cubicBezTo>
                    <a:pt x="709" y="672"/>
                    <a:pt x="725" y="651"/>
                    <a:pt x="734" y="645"/>
                  </a:cubicBezTo>
                  <a:cubicBezTo>
                    <a:pt x="746" y="642"/>
                    <a:pt x="765" y="644"/>
                    <a:pt x="765" y="644"/>
                  </a:cubicBezTo>
                  <a:cubicBezTo>
                    <a:pt x="773" y="628"/>
                    <a:pt x="791" y="597"/>
                    <a:pt x="813" y="599"/>
                  </a:cubicBezTo>
                  <a:cubicBezTo>
                    <a:pt x="823" y="595"/>
                    <a:pt x="812" y="613"/>
                    <a:pt x="818" y="620"/>
                  </a:cubicBezTo>
                  <a:cubicBezTo>
                    <a:pt x="824" y="627"/>
                    <a:pt x="837" y="630"/>
                    <a:pt x="852" y="640"/>
                  </a:cubicBezTo>
                  <a:cubicBezTo>
                    <a:pt x="884" y="632"/>
                    <a:pt x="872" y="608"/>
                    <a:pt x="852" y="592"/>
                  </a:cubicBezTo>
                  <a:cubicBezTo>
                    <a:pt x="839" y="587"/>
                    <a:pt x="845" y="594"/>
                    <a:pt x="825" y="566"/>
                  </a:cubicBezTo>
                  <a:cubicBezTo>
                    <a:pt x="821" y="558"/>
                    <a:pt x="824" y="528"/>
                    <a:pt x="824" y="528"/>
                  </a:cubicBezTo>
                  <a:cubicBezTo>
                    <a:pt x="822" y="512"/>
                    <a:pt x="818" y="482"/>
                    <a:pt x="834" y="459"/>
                  </a:cubicBezTo>
                  <a:cubicBezTo>
                    <a:pt x="835" y="442"/>
                    <a:pt x="822" y="447"/>
                    <a:pt x="830" y="425"/>
                  </a:cubicBezTo>
                  <a:cubicBezTo>
                    <a:pt x="834" y="417"/>
                    <a:pt x="861" y="375"/>
                    <a:pt x="885" y="329"/>
                  </a:cubicBezTo>
                  <a:cubicBezTo>
                    <a:pt x="897" y="321"/>
                    <a:pt x="914" y="312"/>
                    <a:pt x="914" y="312"/>
                  </a:cubicBezTo>
                  <a:cubicBezTo>
                    <a:pt x="930" y="296"/>
                    <a:pt x="940" y="308"/>
                    <a:pt x="952" y="288"/>
                  </a:cubicBezTo>
                  <a:cubicBezTo>
                    <a:pt x="948" y="280"/>
                    <a:pt x="949" y="269"/>
                    <a:pt x="941" y="261"/>
                  </a:cubicBezTo>
                  <a:cubicBezTo>
                    <a:pt x="923" y="257"/>
                    <a:pt x="904" y="248"/>
                    <a:pt x="904" y="248"/>
                  </a:cubicBezTo>
                  <a:cubicBezTo>
                    <a:pt x="896" y="224"/>
                    <a:pt x="902" y="239"/>
                    <a:pt x="902" y="225"/>
                  </a:cubicBezTo>
                  <a:cubicBezTo>
                    <a:pt x="912" y="204"/>
                    <a:pt x="921" y="164"/>
                    <a:pt x="924" y="144"/>
                  </a:cubicBezTo>
                  <a:cubicBezTo>
                    <a:pt x="900" y="152"/>
                    <a:pt x="896" y="152"/>
                    <a:pt x="912" y="152"/>
                  </a:cubicBez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  <p:sp>
          <p:nvSpPr>
            <p:cNvPr id="274" name="Freeform 82"/>
            <p:cNvSpPr>
              <a:spLocks noChangeAspect="1"/>
            </p:cNvSpPr>
            <p:nvPr/>
          </p:nvSpPr>
          <p:spPr bwMode="auto">
            <a:xfrm>
              <a:off x="2955" y="2536"/>
              <a:ext cx="132" cy="81"/>
            </a:xfrm>
            <a:custGeom>
              <a:avLst/>
              <a:gdLst>
                <a:gd name="T0" fmla="*/ 0 w 527"/>
                <a:gd name="T1" fmla="*/ 0 h 322"/>
                <a:gd name="T2" fmla="*/ 0 w 527"/>
                <a:gd name="T3" fmla="*/ 0 h 322"/>
                <a:gd name="T4" fmla="*/ 0 w 527"/>
                <a:gd name="T5" fmla="*/ 0 h 322"/>
                <a:gd name="T6" fmla="*/ 0 w 527"/>
                <a:gd name="T7" fmla="*/ 0 h 322"/>
                <a:gd name="T8" fmla="*/ 0 w 527"/>
                <a:gd name="T9" fmla="*/ 0 h 322"/>
                <a:gd name="T10" fmla="*/ 0 w 527"/>
                <a:gd name="T11" fmla="*/ 0 h 322"/>
                <a:gd name="T12" fmla="*/ 0 w 527"/>
                <a:gd name="T13" fmla="*/ 0 h 322"/>
                <a:gd name="T14" fmla="*/ 0 w 527"/>
                <a:gd name="T15" fmla="*/ 0 h 322"/>
                <a:gd name="T16" fmla="*/ 0 w 527"/>
                <a:gd name="T17" fmla="*/ 0 h 322"/>
                <a:gd name="T18" fmla="*/ 0 w 527"/>
                <a:gd name="T19" fmla="*/ 0 h 322"/>
                <a:gd name="T20" fmla="*/ 0 w 527"/>
                <a:gd name="T21" fmla="*/ 0 h 322"/>
                <a:gd name="T22" fmla="*/ 0 w 527"/>
                <a:gd name="T23" fmla="*/ 0 h 322"/>
                <a:gd name="T24" fmla="*/ 0 w 527"/>
                <a:gd name="T25" fmla="*/ 0 h 322"/>
                <a:gd name="T26" fmla="*/ 0 w 527"/>
                <a:gd name="T27" fmla="*/ 0 h 322"/>
                <a:gd name="T28" fmla="*/ 0 w 527"/>
                <a:gd name="T29" fmla="*/ 0 h 322"/>
                <a:gd name="T30" fmla="*/ 0 w 527"/>
                <a:gd name="T31" fmla="*/ 0 h 32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527"/>
                <a:gd name="T49" fmla="*/ 0 h 322"/>
                <a:gd name="T50" fmla="*/ 527 w 527"/>
                <a:gd name="T51" fmla="*/ 322 h 32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527" h="322">
                  <a:moveTo>
                    <a:pt x="192" y="0"/>
                  </a:moveTo>
                  <a:cubicBezTo>
                    <a:pt x="228" y="12"/>
                    <a:pt x="283" y="52"/>
                    <a:pt x="395" y="84"/>
                  </a:cubicBezTo>
                  <a:cubicBezTo>
                    <a:pt x="411" y="84"/>
                    <a:pt x="463" y="84"/>
                    <a:pt x="479" y="96"/>
                  </a:cubicBezTo>
                  <a:cubicBezTo>
                    <a:pt x="491" y="136"/>
                    <a:pt x="499" y="176"/>
                    <a:pt x="507" y="216"/>
                  </a:cubicBezTo>
                  <a:cubicBezTo>
                    <a:pt x="511" y="228"/>
                    <a:pt x="527" y="252"/>
                    <a:pt x="527" y="252"/>
                  </a:cubicBezTo>
                  <a:cubicBezTo>
                    <a:pt x="490" y="253"/>
                    <a:pt x="484" y="250"/>
                    <a:pt x="443" y="267"/>
                  </a:cubicBezTo>
                  <a:cubicBezTo>
                    <a:pt x="423" y="271"/>
                    <a:pt x="375" y="292"/>
                    <a:pt x="375" y="292"/>
                  </a:cubicBezTo>
                  <a:cubicBezTo>
                    <a:pt x="334" y="294"/>
                    <a:pt x="314" y="303"/>
                    <a:pt x="277" y="304"/>
                  </a:cubicBezTo>
                  <a:cubicBezTo>
                    <a:pt x="242" y="308"/>
                    <a:pt x="206" y="314"/>
                    <a:pt x="170" y="318"/>
                  </a:cubicBezTo>
                  <a:cubicBezTo>
                    <a:pt x="113" y="315"/>
                    <a:pt x="100" y="322"/>
                    <a:pt x="8" y="312"/>
                  </a:cubicBezTo>
                  <a:cubicBezTo>
                    <a:pt x="0" y="312"/>
                    <a:pt x="16" y="288"/>
                    <a:pt x="16" y="288"/>
                  </a:cubicBezTo>
                  <a:cubicBezTo>
                    <a:pt x="28" y="180"/>
                    <a:pt x="8" y="180"/>
                    <a:pt x="96" y="156"/>
                  </a:cubicBezTo>
                  <a:cubicBezTo>
                    <a:pt x="112" y="140"/>
                    <a:pt x="124" y="124"/>
                    <a:pt x="144" y="116"/>
                  </a:cubicBezTo>
                  <a:cubicBezTo>
                    <a:pt x="160" y="96"/>
                    <a:pt x="164" y="84"/>
                    <a:pt x="176" y="64"/>
                  </a:cubicBezTo>
                  <a:cubicBezTo>
                    <a:pt x="180" y="56"/>
                    <a:pt x="192" y="40"/>
                    <a:pt x="192" y="40"/>
                  </a:cubicBezTo>
                  <a:cubicBezTo>
                    <a:pt x="184" y="8"/>
                    <a:pt x="180" y="20"/>
                    <a:pt x="192" y="0"/>
                  </a:cubicBez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  <p:sp>
          <p:nvSpPr>
            <p:cNvPr id="275" name="Freeform 83"/>
            <p:cNvSpPr>
              <a:spLocks noChangeAspect="1"/>
            </p:cNvSpPr>
            <p:nvPr/>
          </p:nvSpPr>
          <p:spPr bwMode="auto">
            <a:xfrm>
              <a:off x="3124" y="2417"/>
              <a:ext cx="395" cy="383"/>
            </a:xfrm>
            <a:custGeom>
              <a:avLst/>
              <a:gdLst>
                <a:gd name="T0" fmla="*/ 0 w 1566"/>
                <a:gd name="T1" fmla="*/ 0 h 1516"/>
                <a:gd name="T2" fmla="*/ 0 w 1566"/>
                <a:gd name="T3" fmla="*/ 0 h 1516"/>
                <a:gd name="T4" fmla="*/ 0 w 1566"/>
                <a:gd name="T5" fmla="*/ 0 h 1516"/>
                <a:gd name="T6" fmla="*/ 0 w 1566"/>
                <a:gd name="T7" fmla="*/ 0 h 1516"/>
                <a:gd name="T8" fmla="*/ 0 w 1566"/>
                <a:gd name="T9" fmla="*/ 0 h 1516"/>
                <a:gd name="T10" fmla="*/ 0 w 1566"/>
                <a:gd name="T11" fmla="*/ 0 h 1516"/>
                <a:gd name="T12" fmla="*/ 0 w 1566"/>
                <a:gd name="T13" fmla="*/ 0 h 1516"/>
                <a:gd name="T14" fmla="*/ 0 w 1566"/>
                <a:gd name="T15" fmla="*/ 0 h 1516"/>
                <a:gd name="T16" fmla="*/ 0 w 1566"/>
                <a:gd name="T17" fmla="*/ 0 h 1516"/>
                <a:gd name="T18" fmla="*/ 0 w 1566"/>
                <a:gd name="T19" fmla="*/ 0 h 1516"/>
                <a:gd name="T20" fmla="*/ 0 w 1566"/>
                <a:gd name="T21" fmla="*/ 0 h 1516"/>
                <a:gd name="T22" fmla="*/ 0 w 1566"/>
                <a:gd name="T23" fmla="*/ 0 h 1516"/>
                <a:gd name="T24" fmla="*/ 0 w 1566"/>
                <a:gd name="T25" fmla="*/ 0 h 1516"/>
                <a:gd name="T26" fmla="*/ 0 w 1566"/>
                <a:gd name="T27" fmla="*/ 0 h 1516"/>
                <a:gd name="T28" fmla="*/ 0 w 1566"/>
                <a:gd name="T29" fmla="*/ 0 h 1516"/>
                <a:gd name="T30" fmla="*/ 0 w 1566"/>
                <a:gd name="T31" fmla="*/ 0 h 1516"/>
                <a:gd name="T32" fmla="*/ 0 w 1566"/>
                <a:gd name="T33" fmla="*/ 0 h 1516"/>
                <a:gd name="T34" fmla="*/ 0 w 1566"/>
                <a:gd name="T35" fmla="*/ 0 h 1516"/>
                <a:gd name="T36" fmla="*/ 0 w 1566"/>
                <a:gd name="T37" fmla="*/ 0 h 1516"/>
                <a:gd name="T38" fmla="*/ 0 w 1566"/>
                <a:gd name="T39" fmla="*/ 0 h 1516"/>
                <a:gd name="T40" fmla="*/ 0 w 1566"/>
                <a:gd name="T41" fmla="*/ 0 h 1516"/>
                <a:gd name="T42" fmla="*/ 0 w 1566"/>
                <a:gd name="T43" fmla="*/ 0 h 1516"/>
                <a:gd name="T44" fmla="*/ 0 w 1566"/>
                <a:gd name="T45" fmla="*/ 0 h 1516"/>
                <a:gd name="T46" fmla="*/ 0 w 1566"/>
                <a:gd name="T47" fmla="*/ 0 h 1516"/>
                <a:gd name="T48" fmla="*/ 0 w 1566"/>
                <a:gd name="T49" fmla="*/ 0 h 1516"/>
                <a:gd name="T50" fmla="*/ 0 w 1566"/>
                <a:gd name="T51" fmla="*/ 0 h 1516"/>
                <a:gd name="T52" fmla="*/ 0 w 1566"/>
                <a:gd name="T53" fmla="*/ 0 h 1516"/>
                <a:gd name="T54" fmla="*/ 0 w 1566"/>
                <a:gd name="T55" fmla="*/ 0 h 1516"/>
                <a:gd name="T56" fmla="*/ 0 w 1566"/>
                <a:gd name="T57" fmla="*/ 0 h 1516"/>
                <a:gd name="T58" fmla="*/ 0 w 1566"/>
                <a:gd name="T59" fmla="*/ 0 h 1516"/>
                <a:gd name="T60" fmla="*/ 0 w 1566"/>
                <a:gd name="T61" fmla="*/ 0 h 1516"/>
                <a:gd name="T62" fmla="*/ 0 w 1566"/>
                <a:gd name="T63" fmla="*/ 0 h 1516"/>
                <a:gd name="T64" fmla="*/ 0 w 1566"/>
                <a:gd name="T65" fmla="*/ 0 h 1516"/>
                <a:gd name="T66" fmla="*/ 0 w 1566"/>
                <a:gd name="T67" fmla="*/ 0 h 1516"/>
                <a:gd name="T68" fmla="*/ 0 w 1566"/>
                <a:gd name="T69" fmla="*/ 0 h 1516"/>
                <a:gd name="T70" fmla="*/ 0 w 1566"/>
                <a:gd name="T71" fmla="*/ 0 h 1516"/>
                <a:gd name="T72" fmla="*/ 0 w 1566"/>
                <a:gd name="T73" fmla="*/ 0 h 1516"/>
                <a:gd name="T74" fmla="*/ 0 w 1566"/>
                <a:gd name="T75" fmla="*/ 0 h 1516"/>
                <a:gd name="T76" fmla="*/ 0 w 1566"/>
                <a:gd name="T77" fmla="*/ 0 h 1516"/>
                <a:gd name="T78" fmla="*/ 0 w 1566"/>
                <a:gd name="T79" fmla="*/ 0 h 1516"/>
                <a:gd name="T80" fmla="*/ 0 w 1566"/>
                <a:gd name="T81" fmla="*/ 0 h 1516"/>
                <a:gd name="T82" fmla="*/ 0 w 1566"/>
                <a:gd name="T83" fmla="*/ 0 h 1516"/>
                <a:gd name="T84" fmla="*/ 0 w 1566"/>
                <a:gd name="T85" fmla="*/ 0 h 1516"/>
                <a:gd name="T86" fmla="*/ 0 w 1566"/>
                <a:gd name="T87" fmla="*/ 0 h 1516"/>
                <a:gd name="T88" fmla="*/ 0 w 1566"/>
                <a:gd name="T89" fmla="*/ 0 h 1516"/>
                <a:gd name="T90" fmla="*/ 0 w 1566"/>
                <a:gd name="T91" fmla="*/ 0 h 151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1566"/>
                <a:gd name="T139" fmla="*/ 0 h 1516"/>
                <a:gd name="T140" fmla="*/ 1566 w 1566"/>
                <a:gd name="T141" fmla="*/ 1516 h 151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1566" h="1516">
                  <a:moveTo>
                    <a:pt x="606" y="16"/>
                  </a:moveTo>
                  <a:cubicBezTo>
                    <a:pt x="598" y="44"/>
                    <a:pt x="602" y="36"/>
                    <a:pt x="586" y="52"/>
                  </a:cubicBezTo>
                  <a:cubicBezTo>
                    <a:pt x="574" y="68"/>
                    <a:pt x="546" y="104"/>
                    <a:pt x="542" y="120"/>
                  </a:cubicBezTo>
                  <a:cubicBezTo>
                    <a:pt x="554" y="136"/>
                    <a:pt x="554" y="140"/>
                    <a:pt x="550" y="160"/>
                  </a:cubicBezTo>
                  <a:cubicBezTo>
                    <a:pt x="538" y="160"/>
                    <a:pt x="486" y="152"/>
                    <a:pt x="466" y="160"/>
                  </a:cubicBezTo>
                  <a:cubicBezTo>
                    <a:pt x="450" y="168"/>
                    <a:pt x="442" y="188"/>
                    <a:pt x="422" y="196"/>
                  </a:cubicBezTo>
                  <a:cubicBezTo>
                    <a:pt x="418" y="208"/>
                    <a:pt x="410" y="232"/>
                    <a:pt x="410" y="232"/>
                  </a:cubicBezTo>
                  <a:cubicBezTo>
                    <a:pt x="406" y="264"/>
                    <a:pt x="402" y="268"/>
                    <a:pt x="394" y="292"/>
                  </a:cubicBezTo>
                  <a:cubicBezTo>
                    <a:pt x="398" y="300"/>
                    <a:pt x="398" y="312"/>
                    <a:pt x="406" y="316"/>
                  </a:cubicBezTo>
                  <a:cubicBezTo>
                    <a:pt x="414" y="320"/>
                    <a:pt x="430" y="324"/>
                    <a:pt x="430" y="324"/>
                  </a:cubicBezTo>
                  <a:cubicBezTo>
                    <a:pt x="466" y="360"/>
                    <a:pt x="430" y="360"/>
                    <a:pt x="406" y="376"/>
                  </a:cubicBezTo>
                  <a:cubicBezTo>
                    <a:pt x="390" y="388"/>
                    <a:pt x="398" y="384"/>
                    <a:pt x="382" y="388"/>
                  </a:cubicBezTo>
                  <a:cubicBezTo>
                    <a:pt x="362" y="420"/>
                    <a:pt x="350" y="456"/>
                    <a:pt x="322" y="484"/>
                  </a:cubicBezTo>
                  <a:cubicBezTo>
                    <a:pt x="318" y="496"/>
                    <a:pt x="326" y="520"/>
                    <a:pt x="326" y="520"/>
                  </a:cubicBezTo>
                  <a:cubicBezTo>
                    <a:pt x="314" y="552"/>
                    <a:pt x="318" y="536"/>
                    <a:pt x="314" y="564"/>
                  </a:cubicBezTo>
                  <a:cubicBezTo>
                    <a:pt x="314" y="584"/>
                    <a:pt x="314" y="608"/>
                    <a:pt x="318" y="628"/>
                  </a:cubicBezTo>
                  <a:cubicBezTo>
                    <a:pt x="322" y="648"/>
                    <a:pt x="354" y="660"/>
                    <a:pt x="362" y="684"/>
                  </a:cubicBezTo>
                  <a:cubicBezTo>
                    <a:pt x="358" y="696"/>
                    <a:pt x="362" y="700"/>
                    <a:pt x="346" y="700"/>
                  </a:cubicBezTo>
                  <a:cubicBezTo>
                    <a:pt x="334" y="700"/>
                    <a:pt x="310" y="680"/>
                    <a:pt x="310" y="680"/>
                  </a:cubicBezTo>
                  <a:cubicBezTo>
                    <a:pt x="314" y="660"/>
                    <a:pt x="310" y="656"/>
                    <a:pt x="290" y="664"/>
                  </a:cubicBezTo>
                  <a:cubicBezTo>
                    <a:pt x="274" y="680"/>
                    <a:pt x="270" y="696"/>
                    <a:pt x="254" y="708"/>
                  </a:cubicBezTo>
                  <a:cubicBezTo>
                    <a:pt x="214" y="704"/>
                    <a:pt x="230" y="708"/>
                    <a:pt x="206" y="732"/>
                  </a:cubicBezTo>
                  <a:cubicBezTo>
                    <a:pt x="206" y="736"/>
                    <a:pt x="202" y="740"/>
                    <a:pt x="202" y="744"/>
                  </a:cubicBezTo>
                  <a:cubicBezTo>
                    <a:pt x="202" y="748"/>
                    <a:pt x="214" y="748"/>
                    <a:pt x="214" y="752"/>
                  </a:cubicBezTo>
                  <a:cubicBezTo>
                    <a:pt x="218" y="772"/>
                    <a:pt x="190" y="772"/>
                    <a:pt x="178" y="776"/>
                  </a:cubicBezTo>
                  <a:cubicBezTo>
                    <a:pt x="174" y="796"/>
                    <a:pt x="150" y="804"/>
                    <a:pt x="130" y="808"/>
                  </a:cubicBezTo>
                  <a:cubicBezTo>
                    <a:pt x="122" y="804"/>
                    <a:pt x="118" y="792"/>
                    <a:pt x="110" y="792"/>
                  </a:cubicBezTo>
                  <a:cubicBezTo>
                    <a:pt x="98" y="792"/>
                    <a:pt x="70" y="808"/>
                    <a:pt x="62" y="816"/>
                  </a:cubicBezTo>
                  <a:cubicBezTo>
                    <a:pt x="42" y="828"/>
                    <a:pt x="24" y="820"/>
                    <a:pt x="0" y="820"/>
                  </a:cubicBezTo>
                  <a:cubicBezTo>
                    <a:pt x="22" y="849"/>
                    <a:pt x="2" y="860"/>
                    <a:pt x="14" y="888"/>
                  </a:cubicBezTo>
                  <a:cubicBezTo>
                    <a:pt x="10" y="903"/>
                    <a:pt x="67" y="1014"/>
                    <a:pt x="82" y="1040"/>
                  </a:cubicBezTo>
                  <a:cubicBezTo>
                    <a:pt x="90" y="1052"/>
                    <a:pt x="101" y="1072"/>
                    <a:pt x="105" y="1084"/>
                  </a:cubicBezTo>
                  <a:cubicBezTo>
                    <a:pt x="109" y="1096"/>
                    <a:pt x="124" y="1113"/>
                    <a:pt x="126" y="1120"/>
                  </a:cubicBezTo>
                  <a:cubicBezTo>
                    <a:pt x="122" y="1156"/>
                    <a:pt x="130" y="1164"/>
                    <a:pt x="106" y="1188"/>
                  </a:cubicBezTo>
                  <a:cubicBezTo>
                    <a:pt x="75" y="1201"/>
                    <a:pt x="65" y="1216"/>
                    <a:pt x="52" y="1237"/>
                  </a:cubicBezTo>
                  <a:cubicBezTo>
                    <a:pt x="39" y="1250"/>
                    <a:pt x="31" y="1254"/>
                    <a:pt x="27" y="1266"/>
                  </a:cubicBezTo>
                  <a:cubicBezTo>
                    <a:pt x="23" y="1278"/>
                    <a:pt x="31" y="1300"/>
                    <a:pt x="30" y="1312"/>
                  </a:cubicBezTo>
                  <a:cubicBezTo>
                    <a:pt x="36" y="1342"/>
                    <a:pt x="51" y="1328"/>
                    <a:pt x="91" y="1336"/>
                  </a:cubicBezTo>
                  <a:cubicBezTo>
                    <a:pt x="106" y="1347"/>
                    <a:pt x="118" y="1348"/>
                    <a:pt x="126" y="1368"/>
                  </a:cubicBezTo>
                  <a:cubicBezTo>
                    <a:pt x="122" y="1416"/>
                    <a:pt x="114" y="1476"/>
                    <a:pt x="142" y="1516"/>
                  </a:cubicBezTo>
                  <a:cubicBezTo>
                    <a:pt x="158" y="1512"/>
                    <a:pt x="142" y="1492"/>
                    <a:pt x="163" y="1485"/>
                  </a:cubicBezTo>
                  <a:cubicBezTo>
                    <a:pt x="171" y="1465"/>
                    <a:pt x="185" y="1466"/>
                    <a:pt x="205" y="1458"/>
                  </a:cubicBezTo>
                  <a:cubicBezTo>
                    <a:pt x="209" y="1454"/>
                    <a:pt x="215" y="1450"/>
                    <a:pt x="219" y="1446"/>
                  </a:cubicBezTo>
                  <a:cubicBezTo>
                    <a:pt x="223" y="1442"/>
                    <a:pt x="228" y="1430"/>
                    <a:pt x="232" y="1426"/>
                  </a:cubicBezTo>
                  <a:cubicBezTo>
                    <a:pt x="264" y="1416"/>
                    <a:pt x="247" y="1392"/>
                    <a:pt x="290" y="1368"/>
                  </a:cubicBezTo>
                  <a:cubicBezTo>
                    <a:pt x="310" y="1356"/>
                    <a:pt x="357" y="1339"/>
                    <a:pt x="357" y="1339"/>
                  </a:cubicBezTo>
                  <a:cubicBezTo>
                    <a:pt x="379" y="1339"/>
                    <a:pt x="394" y="1332"/>
                    <a:pt x="418" y="1336"/>
                  </a:cubicBezTo>
                  <a:cubicBezTo>
                    <a:pt x="454" y="1335"/>
                    <a:pt x="472" y="1335"/>
                    <a:pt x="498" y="1309"/>
                  </a:cubicBezTo>
                  <a:cubicBezTo>
                    <a:pt x="535" y="1312"/>
                    <a:pt x="582" y="1305"/>
                    <a:pt x="616" y="1308"/>
                  </a:cubicBezTo>
                  <a:cubicBezTo>
                    <a:pt x="630" y="1317"/>
                    <a:pt x="678" y="1318"/>
                    <a:pt x="700" y="1320"/>
                  </a:cubicBezTo>
                  <a:cubicBezTo>
                    <a:pt x="721" y="1333"/>
                    <a:pt x="729" y="1317"/>
                    <a:pt x="750" y="1296"/>
                  </a:cubicBezTo>
                  <a:cubicBezTo>
                    <a:pt x="750" y="1318"/>
                    <a:pt x="769" y="1350"/>
                    <a:pt x="777" y="1350"/>
                  </a:cubicBezTo>
                  <a:cubicBezTo>
                    <a:pt x="789" y="1344"/>
                    <a:pt x="783" y="1329"/>
                    <a:pt x="855" y="1330"/>
                  </a:cubicBezTo>
                  <a:cubicBezTo>
                    <a:pt x="863" y="1334"/>
                    <a:pt x="859" y="1365"/>
                    <a:pt x="867" y="1365"/>
                  </a:cubicBezTo>
                  <a:cubicBezTo>
                    <a:pt x="875" y="1361"/>
                    <a:pt x="898" y="1344"/>
                    <a:pt x="898" y="1344"/>
                  </a:cubicBezTo>
                  <a:cubicBezTo>
                    <a:pt x="902" y="1336"/>
                    <a:pt x="914" y="1316"/>
                    <a:pt x="922" y="1312"/>
                  </a:cubicBezTo>
                  <a:cubicBezTo>
                    <a:pt x="924" y="1291"/>
                    <a:pt x="964" y="1305"/>
                    <a:pt x="964" y="1305"/>
                  </a:cubicBezTo>
                  <a:cubicBezTo>
                    <a:pt x="976" y="1309"/>
                    <a:pt x="994" y="1304"/>
                    <a:pt x="1006" y="1308"/>
                  </a:cubicBezTo>
                  <a:cubicBezTo>
                    <a:pt x="1012" y="1335"/>
                    <a:pt x="1013" y="1346"/>
                    <a:pt x="1041" y="1350"/>
                  </a:cubicBezTo>
                  <a:cubicBezTo>
                    <a:pt x="1047" y="1323"/>
                    <a:pt x="1066" y="1293"/>
                    <a:pt x="1089" y="1266"/>
                  </a:cubicBezTo>
                  <a:cubicBezTo>
                    <a:pt x="1108" y="1264"/>
                    <a:pt x="1122" y="1252"/>
                    <a:pt x="1132" y="1261"/>
                  </a:cubicBezTo>
                  <a:cubicBezTo>
                    <a:pt x="1144" y="1271"/>
                    <a:pt x="1125" y="1305"/>
                    <a:pt x="1162" y="1327"/>
                  </a:cubicBezTo>
                  <a:cubicBezTo>
                    <a:pt x="1206" y="1315"/>
                    <a:pt x="1159" y="1267"/>
                    <a:pt x="1222" y="1275"/>
                  </a:cubicBezTo>
                  <a:cubicBezTo>
                    <a:pt x="1236" y="1275"/>
                    <a:pt x="1254" y="1241"/>
                    <a:pt x="1270" y="1236"/>
                  </a:cubicBezTo>
                  <a:cubicBezTo>
                    <a:pt x="1309" y="1252"/>
                    <a:pt x="1327" y="1269"/>
                    <a:pt x="1334" y="1284"/>
                  </a:cubicBezTo>
                  <a:cubicBezTo>
                    <a:pt x="1354" y="1288"/>
                    <a:pt x="1389" y="1296"/>
                    <a:pt x="1386" y="1261"/>
                  </a:cubicBezTo>
                  <a:cubicBezTo>
                    <a:pt x="1387" y="1254"/>
                    <a:pt x="1395" y="1246"/>
                    <a:pt x="1392" y="1237"/>
                  </a:cubicBezTo>
                  <a:cubicBezTo>
                    <a:pt x="1389" y="1228"/>
                    <a:pt x="1378" y="1236"/>
                    <a:pt x="1369" y="1204"/>
                  </a:cubicBezTo>
                  <a:cubicBezTo>
                    <a:pt x="1357" y="1140"/>
                    <a:pt x="1370" y="1072"/>
                    <a:pt x="1426" y="1036"/>
                  </a:cubicBezTo>
                  <a:cubicBezTo>
                    <a:pt x="1434" y="1016"/>
                    <a:pt x="1450" y="1017"/>
                    <a:pt x="1447" y="1000"/>
                  </a:cubicBezTo>
                  <a:cubicBezTo>
                    <a:pt x="1491" y="999"/>
                    <a:pt x="1507" y="982"/>
                    <a:pt x="1537" y="975"/>
                  </a:cubicBezTo>
                  <a:cubicBezTo>
                    <a:pt x="1533" y="955"/>
                    <a:pt x="1518" y="940"/>
                    <a:pt x="1498" y="928"/>
                  </a:cubicBezTo>
                  <a:cubicBezTo>
                    <a:pt x="1482" y="904"/>
                    <a:pt x="1466" y="884"/>
                    <a:pt x="1438" y="876"/>
                  </a:cubicBezTo>
                  <a:cubicBezTo>
                    <a:pt x="1418" y="848"/>
                    <a:pt x="1386" y="772"/>
                    <a:pt x="1374" y="748"/>
                  </a:cubicBezTo>
                  <a:cubicBezTo>
                    <a:pt x="1370" y="740"/>
                    <a:pt x="1358" y="724"/>
                    <a:pt x="1358" y="724"/>
                  </a:cubicBezTo>
                  <a:cubicBezTo>
                    <a:pt x="1378" y="684"/>
                    <a:pt x="1462" y="680"/>
                    <a:pt x="1498" y="680"/>
                  </a:cubicBezTo>
                  <a:cubicBezTo>
                    <a:pt x="1514" y="676"/>
                    <a:pt x="1518" y="664"/>
                    <a:pt x="1534" y="660"/>
                  </a:cubicBezTo>
                  <a:cubicBezTo>
                    <a:pt x="1542" y="652"/>
                    <a:pt x="1554" y="648"/>
                    <a:pt x="1558" y="640"/>
                  </a:cubicBezTo>
                  <a:cubicBezTo>
                    <a:pt x="1562" y="632"/>
                    <a:pt x="1566" y="616"/>
                    <a:pt x="1566" y="616"/>
                  </a:cubicBezTo>
                  <a:cubicBezTo>
                    <a:pt x="1558" y="540"/>
                    <a:pt x="1566" y="584"/>
                    <a:pt x="1522" y="556"/>
                  </a:cubicBezTo>
                  <a:cubicBezTo>
                    <a:pt x="1490" y="512"/>
                    <a:pt x="1426" y="512"/>
                    <a:pt x="1378" y="508"/>
                  </a:cubicBezTo>
                  <a:cubicBezTo>
                    <a:pt x="1358" y="480"/>
                    <a:pt x="1354" y="440"/>
                    <a:pt x="1318" y="432"/>
                  </a:cubicBezTo>
                  <a:cubicBezTo>
                    <a:pt x="1274" y="436"/>
                    <a:pt x="1282" y="436"/>
                    <a:pt x="1250" y="416"/>
                  </a:cubicBezTo>
                  <a:cubicBezTo>
                    <a:pt x="1246" y="392"/>
                    <a:pt x="1234" y="368"/>
                    <a:pt x="1210" y="360"/>
                  </a:cubicBezTo>
                  <a:cubicBezTo>
                    <a:pt x="1202" y="332"/>
                    <a:pt x="1154" y="320"/>
                    <a:pt x="1134" y="292"/>
                  </a:cubicBezTo>
                  <a:cubicBezTo>
                    <a:pt x="1118" y="236"/>
                    <a:pt x="1118" y="212"/>
                    <a:pt x="1086" y="168"/>
                  </a:cubicBezTo>
                  <a:cubicBezTo>
                    <a:pt x="1082" y="124"/>
                    <a:pt x="1078" y="48"/>
                    <a:pt x="1046" y="16"/>
                  </a:cubicBezTo>
                  <a:cubicBezTo>
                    <a:pt x="978" y="20"/>
                    <a:pt x="974" y="48"/>
                    <a:pt x="926" y="64"/>
                  </a:cubicBezTo>
                  <a:cubicBezTo>
                    <a:pt x="914" y="80"/>
                    <a:pt x="906" y="80"/>
                    <a:pt x="890" y="84"/>
                  </a:cubicBezTo>
                  <a:cubicBezTo>
                    <a:pt x="878" y="80"/>
                    <a:pt x="854" y="64"/>
                    <a:pt x="854" y="64"/>
                  </a:cubicBezTo>
                  <a:cubicBezTo>
                    <a:pt x="818" y="8"/>
                    <a:pt x="746" y="32"/>
                    <a:pt x="682" y="28"/>
                  </a:cubicBezTo>
                  <a:cubicBezTo>
                    <a:pt x="666" y="24"/>
                    <a:pt x="614" y="0"/>
                    <a:pt x="606" y="16"/>
                  </a:cubicBez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  <p:sp>
          <p:nvSpPr>
            <p:cNvPr id="276" name="Freeform 84"/>
            <p:cNvSpPr>
              <a:spLocks noChangeAspect="1"/>
            </p:cNvSpPr>
            <p:nvPr/>
          </p:nvSpPr>
          <p:spPr bwMode="auto">
            <a:xfrm>
              <a:off x="3135" y="2619"/>
              <a:ext cx="840" cy="578"/>
            </a:xfrm>
            <a:custGeom>
              <a:avLst/>
              <a:gdLst>
                <a:gd name="T0" fmla="*/ 0 w 3327"/>
                <a:gd name="T1" fmla="*/ 0 h 2288"/>
                <a:gd name="T2" fmla="*/ 0 w 3327"/>
                <a:gd name="T3" fmla="*/ 0 h 2288"/>
                <a:gd name="T4" fmla="*/ 0 w 3327"/>
                <a:gd name="T5" fmla="*/ 0 h 2288"/>
                <a:gd name="T6" fmla="*/ 0 w 3327"/>
                <a:gd name="T7" fmla="*/ 0 h 2288"/>
                <a:gd name="T8" fmla="*/ 0 w 3327"/>
                <a:gd name="T9" fmla="*/ 0 h 2288"/>
                <a:gd name="T10" fmla="*/ 0 w 3327"/>
                <a:gd name="T11" fmla="*/ 0 h 2288"/>
                <a:gd name="T12" fmla="*/ 0 w 3327"/>
                <a:gd name="T13" fmla="*/ 0 h 2288"/>
                <a:gd name="T14" fmla="*/ 0 w 3327"/>
                <a:gd name="T15" fmla="*/ 0 h 2288"/>
                <a:gd name="T16" fmla="*/ 0 w 3327"/>
                <a:gd name="T17" fmla="*/ 0 h 2288"/>
                <a:gd name="T18" fmla="*/ 0 w 3327"/>
                <a:gd name="T19" fmla="*/ 0 h 2288"/>
                <a:gd name="T20" fmla="*/ 0 w 3327"/>
                <a:gd name="T21" fmla="*/ 0 h 2288"/>
                <a:gd name="T22" fmla="*/ 0 w 3327"/>
                <a:gd name="T23" fmla="*/ 0 h 2288"/>
                <a:gd name="T24" fmla="*/ 0 w 3327"/>
                <a:gd name="T25" fmla="*/ 0 h 2288"/>
                <a:gd name="T26" fmla="*/ 0 w 3327"/>
                <a:gd name="T27" fmla="*/ 0 h 2288"/>
                <a:gd name="T28" fmla="*/ 0 w 3327"/>
                <a:gd name="T29" fmla="*/ 0 h 2288"/>
                <a:gd name="T30" fmla="*/ 0 w 3327"/>
                <a:gd name="T31" fmla="*/ 0 h 2288"/>
                <a:gd name="T32" fmla="*/ 0 w 3327"/>
                <a:gd name="T33" fmla="*/ 0 h 2288"/>
                <a:gd name="T34" fmla="*/ 0 w 3327"/>
                <a:gd name="T35" fmla="*/ 0 h 2288"/>
                <a:gd name="T36" fmla="*/ 0 w 3327"/>
                <a:gd name="T37" fmla="*/ 0 h 2288"/>
                <a:gd name="T38" fmla="*/ 0 w 3327"/>
                <a:gd name="T39" fmla="*/ 0 h 2288"/>
                <a:gd name="T40" fmla="*/ 0 w 3327"/>
                <a:gd name="T41" fmla="*/ 0 h 2288"/>
                <a:gd name="T42" fmla="*/ 0 w 3327"/>
                <a:gd name="T43" fmla="*/ 0 h 2288"/>
                <a:gd name="T44" fmla="*/ 0 w 3327"/>
                <a:gd name="T45" fmla="*/ 0 h 2288"/>
                <a:gd name="T46" fmla="*/ 0 w 3327"/>
                <a:gd name="T47" fmla="*/ 0 h 2288"/>
                <a:gd name="T48" fmla="*/ 0 w 3327"/>
                <a:gd name="T49" fmla="*/ 0 h 2288"/>
                <a:gd name="T50" fmla="*/ 0 w 3327"/>
                <a:gd name="T51" fmla="*/ 0 h 2288"/>
                <a:gd name="T52" fmla="*/ 0 w 3327"/>
                <a:gd name="T53" fmla="*/ 0 h 2288"/>
                <a:gd name="T54" fmla="*/ 0 w 3327"/>
                <a:gd name="T55" fmla="*/ 0 h 2288"/>
                <a:gd name="T56" fmla="*/ 0 w 3327"/>
                <a:gd name="T57" fmla="*/ 0 h 2288"/>
                <a:gd name="T58" fmla="*/ 0 w 3327"/>
                <a:gd name="T59" fmla="*/ 0 h 2288"/>
                <a:gd name="T60" fmla="*/ 0 w 3327"/>
                <a:gd name="T61" fmla="*/ 0 h 2288"/>
                <a:gd name="T62" fmla="*/ 0 w 3327"/>
                <a:gd name="T63" fmla="*/ 0 h 2288"/>
                <a:gd name="T64" fmla="*/ 0 w 3327"/>
                <a:gd name="T65" fmla="*/ 0 h 2288"/>
                <a:gd name="T66" fmla="*/ 0 w 3327"/>
                <a:gd name="T67" fmla="*/ 0 h 2288"/>
                <a:gd name="T68" fmla="*/ 0 w 3327"/>
                <a:gd name="T69" fmla="*/ 0 h 2288"/>
                <a:gd name="T70" fmla="*/ 0 w 3327"/>
                <a:gd name="T71" fmla="*/ 0 h 2288"/>
                <a:gd name="T72" fmla="*/ 0 w 3327"/>
                <a:gd name="T73" fmla="*/ 0 h 2288"/>
                <a:gd name="T74" fmla="*/ 0 w 3327"/>
                <a:gd name="T75" fmla="*/ 0 h 2288"/>
                <a:gd name="T76" fmla="*/ 0 w 3327"/>
                <a:gd name="T77" fmla="*/ 0 h 2288"/>
                <a:gd name="T78" fmla="*/ 0 w 3327"/>
                <a:gd name="T79" fmla="*/ 0 h 2288"/>
                <a:gd name="T80" fmla="*/ 0 w 3327"/>
                <a:gd name="T81" fmla="*/ 0 h 2288"/>
                <a:gd name="T82" fmla="*/ 0 w 3327"/>
                <a:gd name="T83" fmla="*/ 0 h 2288"/>
                <a:gd name="T84" fmla="*/ 0 w 3327"/>
                <a:gd name="T85" fmla="*/ 0 h 2288"/>
                <a:gd name="T86" fmla="*/ 0 w 3327"/>
                <a:gd name="T87" fmla="*/ 0 h 2288"/>
                <a:gd name="T88" fmla="*/ 0 w 3327"/>
                <a:gd name="T89" fmla="*/ 0 h 2288"/>
                <a:gd name="T90" fmla="*/ 0 w 3327"/>
                <a:gd name="T91" fmla="*/ 0 h 2288"/>
                <a:gd name="T92" fmla="*/ 0 w 3327"/>
                <a:gd name="T93" fmla="*/ 0 h 2288"/>
                <a:gd name="T94" fmla="*/ 0 w 3327"/>
                <a:gd name="T95" fmla="*/ 0 h 2288"/>
                <a:gd name="T96" fmla="*/ 0 w 3327"/>
                <a:gd name="T97" fmla="*/ 0 h 2288"/>
                <a:gd name="T98" fmla="*/ 0 w 3327"/>
                <a:gd name="T99" fmla="*/ 0 h 2288"/>
                <a:gd name="T100" fmla="*/ 0 w 3327"/>
                <a:gd name="T101" fmla="*/ 0 h 2288"/>
                <a:gd name="T102" fmla="*/ 0 w 3327"/>
                <a:gd name="T103" fmla="*/ 0 h 2288"/>
                <a:gd name="T104" fmla="*/ 0 w 3327"/>
                <a:gd name="T105" fmla="*/ 0 h 2288"/>
                <a:gd name="T106" fmla="*/ 0 w 3327"/>
                <a:gd name="T107" fmla="*/ 0 h 2288"/>
                <a:gd name="T108" fmla="*/ 0 w 3327"/>
                <a:gd name="T109" fmla="*/ 0 h 228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3327"/>
                <a:gd name="T166" fmla="*/ 0 h 2288"/>
                <a:gd name="T167" fmla="*/ 3327 w 3327"/>
                <a:gd name="T168" fmla="*/ 2288 h 228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3327" h="2288">
                  <a:moveTo>
                    <a:pt x="1407" y="204"/>
                  </a:moveTo>
                  <a:cubicBezTo>
                    <a:pt x="1403" y="204"/>
                    <a:pt x="1407" y="212"/>
                    <a:pt x="1403" y="216"/>
                  </a:cubicBezTo>
                  <a:cubicBezTo>
                    <a:pt x="1391" y="236"/>
                    <a:pt x="1379" y="248"/>
                    <a:pt x="1359" y="260"/>
                  </a:cubicBezTo>
                  <a:cubicBezTo>
                    <a:pt x="1351" y="272"/>
                    <a:pt x="1347" y="284"/>
                    <a:pt x="1335" y="296"/>
                  </a:cubicBezTo>
                  <a:cubicBezTo>
                    <a:pt x="1331" y="308"/>
                    <a:pt x="1323" y="332"/>
                    <a:pt x="1323" y="332"/>
                  </a:cubicBezTo>
                  <a:cubicBezTo>
                    <a:pt x="1323" y="364"/>
                    <a:pt x="1315" y="416"/>
                    <a:pt x="1347" y="440"/>
                  </a:cubicBezTo>
                  <a:cubicBezTo>
                    <a:pt x="1339" y="492"/>
                    <a:pt x="1339" y="500"/>
                    <a:pt x="1291" y="484"/>
                  </a:cubicBezTo>
                  <a:cubicBezTo>
                    <a:pt x="1279" y="468"/>
                    <a:pt x="1251" y="448"/>
                    <a:pt x="1231" y="440"/>
                  </a:cubicBezTo>
                  <a:cubicBezTo>
                    <a:pt x="1203" y="444"/>
                    <a:pt x="1215" y="452"/>
                    <a:pt x="1195" y="464"/>
                  </a:cubicBezTo>
                  <a:cubicBezTo>
                    <a:pt x="1187" y="484"/>
                    <a:pt x="1183" y="480"/>
                    <a:pt x="1163" y="476"/>
                  </a:cubicBezTo>
                  <a:cubicBezTo>
                    <a:pt x="1131" y="484"/>
                    <a:pt x="1151" y="516"/>
                    <a:pt x="1119" y="528"/>
                  </a:cubicBezTo>
                  <a:cubicBezTo>
                    <a:pt x="1087" y="516"/>
                    <a:pt x="1095" y="492"/>
                    <a:pt x="1087" y="464"/>
                  </a:cubicBezTo>
                  <a:cubicBezTo>
                    <a:pt x="1027" y="468"/>
                    <a:pt x="1055" y="464"/>
                    <a:pt x="1027" y="492"/>
                  </a:cubicBezTo>
                  <a:cubicBezTo>
                    <a:pt x="1023" y="508"/>
                    <a:pt x="1011" y="516"/>
                    <a:pt x="1003" y="528"/>
                  </a:cubicBezTo>
                  <a:cubicBezTo>
                    <a:pt x="999" y="552"/>
                    <a:pt x="995" y="556"/>
                    <a:pt x="975" y="548"/>
                  </a:cubicBezTo>
                  <a:cubicBezTo>
                    <a:pt x="959" y="504"/>
                    <a:pt x="975" y="512"/>
                    <a:pt x="923" y="508"/>
                  </a:cubicBezTo>
                  <a:cubicBezTo>
                    <a:pt x="907" y="504"/>
                    <a:pt x="899" y="500"/>
                    <a:pt x="883" y="504"/>
                  </a:cubicBezTo>
                  <a:cubicBezTo>
                    <a:pt x="871" y="540"/>
                    <a:pt x="847" y="548"/>
                    <a:pt x="823" y="572"/>
                  </a:cubicBezTo>
                  <a:cubicBezTo>
                    <a:pt x="811" y="532"/>
                    <a:pt x="823" y="532"/>
                    <a:pt x="771" y="536"/>
                  </a:cubicBezTo>
                  <a:cubicBezTo>
                    <a:pt x="755" y="540"/>
                    <a:pt x="747" y="548"/>
                    <a:pt x="731" y="552"/>
                  </a:cubicBezTo>
                  <a:cubicBezTo>
                    <a:pt x="711" y="524"/>
                    <a:pt x="714" y="529"/>
                    <a:pt x="710" y="501"/>
                  </a:cubicBezTo>
                  <a:cubicBezTo>
                    <a:pt x="694" y="505"/>
                    <a:pt x="695" y="524"/>
                    <a:pt x="675" y="528"/>
                  </a:cubicBezTo>
                  <a:cubicBezTo>
                    <a:pt x="575" y="516"/>
                    <a:pt x="611" y="528"/>
                    <a:pt x="567" y="512"/>
                  </a:cubicBezTo>
                  <a:cubicBezTo>
                    <a:pt x="527" y="516"/>
                    <a:pt x="491" y="512"/>
                    <a:pt x="451" y="516"/>
                  </a:cubicBezTo>
                  <a:cubicBezTo>
                    <a:pt x="415" y="552"/>
                    <a:pt x="359" y="540"/>
                    <a:pt x="315" y="540"/>
                  </a:cubicBezTo>
                  <a:cubicBezTo>
                    <a:pt x="291" y="552"/>
                    <a:pt x="263" y="568"/>
                    <a:pt x="235" y="576"/>
                  </a:cubicBezTo>
                  <a:cubicBezTo>
                    <a:pt x="219" y="592"/>
                    <a:pt x="211" y="616"/>
                    <a:pt x="187" y="632"/>
                  </a:cubicBezTo>
                  <a:cubicBezTo>
                    <a:pt x="167" y="660"/>
                    <a:pt x="179" y="652"/>
                    <a:pt x="159" y="660"/>
                  </a:cubicBezTo>
                  <a:cubicBezTo>
                    <a:pt x="151" y="672"/>
                    <a:pt x="115" y="684"/>
                    <a:pt x="115" y="684"/>
                  </a:cubicBezTo>
                  <a:cubicBezTo>
                    <a:pt x="110" y="707"/>
                    <a:pt x="107" y="714"/>
                    <a:pt x="98" y="723"/>
                  </a:cubicBezTo>
                  <a:cubicBezTo>
                    <a:pt x="108" y="740"/>
                    <a:pt x="111" y="764"/>
                    <a:pt x="114" y="778"/>
                  </a:cubicBezTo>
                  <a:cubicBezTo>
                    <a:pt x="123" y="793"/>
                    <a:pt x="148" y="796"/>
                    <a:pt x="161" y="810"/>
                  </a:cubicBezTo>
                  <a:cubicBezTo>
                    <a:pt x="169" y="818"/>
                    <a:pt x="177" y="837"/>
                    <a:pt x="183" y="849"/>
                  </a:cubicBezTo>
                  <a:cubicBezTo>
                    <a:pt x="209" y="851"/>
                    <a:pt x="221" y="864"/>
                    <a:pt x="221" y="872"/>
                  </a:cubicBezTo>
                  <a:cubicBezTo>
                    <a:pt x="228" y="908"/>
                    <a:pt x="236" y="933"/>
                    <a:pt x="235" y="956"/>
                  </a:cubicBezTo>
                  <a:cubicBezTo>
                    <a:pt x="235" y="964"/>
                    <a:pt x="239" y="1004"/>
                    <a:pt x="231" y="1012"/>
                  </a:cubicBezTo>
                  <a:cubicBezTo>
                    <a:pt x="215" y="1038"/>
                    <a:pt x="161" y="1092"/>
                    <a:pt x="139" y="1116"/>
                  </a:cubicBezTo>
                  <a:cubicBezTo>
                    <a:pt x="135" y="1132"/>
                    <a:pt x="105" y="1139"/>
                    <a:pt x="99" y="1156"/>
                  </a:cubicBezTo>
                  <a:cubicBezTo>
                    <a:pt x="87" y="1178"/>
                    <a:pt x="87" y="1228"/>
                    <a:pt x="77" y="1253"/>
                  </a:cubicBezTo>
                  <a:cubicBezTo>
                    <a:pt x="67" y="1278"/>
                    <a:pt x="44" y="1290"/>
                    <a:pt x="39" y="1304"/>
                  </a:cubicBezTo>
                  <a:cubicBezTo>
                    <a:pt x="35" y="1316"/>
                    <a:pt x="44" y="1340"/>
                    <a:pt x="44" y="1340"/>
                  </a:cubicBezTo>
                  <a:cubicBezTo>
                    <a:pt x="65" y="1394"/>
                    <a:pt x="63" y="1400"/>
                    <a:pt x="79" y="1448"/>
                  </a:cubicBezTo>
                  <a:cubicBezTo>
                    <a:pt x="59" y="1456"/>
                    <a:pt x="57" y="1479"/>
                    <a:pt x="53" y="1493"/>
                  </a:cubicBezTo>
                  <a:cubicBezTo>
                    <a:pt x="35" y="1509"/>
                    <a:pt x="19" y="1544"/>
                    <a:pt x="19" y="1544"/>
                  </a:cubicBezTo>
                  <a:cubicBezTo>
                    <a:pt x="15" y="1596"/>
                    <a:pt x="8" y="1638"/>
                    <a:pt x="0" y="1664"/>
                  </a:cubicBezTo>
                  <a:cubicBezTo>
                    <a:pt x="18" y="1683"/>
                    <a:pt x="21" y="1685"/>
                    <a:pt x="29" y="1700"/>
                  </a:cubicBezTo>
                  <a:cubicBezTo>
                    <a:pt x="56" y="1698"/>
                    <a:pt x="115" y="1703"/>
                    <a:pt x="139" y="1712"/>
                  </a:cubicBezTo>
                  <a:cubicBezTo>
                    <a:pt x="159" y="1742"/>
                    <a:pt x="155" y="1752"/>
                    <a:pt x="161" y="1773"/>
                  </a:cubicBezTo>
                  <a:cubicBezTo>
                    <a:pt x="213" y="1671"/>
                    <a:pt x="279" y="1743"/>
                    <a:pt x="348" y="1728"/>
                  </a:cubicBezTo>
                  <a:cubicBezTo>
                    <a:pt x="408" y="1732"/>
                    <a:pt x="476" y="1735"/>
                    <a:pt x="536" y="1739"/>
                  </a:cubicBezTo>
                  <a:cubicBezTo>
                    <a:pt x="572" y="1719"/>
                    <a:pt x="575" y="1713"/>
                    <a:pt x="618" y="1704"/>
                  </a:cubicBezTo>
                  <a:cubicBezTo>
                    <a:pt x="646" y="1688"/>
                    <a:pt x="695" y="1668"/>
                    <a:pt x="723" y="1656"/>
                  </a:cubicBezTo>
                  <a:cubicBezTo>
                    <a:pt x="735" y="1616"/>
                    <a:pt x="774" y="1616"/>
                    <a:pt x="810" y="1604"/>
                  </a:cubicBezTo>
                  <a:cubicBezTo>
                    <a:pt x="822" y="1566"/>
                    <a:pt x="843" y="1538"/>
                    <a:pt x="902" y="1529"/>
                  </a:cubicBezTo>
                  <a:cubicBezTo>
                    <a:pt x="896" y="1515"/>
                    <a:pt x="871" y="1517"/>
                    <a:pt x="879" y="1505"/>
                  </a:cubicBezTo>
                  <a:cubicBezTo>
                    <a:pt x="878" y="1482"/>
                    <a:pt x="875" y="1464"/>
                    <a:pt x="919" y="1468"/>
                  </a:cubicBezTo>
                  <a:cubicBezTo>
                    <a:pt x="939" y="1464"/>
                    <a:pt x="971" y="1461"/>
                    <a:pt x="978" y="1430"/>
                  </a:cubicBezTo>
                  <a:cubicBezTo>
                    <a:pt x="1010" y="1424"/>
                    <a:pt x="1030" y="1420"/>
                    <a:pt x="1062" y="1416"/>
                  </a:cubicBezTo>
                  <a:cubicBezTo>
                    <a:pt x="1083" y="1424"/>
                    <a:pt x="1079" y="1424"/>
                    <a:pt x="1095" y="1436"/>
                  </a:cubicBezTo>
                  <a:cubicBezTo>
                    <a:pt x="1107" y="1448"/>
                    <a:pt x="1132" y="1452"/>
                    <a:pt x="1148" y="1452"/>
                  </a:cubicBezTo>
                  <a:cubicBezTo>
                    <a:pt x="1199" y="1472"/>
                    <a:pt x="1194" y="1470"/>
                    <a:pt x="1260" y="1466"/>
                  </a:cubicBezTo>
                  <a:cubicBezTo>
                    <a:pt x="1280" y="1474"/>
                    <a:pt x="1273" y="1475"/>
                    <a:pt x="1289" y="1487"/>
                  </a:cubicBezTo>
                  <a:cubicBezTo>
                    <a:pt x="1371" y="1491"/>
                    <a:pt x="1383" y="1499"/>
                    <a:pt x="1388" y="1538"/>
                  </a:cubicBezTo>
                  <a:cubicBezTo>
                    <a:pt x="1376" y="1604"/>
                    <a:pt x="1370" y="1614"/>
                    <a:pt x="1395" y="1612"/>
                  </a:cubicBezTo>
                  <a:cubicBezTo>
                    <a:pt x="1403" y="1628"/>
                    <a:pt x="1416" y="1620"/>
                    <a:pt x="1427" y="1640"/>
                  </a:cubicBezTo>
                  <a:cubicBezTo>
                    <a:pt x="1439" y="1644"/>
                    <a:pt x="1476" y="1649"/>
                    <a:pt x="1476" y="1649"/>
                  </a:cubicBezTo>
                  <a:cubicBezTo>
                    <a:pt x="1492" y="1673"/>
                    <a:pt x="1491" y="1720"/>
                    <a:pt x="1515" y="1736"/>
                  </a:cubicBezTo>
                  <a:cubicBezTo>
                    <a:pt x="1523" y="1760"/>
                    <a:pt x="1535" y="1760"/>
                    <a:pt x="1539" y="1780"/>
                  </a:cubicBezTo>
                  <a:cubicBezTo>
                    <a:pt x="1546" y="1791"/>
                    <a:pt x="1548" y="1787"/>
                    <a:pt x="1557" y="1802"/>
                  </a:cubicBezTo>
                  <a:cubicBezTo>
                    <a:pt x="1590" y="1821"/>
                    <a:pt x="1617" y="1845"/>
                    <a:pt x="1637" y="1859"/>
                  </a:cubicBezTo>
                  <a:lnTo>
                    <a:pt x="1640" y="1886"/>
                  </a:lnTo>
                  <a:cubicBezTo>
                    <a:pt x="1592" y="1894"/>
                    <a:pt x="1557" y="1899"/>
                    <a:pt x="1505" y="1907"/>
                  </a:cubicBezTo>
                  <a:cubicBezTo>
                    <a:pt x="1476" y="1901"/>
                    <a:pt x="1455" y="1895"/>
                    <a:pt x="1433" y="1893"/>
                  </a:cubicBezTo>
                  <a:cubicBezTo>
                    <a:pt x="1417" y="1897"/>
                    <a:pt x="1428" y="1910"/>
                    <a:pt x="1424" y="1926"/>
                  </a:cubicBezTo>
                  <a:cubicBezTo>
                    <a:pt x="1424" y="1937"/>
                    <a:pt x="1424" y="1949"/>
                    <a:pt x="1430" y="1961"/>
                  </a:cubicBezTo>
                  <a:cubicBezTo>
                    <a:pt x="1448" y="1980"/>
                    <a:pt x="1461" y="2006"/>
                    <a:pt x="1463" y="2022"/>
                  </a:cubicBezTo>
                  <a:cubicBezTo>
                    <a:pt x="1440" y="2061"/>
                    <a:pt x="1446" y="2058"/>
                    <a:pt x="1437" y="2067"/>
                  </a:cubicBezTo>
                  <a:cubicBezTo>
                    <a:pt x="1449" y="2035"/>
                    <a:pt x="1416" y="2112"/>
                    <a:pt x="1407" y="2140"/>
                  </a:cubicBezTo>
                  <a:cubicBezTo>
                    <a:pt x="1399" y="2164"/>
                    <a:pt x="1410" y="2187"/>
                    <a:pt x="1400" y="2216"/>
                  </a:cubicBezTo>
                  <a:cubicBezTo>
                    <a:pt x="1384" y="2212"/>
                    <a:pt x="1371" y="2231"/>
                    <a:pt x="1355" y="2235"/>
                  </a:cubicBezTo>
                  <a:cubicBezTo>
                    <a:pt x="1368" y="2270"/>
                    <a:pt x="1386" y="2271"/>
                    <a:pt x="1433" y="2280"/>
                  </a:cubicBezTo>
                  <a:cubicBezTo>
                    <a:pt x="1453" y="2288"/>
                    <a:pt x="1447" y="2267"/>
                    <a:pt x="1463" y="2259"/>
                  </a:cubicBezTo>
                  <a:cubicBezTo>
                    <a:pt x="1478" y="2247"/>
                    <a:pt x="1490" y="2241"/>
                    <a:pt x="1503" y="2234"/>
                  </a:cubicBezTo>
                  <a:cubicBezTo>
                    <a:pt x="1515" y="2222"/>
                    <a:pt x="1511" y="2197"/>
                    <a:pt x="1523" y="2189"/>
                  </a:cubicBezTo>
                  <a:cubicBezTo>
                    <a:pt x="1565" y="2178"/>
                    <a:pt x="1616" y="2169"/>
                    <a:pt x="1643" y="2186"/>
                  </a:cubicBezTo>
                  <a:cubicBezTo>
                    <a:pt x="1647" y="2154"/>
                    <a:pt x="1635" y="2132"/>
                    <a:pt x="1659" y="2116"/>
                  </a:cubicBezTo>
                  <a:cubicBezTo>
                    <a:pt x="1663" y="2096"/>
                    <a:pt x="1663" y="2068"/>
                    <a:pt x="1687" y="2060"/>
                  </a:cubicBezTo>
                  <a:cubicBezTo>
                    <a:pt x="1703" y="2036"/>
                    <a:pt x="1719" y="2016"/>
                    <a:pt x="1731" y="1988"/>
                  </a:cubicBezTo>
                  <a:cubicBezTo>
                    <a:pt x="1739" y="1956"/>
                    <a:pt x="1743" y="1924"/>
                    <a:pt x="1755" y="1892"/>
                  </a:cubicBezTo>
                  <a:cubicBezTo>
                    <a:pt x="1759" y="1868"/>
                    <a:pt x="1755" y="1840"/>
                    <a:pt x="1783" y="1832"/>
                  </a:cubicBezTo>
                  <a:cubicBezTo>
                    <a:pt x="1799" y="1816"/>
                    <a:pt x="1807" y="1804"/>
                    <a:pt x="1831" y="1796"/>
                  </a:cubicBezTo>
                  <a:cubicBezTo>
                    <a:pt x="1855" y="1756"/>
                    <a:pt x="1867" y="1736"/>
                    <a:pt x="1915" y="1724"/>
                  </a:cubicBezTo>
                  <a:cubicBezTo>
                    <a:pt x="1939" y="1708"/>
                    <a:pt x="1943" y="1692"/>
                    <a:pt x="1959" y="1668"/>
                  </a:cubicBezTo>
                  <a:cubicBezTo>
                    <a:pt x="1991" y="1684"/>
                    <a:pt x="1983" y="1708"/>
                    <a:pt x="1995" y="1736"/>
                  </a:cubicBezTo>
                  <a:cubicBezTo>
                    <a:pt x="1983" y="1772"/>
                    <a:pt x="1991" y="1756"/>
                    <a:pt x="1979" y="1788"/>
                  </a:cubicBezTo>
                  <a:cubicBezTo>
                    <a:pt x="1979" y="1792"/>
                    <a:pt x="1975" y="1800"/>
                    <a:pt x="1975" y="1800"/>
                  </a:cubicBezTo>
                  <a:cubicBezTo>
                    <a:pt x="1983" y="1868"/>
                    <a:pt x="2027" y="1836"/>
                    <a:pt x="2067" y="1812"/>
                  </a:cubicBezTo>
                  <a:cubicBezTo>
                    <a:pt x="2111" y="1784"/>
                    <a:pt x="2167" y="1808"/>
                    <a:pt x="2219" y="1808"/>
                  </a:cubicBezTo>
                  <a:cubicBezTo>
                    <a:pt x="2259" y="1800"/>
                    <a:pt x="2239" y="1804"/>
                    <a:pt x="2271" y="1796"/>
                  </a:cubicBezTo>
                  <a:cubicBezTo>
                    <a:pt x="2299" y="1776"/>
                    <a:pt x="2303" y="1776"/>
                    <a:pt x="2335" y="1772"/>
                  </a:cubicBezTo>
                  <a:cubicBezTo>
                    <a:pt x="2343" y="1796"/>
                    <a:pt x="2347" y="1820"/>
                    <a:pt x="2323" y="1836"/>
                  </a:cubicBezTo>
                  <a:cubicBezTo>
                    <a:pt x="2311" y="1856"/>
                    <a:pt x="2319" y="1888"/>
                    <a:pt x="2295" y="1896"/>
                  </a:cubicBezTo>
                  <a:cubicBezTo>
                    <a:pt x="2275" y="1916"/>
                    <a:pt x="2271" y="1936"/>
                    <a:pt x="2251" y="1952"/>
                  </a:cubicBezTo>
                  <a:cubicBezTo>
                    <a:pt x="2243" y="1960"/>
                    <a:pt x="2227" y="1976"/>
                    <a:pt x="2227" y="1976"/>
                  </a:cubicBezTo>
                  <a:cubicBezTo>
                    <a:pt x="2223" y="1992"/>
                    <a:pt x="2211" y="2024"/>
                    <a:pt x="2211" y="2024"/>
                  </a:cubicBezTo>
                  <a:cubicBezTo>
                    <a:pt x="2231" y="2052"/>
                    <a:pt x="2259" y="2024"/>
                    <a:pt x="2283" y="2016"/>
                  </a:cubicBezTo>
                  <a:cubicBezTo>
                    <a:pt x="2315" y="2028"/>
                    <a:pt x="2339" y="2004"/>
                    <a:pt x="2383" y="2028"/>
                  </a:cubicBezTo>
                  <a:cubicBezTo>
                    <a:pt x="2411" y="2036"/>
                    <a:pt x="2435" y="2044"/>
                    <a:pt x="2455" y="2072"/>
                  </a:cubicBezTo>
                  <a:cubicBezTo>
                    <a:pt x="2479" y="2112"/>
                    <a:pt x="2459" y="2176"/>
                    <a:pt x="2503" y="2204"/>
                  </a:cubicBezTo>
                  <a:cubicBezTo>
                    <a:pt x="2555" y="2196"/>
                    <a:pt x="2559" y="2192"/>
                    <a:pt x="2599" y="2180"/>
                  </a:cubicBezTo>
                  <a:cubicBezTo>
                    <a:pt x="2611" y="2164"/>
                    <a:pt x="2619" y="2168"/>
                    <a:pt x="2623" y="2148"/>
                  </a:cubicBezTo>
                  <a:cubicBezTo>
                    <a:pt x="2627" y="2124"/>
                    <a:pt x="2623" y="2104"/>
                    <a:pt x="2643" y="2088"/>
                  </a:cubicBezTo>
                  <a:cubicBezTo>
                    <a:pt x="2647" y="2076"/>
                    <a:pt x="2659" y="2060"/>
                    <a:pt x="2667" y="2052"/>
                  </a:cubicBezTo>
                  <a:cubicBezTo>
                    <a:pt x="2683" y="2040"/>
                    <a:pt x="2703" y="2016"/>
                    <a:pt x="2723" y="2000"/>
                  </a:cubicBezTo>
                  <a:cubicBezTo>
                    <a:pt x="2731" y="1980"/>
                    <a:pt x="2767" y="1980"/>
                    <a:pt x="2775" y="1956"/>
                  </a:cubicBezTo>
                  <a:cubicBezTo>
                    <a:pt x="2779" y="1928"/>
                    <a:pt x="2783" y="1924"/>
                    <a:pt x="2803" y="1908"/>
                  </a:cubicBezTo>
                  <a:cubicBezTo>
                    <a:pt x="2811" y="1904"/>
                    <a:pt x="2827" y="1892"/>
                    <a:pt x="2827" y="1892"/>
                  </a:cubicBezTo>
                  <a:cubicBezTo>
                    <a:pt x="2875" y="1904"/>
                    <a:pt x="2847" y="1900"/>
                    <a:pt x="2907" y="1896"/>
                  </a:cubicBezTo>
                  <a:cubicBezTo>
                    <a:pt x="2931" y="1888"/>
                    <a:pt x="2931" y="1880"/>
                    <a:pt x="2943" y="1860"/>
                  </a:cubicBezTo>
                  <a:cubicBezTo>
                    <a:pt x="2955" y="1812"/>
                    <a:pt x="2983" y="1768"/>
                    <a:pt x="2995" y="1716"/>
                  </a:cubicBezTo>
                  <a:cubicBezTo>
                    <a:pt x="2995" y="1712"/>
                    <a:pt x="2963" y="1728"/>
                    <a:pt x="2955" y="1728"/>
                  </a:cubicBezTo>
                  <a:cubicBezTo>
                    <a:pt x="2919" y="1736"/>
                    <a:pt x="2879" y="1744"/>
                    <a:pt x="2847" y="1764"/>
                  </a:cubicBezTo>
                  <a:cubicBezTo>
                    <a:pt x="2835" y="1804"/>
                    <a:pt x="2823" y="1808"/>
                    <a:pt x="2787" y="1832"/>
                  </a:cubicBezTo>
                  <a:cubicBezTo>
                    <a:pt x="2759" y="1828"/>
                    <a:pt x="2739" y="1812"/>
                    <a:pt x="2715" y="1796"/>
                  </a:cubicBezTo>
                  <a:cubicBezTo>
                    <a:pt x="2691" y="1760"/>
                    <a:pt x="2675" y="1772"/>
                    <a:pt x="2643" y="1748"/>
                  </a:cubicBezTo>
                  <a:cubicBezTo>
                    <a:pt x="2631" y="1740"/>
                    <a:pt x="2607" y="1724"/>
                    <a:pt x="2607" y="1724"/>
                  </a:cubicBezTo>
                  <a:cubicBezTo>
                    <a:pt x="2603" y="1708"/>
                    <a:pt x="2579" y="1676"/>
                    <a:pt x="2579" y="1676"/>
                  </a:cubicBezTo>
                  <a:cubicBezTo>
                    <a:pt x="2587" y="1640"/>
                    <a:pt x="2579" y="1644"/>
                    <a:pt x="2623" y="1640"/>
                  </a:cubicBezTo>
                  <a:cubicBezTo>
                    <a:pt x="2655" y="1616"/>
                    <a:pt x="2647" y="1584"/>
                    <a:pt x="2667" y="1556"/>
                  </a:cubicBezTo>
                  <a:cubicBezTo>
                    <a:pt x="2671" y="1536"/>
                    <a:pt x="2679" y="1492"/>
                    <a:pt x="2695" y="1476"/>
                  </a:cubicBezTo>
                  <a:cubicBezTo>
                    <a:pt x="2703" y="1468"/>
                    <a:pt x="2719" y="1460"/>
                    <a:pt x="2719" y="1460"/>
                  </a:cubicBezTo>
                  <a:cubicBezTo>
                    <a:pt x="2727" y="1436"/>
                    <a:pt x="2747" y="1428"/>
                    <a:pt x="2767" y="1420"/>
                  </a:cubicBezTo>
                  <a:cubicBezTo>
                    <a:pt x="2783" y="1400"/>
                    <a:pt x="2787" y="1396"/>
                    <a:pt x="2811" y="1388"/>
                  </a:cubicBezTo>
                  <a:cubicBezTo>
                    <a:pt x="2831" y="1368"/>
                    <a:pt x="2859" y="1372"/>
                    <a:pt x="2887" y="1368"/>
                  </a:cubicBezTo>
                  <a:cubicBezTo>
                    <a:pt x="2895" y="1324"/>
                    <a:pt x="2891" y="1308"/>
                    <a:pt x="2935" y="1296"/>
                  </a:cubicBezTo>
                  <a:cubicBezTo>
                    <a:pt x="2947" y="1280"/>
                    <a:pt x="2963" y="1260"/>
                    <a:pt x="2979" y="1248"/>
                  </a:cubicBezTo>
                  <a:cubicBezTo>
                    <a:pt x="2991" y="1216"/>
                    <a:pt x="3019" y="1188"/>
                    <a:pt x="3051" y="1176"/>
                  </a:cubicBezTo>
                  <a:cubicBezTo>
                    <a:pt x="3063" y="1164"/>
                    <a:pt x="3083" y="1152"/>
                    <a:pt x="3099" y="1148"/>
                  </a:cubicBezTo>
                  <a:cubicBezTo>
                    <a:pt x="3119" y="1120"/>
                    <a:pt x="3095" y="1060"/>
                    <a:pt x="3075" y="1032"/>
                  </a:cubicBezTo>
                  <a:cubicBezTo>
                    <a:pt x="3071" y="1000"/>
                    <a:pt x="3071" y="976"/>
                    <a:pt x="3079" y="956"/>
                  </a:cubicBezTo>
                  <a:cubicBezTo>
                    <a:pt x="3083" y="940"/>
                    <a:pt x="3107" y="916"/>
                    <a:pt x="3127" y="908"/>
                  </a:cubicBezTo>
                  <a:cubicBezTo>
                    <a:pt x="3135" y="880"/>
                    <a:pt x="3195" y="868"/>
                    <a:pt x="3223" y="860"/>
                  </a:cubicBezTo>
                  <a:cubicBezTo>
                    <a:pt x="3251" y="840"/>
                    <a:pt x="3291" y="848"/>
                    <a:pt x="3319" y="828"/>
                  </a:cubicBezTo>
                  <a:cubicBezTo>
                    <a:pt x="3315" y="776"/>
                    <a:pt x="3327" y="788"/>
                    <a:pt x="3295" y="756"/>
                  </a:cubicBezTo>
                  <a:cubicBezTo>
                    <a:pt x="3275" y="700"/>
                    <a:pt x="3231" y="576"/>
                    <a:pt x="3203" y="512"/>
                  </a:cubicBezTo>
                  <a:cubicBezTo>
                    <a:pt x="3219" y="396"/>
                    <a:pt x="3219" y="360"/>
                    <a:pt x="3139" y="348"/>
                  </a:cubicBezTo>
                  <a:cubicBezTo>
                    <a:pt x="3091" y="328"/>
                    <a:pt x="3031" y="360"/>
                    <a:pt x="2979" y="344"/>
                  </a:cubicBezTo>
                  <a:cubicBezTo>
                    <a:pt x="2935" y="360"/>
                    <a:pt x="2951" y="364"/>
                    <a:pt x="2887" y="368"/>
                  </a:cubicBezTo>
                  <a:cubicBezTo>
                    <a:pt x="2795" y="332"/>
                    <a:pt x="2779" y="368"/>
                    <a:pt x="2727" y="384"/>
                  </a:cubicBezTo>
                  <a:cubicBezTo>
                    <a:pt x="2679" y="380"/>
                    <a:pt x="2691" y="376"/>
                    <a:pt x="2659" y="344"/>
                  </a:cubicBezTo>
                  <a:cubicBezTo>
                    <a:pt x="2643" y="328"/>
                    <a:pt x="2595" y="328"/>
                    <a:pt x="2575" y="320"/>
                  </a:cubicBezTo>
                  <a:cubicBezTo>
                    <a:pt x="2543" y="320"/>
                    <a:pt x="2523" y="368"/>
                    <a:pt x="2491" y="380"/>
                  </a:cubicBezTo>
                  <a:cubicBezTo>
                    <a:pt x="2459" y="392"/>
                    <a:pt x="2403" y="392"/>
                    <a:pt x="2379" y="396"/>
                  </a:cubicBezTo>
                  <a:cubicBezTo>
                    <a:pt x="2363" y="404"/>
                    <a:pt x="2351" y="408"/>
                    <a:pt x="2335" y="412"/>
                  </a:cubicBezTo>
                  <a:cubicBezTo>
                    <a:pt x="2307" y="412"/>
                    <a:pt x="2279" y="416"/>
                    <a:pt x="2251" y="408"/>
                  </a:cubicBezTo>
                  <a:cubicBezTo>
                    <a:pt x="2247" y="408"/>
                    <a:pt x="2231" y="316"/>
                    <a:pt x="2211" y="296"/>
                  </a:cubicBezTo>
                  <a:cubicBezTo>
                    <a:pt x="2179" y="240"/>
                    <a:pt x="2095" y="276"/>
                    <a:pt x="2055" y="272"/>
                  </a:cubicBezTo>
                  <a:cubicBezTo>
                    <a:pt x="2011" y="276"/>
                    <a:pt x="1995" y="288"/>
                    <a:pt x="1979" y="244"/>
                  </a:cubicBezTo>
                  <a:cubicBezTo>
                    <a:pt x="1979" y="220"/>
                    <a:pt x="1967" y="156"/>
                    <a:pt x="1959" y="128"/>
                  </a:cubicBezTo>
                  <a:cubicBezTo>
                    <a:pt x="1939" y="92"/>
                    <a:pt x="1875" y="36"/>
                    <a:pt x="1831" y="20"/>
                  </a:cubicBezTo>
                  <a:cubicBezTo>
                    <a:pt x="1803" y="0"/>
                    <a:pt x="1735" y="32"/>
                    <a:pt x="1695" y="36"/>
                  </a:cubicBezTo>
                  <a:cubicBezTo>
                    <a:pt x="1667" y="52"/>
                    <a:pt x="1627" y="72"/>
                    <a:pt x="1599" y="80"/>
                  </a:cubicBezTo>
                  <a:cubicBezTo>
                    <a:pt x="1595" y="92"/>
                    <a:pt x="1583" y="108"/>
                    <a:pt x="1575" y="116"/>
                  </a:cubicBezTo>
                  <a:cubicBezTo>
                    <a:pt x="1567" y="124"/>
                    <a:pt x="1539" y="180"/>
                    <a:pt x="1539" y="180"/>
                  </a:cubicBezTo>
                  <a:cubicBezTo>
                    <a:pt x="1519" y="208"/>
                    <a:pt x="1515" y="172"/>
                    <a:pt x="1483" y="180"/>
                  </a:cubicBezTo>
                  <a:cubicBezTo>
                    <a:pt x="1471" y="188"/>
                    <a:pt x="1443" y="196"/>
                    <a:pt x="1443" y="196"/>
                  </a:cubicBezTo>
                  <a:lnTo>
                    <a:pt x="1407" y="204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  <p:sp>
          <p:nvSpPr>
            <p:cNvPr id="277" name="Freeform 85"/>
            <p:cNvSpPr>
              <a:spLocks noChangeAspect="1"/>
            </p:cNvSpPr>
            <p:nvPr/>
          </p:nvSpPr>
          <p:spPr bwMode="auto">
            <a:xfrm>
              <a:off x="3353" y="2976"/>
              <a:ext cx="196" cy="209"/>
            </a:xfrm>
            <a:custGeom>
              <a:avLst/>
              <a:gdLst>
                <a:gd name="T0" fmla="*/ 0 w 776"/>
                <a:gd name="T1" fmla="*/ 0 h 826"/>
                <a:gd name="T2" fmla="*/ 0 w 776"/>
                <a:gd name="T3" fmla="*/ 0 h 826"/>
                <a:gd name="T4" fmla="*/ 0 w 776"/>
                <a:gd name="T5" fmla="*/ 0 h 826"/>
                <a:gd name="T6" fmla="*/ 0 w 776"/>
                <a:gd name="T7" fmla="*/ 0 h 826"/>
                <a:gd name="T8" fmla="*/ 0 w 776"/>
                <a:gd name="T9" fmla="*/ 0 h 826"/>
                <a:gd name="T10" fmla="*/ 0 w 776"/>
                <a:gd name="T11" fmla="*/ 0 h 826"/>
                <a:gd name="T12" fmla="*/ 0 w 776"/>
                <a:gd name="T13" fmla="*/ 0 h 826"/>
                <a:gd name="T14" fmla="*/ 0 w 776"/>
                <a:gd name="T15" fmla="*/ 0 h 826"/>
                <a:gd name="T16" fmla="*/ 0 w 776"/>
                <a:gd name="T17" fmla="*/ 0 h 826"/>
                <a:gd name="T18" fmla="*/ 0 w 776"/>
                <a:gd name="T19" fmla="*/ 0 h 826"/>
                <a:gd name="T20" fmla="*/ 0 w 776"/>
                <a:gd name="T21" fmla="*/ 0 h 826"/>
                <a:gd name="T22" fmla="*/ 0 w 776"/>
                <a:gd name="T23" fmla="*/ 0 h 826"/>
                <a:gd name="T24" fmla="*/ 0 w 776"/>
                <a:gd name="T25" fmla="*/ 0 h 826"/>
                <a:gd name="T26" fmla="*/ 0 w 776"/>
                <a:gd name="T27" fmla="*/ 0 h 826"/>
                <a:gd name="T28" fmla="*/ 0 w 776"/>
                <a:gd name="T29" fmla="*/ 0 h 826"/>
                <a:gd name="T30" fmla="*/ 0 w 776"/>
                <a:gd name="T31" fmla="*/ 0 h 826"/>
                <a:gd name="T32" fmla="*/ 0 w 776"/>
                <a:gd name="T33" fmla="*/ 0 h 826"/>
                <a:gd name="T34" fmla="*/ 0 w 776"/>
                <a:gd name="T35" fmla="*/ 0 h 826"/>
                <a:gd name="T36" fmla="*/ 0 w 776"/>
                <a:gd name="T37" fmla="*/ 0 h 826"/>
                <a:gd name="T38" fmla="*/ 0 w 776"/>
                <a:gd name="T39" fmla="*/ 0 h 826"/>
                <a:gd name="T40" fmla="*/ 0 w 776"/>
                <a:gd name="T41" fmla="*/ 0 h 826"/>
                <a:gd name="T42" fmla="*/ 0 w 776"/>
                <a:gd name="T43" fmla="*/ 0 h 826"/>
                <a:gd name="T44" fmla="*/ 0 w 776"/>
                <a:gd name="T45" fmla="*/ 0 h 826"/>
                <a:gd name="T46" fmla="*/ 0 w 776"/>
                <a:gd name="T47" fmla="*/ 0 h 826"/>
                <a:gd name="T48" fmla="*/ 0 w 776"/>
                <a:gd name="T49" fmla="*/ 0 h 826"/>
                <a:gd name="T50" fmla="*/ 0 w 776"/>
                <a:gd name="T51" fmla="*/ 0 h 826"/>
                <a:gd name="T52" fmla="*/ 0 w 776"/>
                <a:gd name="T53" fmla="*/ 0 h 826"/>
                <a:gd name="T54" fmla="*/ 0 w 776"/>
                <a:gd name="T55" fmla="*/ 0 h 826"/>
                <a:gd name="T56" fmla="*/ 0 w 776"/>
                <a:gd name="T57" fmla="*/ 0 h 826"/>
                <a:gd name="T58" fmla="*/ 0 w 776"/>
                <a:gd name="T59" fmla="*/ 0 h 826"/>
                <a:gd name="T60" fmla="*/ 0 w 776"/>
                <a:gd name="T61" fmla="*/ 0 h 826"/>
                <a:gd name="T62" fmla="*/ 0 w 776"/>
                <a:gd name="T63" fmla="*/ 0 h 82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776"/>
                <a:gd name="T97" fmla="*/ 0 h 826"/>
                <a:gd name="T98" fmla="*/ 776 w 776"/>
                <a:gd name="T99" fmla="*/ 826 h 82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776" h="826">
                  <a:moveTo>
                    <a:pt x="484" y="824"/>
                  </a:moveTo>
                  <a:cubicBezTo>
                    <a:pt x="503" y="815"/>
                    <a:pt x="500" y="803"/>
                    <a:pt x="532" y="800"/>
                  </a:cubicBezTo>
                  <a:cubicBezTo>
                    <a:pt x="544" y="764"/>
                    <a:pt x="532" y="728"/>
                    <a:pt x="552" y="696"/>
                  </a:cubicBezTo>
                  <a:cubicBezTo>
                    <a:pt x="560" y="660"/>
                    <a:pt x="580" y="640"/>
                    <a:pt x="592" y="608"/>
                  </a:cubicBezTo>
                  <a:cubicBezTo>
                    <a:pt x="588" y="584"/>
                    <a:pt x="580" y="564"/>
                    <a:pt x="564" y="548"/>
                  </a:cubicBezTo>
                  <a:cubicBezTo>
                    <a:pt x="556" y="504"/>
                    <a:pt x="544" y="484"/>
                    <a:pt x="576" y="476"/>
                  </a:cubicBezTo>
                  <a:cubicBezTo>
                    <a:pt x="596" y="480"/>
                    <a:pt x="640" y="492"/>
                    <a:pt x="640" y="492"/>
                  </a:cubicBezTo>
                  <a:cubicBezTo>
                    <a:pt x="688" y="488"/>
                    <a:pt x="728" y="476"/>
                    <a:pt x="776" y="468"/>
                  </a:cubicBezTo>
                  <a:cubicBezTo>
                    <a:pt x="772" y="448"/>
                    <a:pt x="768" y="440"/>
                    <a:pt x="748" y="432"/>
                  </a:cubicBezTo>
                  <a:cubicBezTo>
                    <a:pt x="740" y="416"/>
                    <a:pt x="704" y="392"/>
                    <a:pt x="688" y="384"/>
                  </a:cubicBezTo>
                  <a:cubicBezTo>
                    <a:pt x="680" y="360"/>
                    <a:pt x="656" y="336"/>
                    <a:pt x="640" y="312"/>
                  </a:cubicBezTo>
                  <a:cubicBezTo>
                    <a:pt x="604" y="260"/>
                    <a:pt x="652" y="232"/>
                    <a:pt x="556" y="224"/>
                  </a:cubicBezTo>
                  <a:cubicBezTo>
                    <a:pt x="540" y="196"/>
                    <a:pt x="532" y="204"/>
                    <a:pt x="508" y="188"/>
                  </a:cubicBezTo>
                  <a:cubicBezTo>
                    <a:pt x="528" y="84"/>
                    <a:pt x="536" y="76"/>
                    <a:pt x="420" y="72"/>
                  </a:cubicBezTo>
                  <a:cubicBezTo>
                    <a:pt x="416" y="56"/>
                    <a:pt x="400" y="56"/>
                    <a:pt x="388" y="48"/>
                  </a:cubicBezTo>
                  <a:cubicBezTo>
                    <a:pt x="344" y="64"/>
                    <a:pt x="288" y="36"/>
                    <a:pt x="244" y="28"/>
                  </a:cubicBezTo>
                  <a:cubicBezTo>
                    <a:pt x="228" y="16"/>
                    <a:pt x="196" y="0"/>
                    <a:pt x="196" y="0"/>
                  </a:cubicBezTo>
                  <a:cubicBezTo>
                    <a:pt x="168" y="4"/>
                    <a:pt x="112" y="12"/>
                    <a:pt x="112" y="12"/>
                  </a:cubicBezTo>
                  <a:cubicBezTo>
                    <a:pt x="96" y="56"/>
                    <a:pt x="56" y="52"/>
                    <a:pt x="16" y="56"/>
                  </a:cubicBezTo>
                  <a:cubicBezTo>
                    <a:pt x="0" y="104"/>
                    <a:pt x="16" y="92"/>
                    <a:pt x="48" y="124"/>
                  </a:cubicBezTo>
                  <a:cubicBezTo>
                    <a:pt x="52" y="136"/>
                    <a:pt x="60" y="156"/>
                    <a:pt x="100" y="172"/>
                  </a:cubicBezTo>
                  <a:cubicBezTo>
                    <a:pt x="116" y="192"/>
                    <a:pt x="123" y="197"/>
                    <a:pt x="135" y="212"/>
                  </a:cubicBezTo>
                  <a:cubicBezTo>
                    <a:pt x="158" y="231"/>
                    <a:pt x="153" y="233"/>
                    <a:pt x="173" y="245"/>
                  </a:cubicBezTo>
                  <a:cubicBezTo>
                    <a:pt x="177" y="261"/>
                    <a:pt x="185" y="263"/>
                    <a:pt x="194" y="282"/>
                  </a:cubicBezTo>
                  <a:cubicBezTo>
                    <a:pt x="214" y="302"/>
                    <a:pt x="213" y="312"/>
                    <a:pt x="233" y="332"/>
                  </a:cubicBezTo>
                  <a:cubicBezTo>
                    <a:pt x="261" y="342"/>
                    <a:pt x="300" y="364"/>
                    <a:pt x="300" y="364"/>
                  </a:cubicBezTo>
                  <a:cubicBezTo>
                    <a:pt x="311" y="381"/>
                    <a:pt x="300" y="354"/>
                    <a:pt x="317" y="393"/>
                  </a:cubicBezTo>
                  <a:cubicBezTo>
                    <a:pt x="443" y="449"/>
                    <a:pt x="398" y="557"/>
                    <a:pt x="400" y="600"/>
                  </a:cubicBezTo>
                  <a:cubicBezTo>
                    <a:pt x="422" y="668"/>
                    <a:pt x="414" y="645"/>
                    <a:pt x="429" y="701"/>
                  </a:cubicBezTo>
                  <a:cubicBezTo>
                    <a:pt x="433" y="729"/>
                    <a:pt x="446" y="764"/>
                    <a:pt x="452" y="780"/>
                  </a:cubicBezTo>
                  <a:cubicBezTo>
                    <a:pt x="461" y="794"/>
                    <a:pt x="464" y="798"/>
                    <a:pt x="474" y="810"/>
                  </a:cubicBezTo>
                  <a:cubicBezTo>
                    <a:pt x="478" y="826"/>
                    <a:pt x="484" y="816"/>
                    <a:pt x="484" y="824"/>
                  </a:cubicBez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  <p:sp>
          <p:nvSpPr>
            <p:cNvPr id="278" name="Freeform 86"/>
            <p:cNvSpPr>
              <a:spLocks noChangeAspect="1"/>
            </p:cNvSpPr>
            <p:nvPr/>
          </p:nvSpPr>
          <p:spPr bwMode="auto">
            <a:xfrm>
              <a:off x="3059" y="3001"/>
              <a:ext cx="503" cy="360"/>
            </a:xfrm>
            <a:custGeom>
              <a:avLst/>
              <a:gdLst>
                <a:gd name="T0" fmla="*/ 0 w 1991"/>
                <a:gd name="T1" fmla="*/ 0 h 1428"/>
                <a:gd name="T2" fmla="*/ 0 w 1991"/>
                <a:gd name="T3" fmla="*/ 0 h 1428"/>
                <a:gd name="T4" fmla="*/ 0 w 1991"/>
                <a:gd name="T5" fmla="*/ 0 h 1428"/>
                <a:gd name="T6" fmla="*/ 0 w 1991"/>
                <a:gd name="T7" fmla="*/ 0 h 1428"/>
                <a:gd name="T8" fmla="*/ 0 w 1991"/>
                <a:gd name="T9" fmla="*/ 0 h 1428"/>
                <a:gd name="T10" fmla="*/ 0 w 1991"/>
                <a:gd name="T11" fmla="*/ 0 h 1428"/>
                <a:gd name="T12" fmla="*/ 0 w 1991"/>
                <a:gd name="T13" fmla="*/ 0 h 1428"/>
                <a:gd name="T14" fmla="*/ 0 w 1991"/>
                <a:gd name="T15" fmla="*/ 0 h 1428"/>
                <a:gd name="T16" fmla="*/ 0 w 1991"/>
                <a:gd name="T17" fmla="*/ 0 h 1428"/>
                <a:gd name="T18" fmla="*/ 0 w 1991"/>
                <a:gd name="T19" fmla="*/ 0 h 1428"/>
                <a:gd name="T20" fmla="*/ 0 w 1991"/>
                <a:gd name="T21" fmla="*/ 0 h 1428"/>
                <a:gd name="T22" fmla="*/ 0 w 1991"/>
                <a:gd name="T23" fmla="*/ 0 h 1428"/>
                <a:gd name="T24" fmla="*/ 0 w 1991"/>
                <a:gd name="T25" fmla="*/ 0 h 1428"/>
                <a:gd name="T26" fmla="*/ 0 w 1991"/>
                <a:gd name="T27" fmla="*/ 0 h 1428"/>
                <a:gd name="T28" fmla="*/ 0 w 1991"/>
                <a:gd name="T29" fmla="*/ 0 h 1428"/>
                <a:gd name="T30" fmla="*/ 0 w 1991"/>
                <a:gd name="T31" fmla="*/ 0 h 1428"/>
                <a:gd name="T32" fmla="*/ 0 w 1991"/>
                <a:gd name="T33" fmla="*/ 0 h 1428"/>
                <a:gd name="T34" fmla="*/ 0 w 1991"/>
                <a:gd name="T35" fmla="*/ 0 h 1428"/>
                <a:gd name="T36" fmla="*/ 0 w 1991"/>
                <a:gd name="T37" fmla="*/ 0 h 1428"/>
                <a:gd name="T38" fmla="*/ 0 w 1991"/>
                <a:gd name="T39" fmla="*/ 0 h 1428"/>
                <a:gd name="T40" fmla="*/ 0 w 1991"/>
                <a:gd name="T41" fmla="*/ 0 h 1428"/>
                <a:gd name="T42" fmla="*/ 0 w 1991"/>
                <a:gd name="T43" fmla="*/ 0 h 1428"/>
                <a:gd name="T44" fmla="*/ 0 w 1991"/>
                <a:gd name="T45" fmla="*/ 0 h 1428"/>
                <a:gd name="T46" fmla="*/ 0 w 1991"/>
                <a:gd name="T47" fmla="*/ 0 h 1428"/>
                <a:gd name="T48" fmla="*/ 0 w 1991"/>
                <a:gd name="T49" fmla="*/ 0 h 1428"/>
                <a:gd name="T50" fmla="*/ 0 w 1991"/>
                <a:gd name="T51" fmla="*/ 0 h 1428"/>
                <a:gd name="T52" fmla="*/ 0 w 1991"/>
                <a:gd name="T53" fmla="*/ 0 h 1428"/>
                <a:gd name="T54" fmla="*/ 0 w 1991"/>
                <a:gd name="T55" fmla="*/ 0 h 1428"/>
                <a:gd name="T56" fmla="*/ 0 w 1991"/>
                <a:gd name="T57" fmla="*/ 0 h 1428"/>
                <a:gd name="T58" fmla="*/ 0 w 1991"/>
                <a:gd name="T59" fmla="*/ 0 h 1428"/>
                <a:gd name="T60" fmla="*/ 0 w 1991"/>
                <a:gd name="T61" fmla="*/ 0 h 1428"/>
                <a:gd name="T62" fmla="*/ 0 w 1991"/>
                <a:gd name="T63" fmla="*/ 0 h 1428"/>
                <a:gd name="T64" fmla="*/ 0 w 1991"/>
                <a:gd name="T65" fmla="*/ 0 h 1428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991"/>
                <a:gd name="T100" fmla="*/ 0 h 1428"/>
                <a:gd name="T101" fmla="*/ 1991 w 1991"/>
                <a:gd name="T102" fmla="*/ 1428 h 1428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991" h="1428">
                  <a:moveTo>
                    <a:pt x="1847" y="1195"/>
                  </a:moveTo>
                  <a:cubicBezTo>
                    <a:pt x="1855" y="1139"/>
                    <a:pt x="1851" y="1087"/>
                    <a:pt x="1831" y="1035"/>
                  </a:cubicBezTo>
                  <a:cubicBezTo>
                    <a:pt x="1835" y="963"/>
                    <a:pt x="1815" y="903"/>
                    <a:pt x="1875" y="863"/>
                  </a:cubicBezTo>
                  <a:cubicBezTo>
                    <a:pt x="1879" y="847"/>
                    <a:pt x="1911" y="835"/>
                    <a:pt x="1927" y="827"/>
                  </a:cubicBezTo>
                  <a:cubicBezTo>
                    <a:pt x="1939" y="823"/>
                    <a:pt x="1963" y="815"/>
                    <a:pt x="1963" y="815"/>
                  </a:cubicBezTo>
                  <a:cubicBezTo>
                    <a:pt x="1991" y="787"/>
                    <a:pt x="1975" y="712"/>
                    <a:pt x="1947" y="684"/>
                  </a:cubicBezTo>
                  <a:cubicBezTo>
                    <a:pt x="1935" y="644"/>
                    <a:pt x="1863" y="672"/>
                    <a:pt x="1823" y="676"/>
                  </a:cubicBezTo>
                  <a:cubicBezTo>
                    <a:pt x="1815" y="708"/>
                    <a:pt x="1791" y="735"/>
                    <a:pt x="1759" y="747"/>
                  </a:cubicBezTo>
                  <a:cubicBezTo>
                    <a:pt x="1747" y="775"/>
                    <a:pt x="1735" y="767"/>
                    <a:pt x="1703" y="763"/>
                  </a:cubicBezTo>
                  <a:cubicBezTo>
                    <a:pt x="1687" y="755"/>
                    <a:pt x="1675" y="751"/>
                    <a:pt x="1659" y="743"/>
                  </a:cubicBezTo>
                  <a:cubicBezTo>
                    <a:pt x="1647" y="727"/>
                    <a:pt x="1639" y="708"/>
                    <a:pt x="1627" y="696"/>
                  </a:cubicBezTo>
                  <a:cubicBezTo>
                    <a:pt x="1619" y="688"/>
                    <a:pt x="1603" y="636"/>
                    <a:pt x="1603" y="636"/>
                  </a:cubicBezTo>
                  <a:cubicBezTo>
                    <a:pt x="1595" y="604"/>
                    <a:pt x="1587" y="560"/>
                    <a:pt x="1567" y="500"/>
                  </a:cubicBezTo>
                  <a:cubicBezTo>
                    <a:pt x="1583" y="396"/>
                    <a:pt x="1563" y="324"/>
                    <a:pt x="1483" y="296"/>
                  </a:cubicBezTo>
                  <a:cubicBezTo>
                    <a:pt x="1475" y="276"/>
                    <a:pt x="1467" y="268"/>
                    <a:pt x="1447" y="260"/>
                  </a:cubicBezTo>
                  <a:cubicBezTo>
                    <a:pt x="1431" y="244"/>
                    <a:pt x="1419" y="244"/>
                    <a:pt x="1399" y="236"/>
                  </a:cubicBezTo>
                  <a:cubicBezTo>
                    <a:pt x="1387" y="216"/>
                    <a:pt x="1379" y="204"/>
                    <a:pt x="1363" y="192"/>
                  </a:cubicBezTo>
                  <a:cubicBezTo>
                    <a:pt x="1359" y="176"/>
                    <a:pt x="1319" y="124"/>
                    <a:pt x="1299" y="116"/>
                  </a:cubicBezTo>
                  <a:cubicBezTo>
                    <a:pt x="1291" y="88"/>
                    <a:pt x="1255" y="76"/>
                    <a:pt x="1231" y="60"/>
                  </a:cubicBezTo>
                  <a:cubicBezTo>
                    <a:pt x="1223" y="48"/>
                    <a:pt x="1219" y="36"/>
                    <a:pt x="1207" y="24"/>
                  </a:cubicBezTo>
                  <a:cubicBezTo>
                    <a:pt x="1199" y="0"/>
                    <a:pt x="1135" y="44"/>
                    <a:pt x="1135" y="44"/>
                  </a:cubicBezTo>
                  <a:cubicBezTo>
                    <a:pt x="1111" y="76"/>
                    <a:pt x="1123" y="92"/>
                    <a:pt x="1079" y="100"/>
                  </a:cubicBezTo>
                  <a:cubicBezTo>
                    <a:pt x="1063" y="108"/>
                    <a:pt x="1043" y="116"/>
                    <a:pt x="1027" y="128"/>
                  </a:cubicBezTo>
                  <a:cubicBezTo>
                    <a:pt x="1015" y="164"/>
                    <a:pt x="943" y="168"/>
                    <a:pt x="915" y="192"/>
                  </a:cubicBezTo>
                  <a:cubicBezTo>
                    <a:pt x="899" y="196"/>
                    <a:pt x="871" y="204"/>
                    <a:pt x="871" y="204"/>
                  </a:cubicBezTo>
                  <a:cubicBezTo>
                    <a:pt x="859" y="216"/>
                    <a:pt x="847" y="220"/>
                    <a:pt x="835" y="228"/>
                  </a:cubicBezTo>
                  <a:cubicBezTo>
                    <a:pt x="723" y="216"/>
                    <a:pt x="787" y="220"/>
                    <a:pt x="643" y="216"/>
                  </a:cubicBezTo>
                  <a:cubicBezTo>
                    <a:pt x="535" y="220"/>
                    <a:pt x="543" y="180"/>
                    <a:pt x="483" y="228"/>
                  </a:cubicBezTo>
                  <a:cubicBezTo>
                    <a:pt x="475" y="248"/>
                    <a:pt x="435" y="292"/>
                    <a:pt x="411" y="296"/>
                  </a:cubicBezTo>
                  <a:cubicBezTo>
                    <a:pt x="399" y="312"/>
                    <a:pt x="383" y="312"/>
                    <a:pt x="363" y="320"/>
                  </a:cubicBezTo>
                  <a:cubicBezTo>
                    <a:pt x="359" y="320"/>
                    <a:pt x="351" y="324"/>
                    <a:pt x="351" y="324"/>
                  </a:cubicBezTo>
                  <a:cubicBezTo>
                    <a:pt x="339" y="340"/>
                    <a:pt x="331" y="360"/>
                    <a:pt x="319" y="372"/>
                  </a:cubicBezTo>
                  <a:cubicBezTo>
                    <a:pt x="295" y="440"/>
                    <a:pt x="287" y="528"/>
                    <a:pt x="247" y="588"/>
                  </a:cubicBezTo>
                  <a:cubicBezTo>
                    <a:pt x="233" y="623"/>
                    <a:pt x="235" y="632"/>
                    <a:pt x="219" y="680"/>
                  </a:cubicBezTo>
                  <a:cubicBezTo>
                    <a:pt x="215" y="720"/>
                    <a:pt x="203" y="725"/>
                    <a:pt x="183" y="753"/>
                  </a:cubicBezTo>
                  <a:cubicBezTo>
                    <a:pt x="173" y="772"/>
                    <a:pt x="174" y="780"/>
                    <a:pt x="161" y="800"/>
                  </a:cubicBezTo>
                  <a:cubicBezTo>
                    <a:pt x="144" y="813"/>
                    <a:pt x="98" y="825"/>
                    <a:pt x="83" y="849"/>
                  </a:cubicBezTo>
                  <a:cubicBezTo>
                    <a:pt x="60" y="860"/>
                    <a:pt x="27" y="862"/>
                    <a:pt x="20" y="866"/>
                  </a:cubicBezTo>
                  <a:cubicBezTo>
                    <a:pt x="0" y="878"/>
                    <a:pt x="33" y="866"/>
                    <a:pt x="36" y="881"/>
                  </a:cubicBezTo>
                  <a:cubicBezTo>
                    <a:pt x="50" y="921"/>
                    <a:pt x="90" y="912"/>
                    <a:pt x="105" y="927"/>
                  </a:cubicBezTo>
                  <a:cubicBezTo>
                    <a:pt x="129" y="959"/>
                    <a:pt x="141" y="962"/>
                    <a:pt x="163" y="991"/>
                  </a:cubicBezTo>
                  <a:cubicBezTo>
                    <a:pt x="170" y="1017"/>
                    <a:pt x="206" y="1035"/>
                    <a:pt x="225" y="1076"/>
                  </a:cubicBezTo>
                  <a:cubicBezTo>
                    <a:pt x="248" y="1083"/>
                    <a:pt x="257" y="1079"/>
                    <a:pt x="281" y="1086"/>
                  </a:cubicBezTo>
                  <a:cubicBezTo>
                    <a:pt x="293" y="1090"/>
                    <a:pt x="315" y="1111"/>
                    <a:pt x="315" y="1111"/>
                  </a:cubicBezTo>
                  <a:cubicBezTo>
                    <a:pt x="319" y="1199"/>
                    <a:pt x="288" y="1233"/>
                    <a:pt x="375" y="1231"/>
                  </a:cubicBezTo>
                  <a:cubicBezTo>
                    <a:pt x="391" y="1235"/>
                    <a:pt x="399" y="1226"/>
                    <a:pt x="422" y="1233"/>
                  </a:cubicBezTo>
                  <a:cubicBezTo>
                    <a:pt x="430" y="1237"/>
                    <a:pt x="462" y="1251"/>
                    <a:pt x="462" y="1251"/>
                  </a:cubicBezTo>
                  <a:cubicBezTo>
                    <a:pt x="473" y="1253"/>
                    <a:pt x="475" y="1254"/>
                    <a:pt x="491" y="1248"/>
                  </a:cubicBezTo>
                  <a:cubicBezTo>
                    <a:pt x="497" y="1235"/>
                    <a:pt x="498" y="1226"/>
                    <a:pt x="557" y="1206"/>
                  </a:cubicBezTo>
                  <a:cubicBezTo>
                    <a:pt x="581" y="1214"/>
                    <a:pt x="609" y="1265"/>
                    <a:pt x="600" y="1301"/>
                  </a:cubicBezTo>
                  <a:cubicBezTo>
                    <a:pt x="604" y="1309"/>
                    <a:pt x="618" y="1301"/>
                    <a:pt x="629" y="1316"/>
                  </a:cubicBezTo>
                  <a:cubicBezTo>
                    <a:pt x="641" y="1320"/>
                    <a:pt x="656" y="1329"/>
                    <a:pt x="656" y="1329"/>
                  </a:cubicBezTo>
                  <a:cubicBezTo>
                    <a:pt x="698" y="1392"/>
                    <a:pt x="678" y="1401"/>
                    <a:pt x="685" y="1415"/>
                  </a:cubicBezTo>
                  <a:cubicBezTo>
                    <a:pt x="704" y="1421"/>
                    <a:pt x="707" y="1423"/>
                    <a:pt x="725" y="1425"/>
                  </a:cubicBezTo>
                  <a:cubicBezTo>
                    <a:pt x="747" y="1428"/>
                    <a:pt x="771" y="1425"/>
                    <a:pt x="795" y="1425"/>
                  </a:cubicBezTo>
                  <a:cubicBezTo>
                    <a:pt x="871" y="1421"/>
                    <a:pt x="942" y="1409"/>
                    <a:pt x="1026" y="1397"/>
                  </a:cubicBezTo>
                  <a:cubicBezTo>
                    <a:pt x="1074" y="1389"/>
                    <a:pt x="1122" y="1385"/>
                    <a:pt x="1175" y="1380"/>
                  </a:cubicBezTo>
                  <a:cubicBezTo>
                    <a:pt x="1196" y="1371"/>
                    <a:pt x="1230" y="1359"/>
                    <a:pt x="1230" y="1359"/>
                  </a:cubicBezTo>
                  <a:cubicBezTo>
                    <a:pt x="1242" y="1351"/>
                    <a:pt x="1251" y="1346"/>
                    <a:pt x="1263" y="1338"/>
                  </a:cubicBezTo>
                  <a:cubicBezTo>
                    <a:pt x="1267" y="1322"/>
                    <a:pt x="1295" y="1307"/>
                    <a:pt x="1311" y="1295"/>
                  </a:cubicBezTo>
                  <a:cubicBezTo>
                    <a:pt x="1323" y="1274"/>
                    <a:pt x="1343" y="1257"/>
                    <a:pt x="1355" y="1233"/>
                  </a:cubicBezTo>
                  <a:cubicBezTo>
                    <a:pt x="1382" y="1216"/>
                    <a:pt x="1428" y="1213"/>
                    <a:pt x="1455" y="1203"/>
                  </a:cubicBezTo>
                  <a:cubicBezTo>
                    <a:pt x="1476" y="1182"/>
                    <a:pt x="1519" y="1175"/>
                    <a:pt x="1519" y="1175"/>
                  </a:cubicBezTo>
                  <a:cubicBezTo>
                    <a:pt x="1527" y="1167"/>
                    <a:pt x="1557" y="1158"/>
                    <a:pt x="1557" y="1158"/>
                  </a:cubicBezTo>
                  <a:cubicBezTo>
                    <a:pt x="1581" y="1162"/>
                    <a:pt x="1605" y="1154"/>
                    <a:pt x="1629" y="1158"/>
                  </a:cubicBezTo>
                  <a:cubicBezTo>
                    <a:pt x="1670" y="1172"/>
                    <a:pt x="1773" y="1197"/>
                    <a:pt x="1803" y="1195"/>
                  </a:cubicBezTo>
                  <a:cubicBezTo>
                    <a:pt x="1811" y="1195"/>
                    <a:pt x="1871" y="1219"/>
                    <a:pt x="1847" y="1195"/>
                  </a:cubicBez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  <p:sp>
          <p:nvSpPr>
            <p:cNvPr id="279" name="Freeform 87"/>
            <p:cNvSpPr>
              <a:spLocks noChangeAspect="1"/>
            </p:cNvSpPr>
            <p:nvPr/>
          </p:nvSpPr>
          <p:spPr bwMode="auto">
            <a:xfrm>
              <a:off x="3202" y="3292"/>
              <a:ext cx="334" cy="253"/>
            </a:xfrm>
            <a:custGeom>
              <a:avLst/>
              <a:gdLst>
                <a:gd name="T0" fmla="*/ 0 w 1320"/>
                <a:gd name="T1" fmla="*/ 0 h 999"/>
                <a:gd name="T2" fmla="*/ 0 w 1320"/>
                <a:gd name="T3" fmla="*/ 0 h 999"/>
                <a:gd name="T4" fmla="*/ 0 w 1320"/>
                <a:gd name="T5" fmla="*/ 0 h 999"/>
                <a:gd name="T6" fmla="*/ 0 w 1320"/>
                <a:gd name="T7" fmla="*/ 0 h 999"/>
                <a:gd name="T8" fmla="*/ 0 w 1320"/>
                <a:gd name="T9" fmla="*/ 0 h 999"/>
                <a:gd name="T10" fmla="*/ 0 w 1320"/>
                <a:gd name="T11" fmla="*/ 0 h 999"/>
                <a:gd name="T12" fmla="*/ 0 w 1320"/>
                <a:gd name="T13" fmla="*/ 0 h 999"/>
                <a:gd name="T14" fmla="*/ 0 w 1320"/>
                <a:gd name="T15" fmla="*/ 0 h 999"/>
                <a:gd name="T16" fmla="*/ 0 w 1320"/>
                <a:gd name="T17" fmla="*/ 0 h 999"/>
                <a:gd name="T18" fmla="*/ 0 w 1320"/>
                <a:gd name="T19" fmla="*/ 0 h 999"/>
                <a:gd name="T20" fmla="*/ 0 w 1320"/>
                <a:gd name="T21" fmla="*/ 0 h 999"/>
                <a:gd name="T22" fmla="*/ 0 w 1320"/>
                <a:gd name="T23" fmla="*/ 0 h 999"/>
                <a:gd name="T24" fmla="*/ 0 w 1320"/>
                <a:gd name="T25" fmla="*/ 0 h 999"/>
                <a:gd name="T26" fmla="*/ 0 w 1320"/>
                <a:gd name="T27" fmla="*/ 0 h 999"/>
                <a:gd name="T28" fmla="*/ 0 w 1320"/>
                <a:gd name="T29" fmla="*/ 0 h 999"/>
                <a:gd name="T30" fmla="*/ 0 w 1320"/>
                <a:gd name="T31" fmla="*/ 0 h 999"/>
                <a:gd name="T32" fmla="*/ 0 w 1320"/>
                <a:gd name="T33" fmla="*/ 0 h 999"/>
                <a:gd name="T34" fmla="*/ 0 w 1320"/>
                <a:gd name="T35" fmla="*/ 0 h 999"/>
                <a:gd name="T36" fmla="*/ 0 w 1320"/>
                <a:gd name="T37" fmla="*/ 0 h 999"/>
                <a:gd name="T38" fmla="*/ 0 w 1320"/>
                <a:gd name="T39" fmla="*/ 0 h 999"/>
                <a:gd name="T40" fmla="*/ 0 w 1320"/>
                <a:gd name="T41" fmla="*/ 0 h 999"/>
                <a:gd name="T42" fmla="*/ 0 w 1320"/>
                <a:gd name="T43" fmla="*/ 0 h 999"/>
                <a:gd name="T44" fmla="*/ 0 w 1320"/>
                <a:gd name="T45" fmla="*/ 0 h 999"/>
                <a:gd name="T46" fmla="*/ 0 w 1320"/>
                <a:gd name="T47" fmla="*/ 0 h 999"/>
                <a:gd name="T48" fmla="*/ 0 w 1320"/>
                <a:gd name="T49" fmla="*/ 0 h 999"/>
                <a:gd name="T50" fmla="*/ 0 w 1320"/>
                <a:gd name="T51" fmla="*/ 0 h 999"/>
                <a:gd name="T52" fmla="*/ 0 w 1320"/>
                <a:gd name="T53" fmla="*/ 0 h 999"/>
                <a:gd name="T54" fmla="*/ 0 w 1320"/>
                <a:gd name="T55" fmla="*/ 0 h 999"/>
                <a:gd name="T56" fmla="*/ 0 w 1320"/>
                <a:gd name="T57" fmla="*/ 0 h 999"/>
                <a:gd name="T58" fmla="*/ 0 w 1320"/>
                <a:gd name="T59" fmla="*/ 0 h 999"/>
                <a:gd name="T60" fmla="*/ 0 w 1320"/>
                <a:gd name="T61" fmla="*/ 0 h 999"/>
                <a:gd name="T62" fmla="*/ 0 w 1320"/>
                <a:gd name="T63" fmla="*/ 0 h 999"/>
                <a:gd name="T64" fmla="*/ 0 w 1320"/>
                <a:gd name="T65" fmla="*/ 0 h 999"/>
                <a:gd name="T66" fmla="*/ 0 w 1320"/>
                <a:gd name="T67" fmla="*/ 0 h 999"/>
                <a:gd name="T68" fmla="*/ 0 w 1320"/>
                <a:gd name="T69" fmla="*/ 0 h 999"/>
                <a:gd name="T70" fmla="*/ 0 w 1320"/>
                <a:gd name="T71" fmla="*/ 0 h 999"/>
                <a:gd name="T72" fmla="*/ 0 w 1320"/>
                <a:gd name="T73" fmla="*/ 0 h 999"/>
                <a:gd name="T74" fmla="*/ 0 w 1320"/>
                <a:gd name="T75" fmla="*/ 0 h 999"/>
                <a:gd name="T76" fmla="*/ 0 w 1320"/>
                <a:gd name="T77" fmla="*/ 0 h 999"/>
                <a:gd name="T78" fmla="*/ 0 w 1320"/>
                <a:gd name="T79" fmla="*/ 0 h 999"/>
                <a:gd name="T80" fmla="*/ 0 w 1320"/>
                <a:gd name="T81" fmla="*/ 0 h 999"/>
                <a:gd name="T82" fmla="*/ 0 w 1320"/>
                <a:gd name="T83" fmla="*/ 0 h 999"/>
                <a:gd name="T84" fmla="*/ 0 w 1320"/>
                <a:gd name="T85" fmla="*/ 0 h 999"/>
                <a:gd name="T86" fmla="*/ 0 w 1320"/>
                <a:gd name="T87" fmla="*/ 0 h 999"/>
                <a:gd name="T88" fmla="*/ 0 w 1320"/>
                <a:gd name="T89" fmla="*/ 0 h 999"/>
                <a:gd name="T90" fmla="*/ 0 w 1320"/>
                <a:gd name="T91" fmla="*/ 0 h 999"/>
                <a:gd name="T92" fmla="*/ 0 w 1320"/>
                <a:gd name="T93" fmla="*/ 0 h 999"/>
                <a:gd name="T94" fmla="*/ 0 w 1320"/>
                <a:gd name="T95" fmla="*/ 0 h 999"/>
                <a:gd name="T96" fmla="*/ 0 w 1320"/>
                <a:gd name="T97" fmla="*/ 0 h 999"/>
                <a:gd name="T98" fmla="*/ 0 w 1320"/>
                <a:gd name="T99" fmla="*/ 0 h 999"/>
                <a:gd name="T100" fmla="*/ 0 w 1320"/>
                <a:gd name="T101" fmla="*/ 0 h 999"/>
                <a:gd name="T102" fmla="*/ 0 w 1320"/>
                <a:gd name="T103" fmla="*/ 0 h 999"/>
                <a:gd name="T104" fmla="*/ 0 w 1320"/>
                <a:gd name="T105" fmla="*/ 0 h 999"/>
                <a:gd name="T106" fmla="*/ 0 w 1320"/>
                <a:gd name="T107" fmla="*/ 0 h 999"/>
                <a:gd name="T108" fmla="*/ 0 w 1320"/>
                <a:gd name="T109" fmla="*/ 0 h 999"/>
                <a:gd name="T110" fmla="*/ 0 w 1320"/>
                <a:gd name="T111" fmla="*/ 0 h 999"/>
                <a:gd name="T112" fmla="*/ 0 w 1320"/>
                <a:gd name="T113" fmla="*/ 0 h 999"/>
                <a:gd name="T114" fmla="*/ 0 w 1320"/>
                <a:gd name="T115" fmla="*/ 0 h 999"/>
                <a:gd name="T116" fmla="*/ 0 w 1320"/>
                <a:gd name="T117" fmla="*/ 0 h 999"/>
                <a:gd name="T118" fmla="*/ 0 w 1320"/>
                <a:gd name="T119" fmla="*/ 0 h 999"/>
                <a:gd name="T120" fmla="*/ 0 w 1320"/>
                <a:gd name="T121" fmla="*/ 0 h 999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320"/>
                <a:gd name="T184" fmla="*/ 0 h 999"/>
                <a:gd name="T185" fmla="*/ 1320 w 1320"/>
                <a:gd name="T186" fmla="*/ 999 h 999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320" h="999">
                  <a:moveTo>
                    <a:pt x="1283" y="578"/>
                  </a:moveTo>
                  <a:cubicBezTo>
                    <a:pt x="1307" y="570"/>
                    <a:pt x="1284" y="527"/>
                    <a:pt x="1276" y="507"/>
                  </a:cubicBezTo>
                  <a:cubicBezTo>
                    <a:pt x="1272" y="500"/>
                    <a:pt x="1224" y="484"/>
                    <a:pt x="1216" y="480"/>
                  </a:cubicBezTo>
                  <a:cubicBezTo>
                    <a:pt x="1208" y="476"/>
                    <a:pt x="1192" y="464"/>
                    <a:pt x="1192" y="464"/>
                  </a:cubicBezTo>
                  <a:cubicBezTo>
                    <a:pt x="1172" y="436"/>
                    <a:pt x="1184" y="400"/>
                    <a:pt x="1188" y="368"/>
                  </a:cubicBezTo>
                  <a:cubicBezTo>
                    <a:pt x="1188" y="340"/>
                    <a:pt x="1192" y="316"/>
                    <a:pt x="1192" y="288"/>
                  </a:cubicBezTo>
                  <a:cubicBezTo>
                    <a:pt x="1200" y="164"/>
                    <a:pt x="1196" y="144"/>
                    <a:pt x="1312" y="128"/>
                  </a:cubicBezTo>
                  <a:cubicBezTo>
                    <a:pt x="1320" y="116"/>
                    <a:pt x="1292" y="56"/>
                    <a:pt x="1272" y="48"/>
                  </a:cubicBezTo>
                  <a:cubicBezTo>
                    <a:pt x="1256" y="40"/>
                    <a:pt x="1228" y="40"/>
                    <a:pt x="1216" y="40"/>
                  </a:cubicBezTo>
                  <a:cubicBezTo>
                    <a:pt x="1176" y="28"/>
                    <a:pt x="1144" y="20"/>
                    <a:pt x="1104" y="16"/>
                  </a:cubicBezTo>
                  <a:cubicBezTo>
                    <a:pt x="1084" y="8"/>
                    <a:pt x="1064" y="4"/>
                    <a:pt x="1044" y="0"/>
                  </a:cubicBezTo>
                  <a:cubicBezTo>
                    <a:pt x="996" y="4"/>
                    <a:pt x="968" y="8"/>
                    <a:pt x="924" y="24"/>
                  </a:cubicBezTo>
                  <a:cubicBezTo>
                    <a:pt x="912" y="28"/>
                    <a:pt x="900" y="44"/>
                    <a:pt x="888" y="48"/>
                  </a:cubicBezTo>
                  <a:cubicBezTo>
                    <a:pt x="852" y="56"/>
                    <a:pt x="816" y="64"/>
                    <a:pt x="784" y="80"/>
                  </a:cubicBezTo>
                  <a:cubicBezTo>
                    <a:pt x="780" y="96"/>
                    <a:pt x="772" y="104"/>
                    <a:pt x="760" y="112"/>
                  </a:cubicBezTo>
                  <a:cubicBezTo>
                    <a:pt x="752" y="128"/>
                    <a:pt x="752" y="136"/>
                    <a:pt x="736" y="140"/>
                  </a:cubicBezTo>
                  <a:cubicBezTo>
                    <a:pt x="708" y="168"/>
                    <a:pt x="720" y="156"/>
                    <a:pt x="700" y="172"/>
                  </a:cubicBezTo>
                  <a:cubicBezTo>
                    <a:pt x="688" y="208"/>
                    <a:pt x="648" y="200"/>
                    <a:pt x="612" y="224"/>
                  </a:cubicBezTo>
                  <a:cubicBezTo>
                    <a:pt x="492" y="232"/>
                    <a:pt x="336" y="264"/>
                    <a:pt x="192" y="272"/>
                  </a:cubicBezTo>
                  <a:cubicBezTo>
                    <a:pt x="72" y="264"/>
                    <a:pt x="152" y="252"/>
                    <a:pt x="96" y="196"/>
                  </a:cubicBezTo>
                  <a:cubicBezTo>
                    <a:pt x="88" y="168"/>
                    <a:pt x="80" y="172"/>
                    <a:pt x="60" y="160"/>
                  </a:cubicBezTo>
                  <a:cubicBezTo>
                    <a:pt x="48" y="191"/>
                    <a:pt x="33" y="242"/>
                    <a:pt x="16" y="244"/>
                  </a:cubicBezTo>
                  <a:cubicBezTo>
                    <a:pt x="0" y="288"/>
                    <a:pt x="27" y="326"/>
                    <a:pt x="36" y="370"/>
                  </a:cubicBezTo>
                  <a:cubicBezTo>
                    <a:pt x="39" y="397"/>
                    <a:pt x="43" y="406"/>
                    <a:pt x="51" y="410"/>
                  </a:cubicBezTo>
                  <a:cubicBezTo>
                    <a:pt x="86" y="415"/>
                    <a:pt x="108" y="424"/>
                    <a:pt x="124" y="432"/>
                  </a:cubicBezTo>
                  <a:cubicBezTo>
                    <a:pt x="136" y="448"/>
                    <a:pt x="140" y="448"/>
                    <a:pt x="156" y="460"/>
                  </a:cubicBezTo>
                  <a:cubicBezTo>
                    <a:pt x="169" y="502"/>
                    <a:pt x="142" y="523"/>
                    <a:pt x="129" y="541"/>
                  </a:cubicBezTo>
                  <a:cubicBezTo>
                    <a:pt x="115" y="557"/>
                    <a:pt x="91" y="559"/>
                    <a:pt x="84" y="571"/>
                  </a:cubicBezTo>
                  <a:cubicBezTo>
                    <a:pt x="80" y="592"/>
                    <a:pt x="80" y="583"/>
                    <a:pt x="88" y="603"/>
                  </a:cubicBezTo>
                  <a:cubicBezTo>
                    <a:pt x="92" y="626"/>
                    <a:pt x="87" y="637"/>
                    <a:pt x="86" y="662"/>
                  </a:cubicBezTo>
                  <a:cubicBezTo>
                    <a:pt x="89" y="695"/>
                    <a:pt x="86" y="715"/>
                    <a:pt x="78" y="739"/>
                  </a:cubicBezTo>
                  <a:cubicBezTo>
                    <a:pt x="84" y="755"/>
                    <a:pt x="79" y="754"/>
                    <a:pt x="93" y="764"/>
                  </a:cubicBezTo>
                  <a:cubicBezTo>
                    <a:pt x="107" y="774"/>
                    <a:pt x="139" y="787"/>
                    <a:pt x="160" y="799"/>
                  </a:cubicBezTo>
                  <a:cubicBezTo>
                    <a:pt x="183" y="817"/>
                    <a:pt x="201" y="817"/>
                    <a:pt x="216" y="835"/>
                  </a:cubicBezTo>
                  <a:cubicBezTo>
                    <a:pt x="232" y="859"/>
                    <a:pt x="245" y="878"/>
                    <a:pt x="252" y="907"/>
                  </a:cubicBezTo>
                  <a:cubicBezTo>
                    <a:pt x="248" y="943"/>
                    <a:pt x="244" y="963"/>
                    <a:pt x="248" y="999"/>
                  </a:cubicBezTo>
                  <a:cubicBezTo>
                    <a:pt x="252" y="983"/>
                    <a:pt x="269" y="977"/>
                    <a:pt x="269" y="977"/>
                  </a:cubicBezTo>
                  <a:cubicBezTo>
                    <a:pt x="311" y="961"/>
                    <a:pt x="422" y="956"/>
                    <a:pt x="438" y="956"/>
                  </a:cubicBezTo>
                  <a:cubicBezTo>
                    <a:pt x="444" y="941"/>
                    <a:pt x="447" y="931"/>
                    <a:pt x="450" y="923"/>
                  </a:cubicBezTo>
                  <a:cubicBezTo>
                    <a:pt x="477" y="911"/>
                    <a:pt x="480" y="899"/>
                    <a:pt x="500" y="878"/>
                  </a:cubicBezTo>
                  <a:cubicBezTo>
                    <a:pt x="516" y="866"/>
                    <a:pt x="516" y="869"/>
                    <a:pt x="536" y="865"/>
                  </a:cubicBezTo>
                  <a:cubicBezTo>
                    <a:pt x="568" y="869"/>
                    <a:pt x="576" y="875"/>
                    <a:pt x="600" y="887"/>
                  </a:cubicBezTo>
                  <a:cubicBezTo>
                    <a:pt x="650" y="920"/>
                    <a:pt x="668" y="907"/>
                    <a:pt x="720" y="911"/>
                  </a:cubicBezTo>
                  <a:cubicBezTo>
                    <a:pt x="753" y="911"/>
                    <a:pt x="777" y="913"/>
                    <a:pt x="819" y="898"/>
                  </a:cubicBezTo>
                  <a:cubicBezTo>
                    <a:pt x="831" y="894"/>
                    <a:pt x="848" y="881"/>
                    <a:pt x="852" y="883"/>
                  </a:cubicBezTo>
                  <a:cubicBezTo>
                    <a:pt x="869" y="859"/>
                    <a:pt x="900" y="863"/>
                    <a:pt x="928" y="855"/>
                  </a:cubicBezTo>
                  <a:cubicBezTo>
                    <a:pt x="948" y="827"/>
                    <a:pt x="931" y="802"/>
                    <a:pt x="924" y="770"/>
                  </a:cubicBezTo>
                  <a:cubicBezTo>
                    <a:pt x="904" y="753"/>
                    <a:pt x="917" y="722"/>
                    <a:pt x="917" y="722"/>
                  </a:cubicBezTo>
                  <a:cubicBezTo>
                    <a:pt x="933" y="719"/>
                    <a:pt x="925" y="718"/>
                    <a:pt x="941" y="730"/>
                  </a:cubicBezTo>
                  <a:cubicBezTo>
                    <a:pt x="951" y="745"/>
                    <a:pt x="955" y="743"/>
                    <a:pt x="965" y="749"/>
                  </a:cubicBezTo>
                  <a:cubicBezTo>
                    <a:pt x="975" y="755"/>
                    <a:pt x="1001" y="769"/>
                    <a:pt x="1002" y="767"/>
                  </a:cubicBezTo>
                  <a:cubicBezTo>
                    <a:pt x="992" y="728"/>
                    <a:pt x="973" y="745"/>
                    <a:pt x="969" y="737"/>
                  </a:cubicBezTo>
                  <a:cubicBezTo>
                    <a:pt x="965" y="729"/>
                    <a:pt x="971" y="722"/>
                    <a:pt x="975" y="716"/>
                  </a:cubicBezTo>
                  <a:cubicBezTo>
                    <a:pt x="979" y="716"/>
                    <a:pt x="988" y="701"/>
                    <a:pt x="992" y="701"/>
                  </a:cubicBezTo>
                  <a:cubicBezTo>
                    <a:pt x="996" y="697"/>
                    <a:pt x="995" y="689"/>
                    <a:pt x="995" y="685"/>
                  </a:cubicBezTo>
                  <a:cubicBezTo>
                    <a:pt x="995" y="673"/>
                    <a:pt x="1003" y="663"/>
                    <a:pt x="1007" y="655"/>
                  </a:cubicBezTo>
                  <a:cubicBezTo>
                    <a:pt x="1011" y="644"/>
                    <a:pt x="1029" y="642"/>
                    <a:pt x="1037" y="638"/>
                  </a:cubicBezTo>
                  <a:cubicBezTo>
                    <a:pt x="1065" y="620"/>
                    <a:pt x="1082" y="598"/>
                    <a:pt x="1118" y="586"/>
                  </a:cubicBezTo>
                  <a:cubicBezTo>
                    <a:pt x="1145" y="581"/>
                    <a:pt x="1157" y="602"/>
                    <a:pt x="1200" y="603"/>
                  </a:cubicBezTo>
                  <a:cubicBezTo>
                    <a:pt x="1222" y="603"/>
                    <a:pt x="1243" y="600"/>
                    <a:pt x="1257" y="596"/>
                  </a:cubicBezTo>
                  <a:cubicBezTo>
                    <a:pt x="1271" y="592"/>
                    <a:pt x="1266" y="583"/>
                    <a:pt x="1283" y="578"/>
                  </a:cubicBez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  <p:sp>
          <p:nvSpPr>
            <p:cNvPr id="280" name="Freeform 88"/>
            <p:cNvSpPr>
              <a:spLocks noChangeAspect="1"/>
            </p:cNvSpPr>
            <p:nvPr/>
          </p:nvSpPr>
          <p:spPr bwMode="auto">
            <a:xfrm>
              <a:off x="3124" y="3471"/>
              <a:ext cx="142" cy="130"/>
            </a:xfrm>
            <a:custGeom>
              <a:avLst/>
              <a:gdLst>
                <a:gd name="T0" fmla="*/ 0 w 559"/>
                <a:gd name="T1" fmla="*/ 0 h 512"/>
                <a:gd name="T2" fmla="*/ 0 w 559"/>
                <a:gd name="T3" fmla="*/ 0 h 512"/>
                <a:gd name="T4" fmla="*/ 0 w 559"/>
                <a:gd name="T5" fmla="*/ 0 h 512"/>
                <a:gd name="T6" fmla="*/ 0 w 559"/>
                <a:gd name="T7" fmla="*/ 0 h 512"/>
                <a:gd name="T8" fmla="*/ 0 w 559"/>
                <a:gd name="T9" fmla="*/ 0 h 512"/>
                <a:gd name="T10" fmla="*/ 0 w 559"/>
                <a:gd name="T11" fmla="*/ 0 h 512"/>
                <a:gd name="T12" fmla="*/ 0 w 559"/>
                <a:gd name="T13" fmla="*/ 0 h 512"/>
                <a:gd name="T14" fmla="*/ 0 w 559"/>
                <a:gd name="T15" fmla="*/ 0 h 512"/>
                <a:gd name="T16" fmla="*/ 0 w 559"/>
                <a:gd name="T17" fmla="*/ 0 h 512"/>
                <a:gd name="T18" fmla="*/ 0 w 559"/>
                <a:gd name="T19" fmla="*/ 0 h 512"/>
                <a:gd name="T20" fmla="*/ 0 w 559"/>
                <a:gd name="T21" fmla="*/ 0 h 512"/>
                <a:gd name="T22" fmla="*/ 0 w 559"/>
                <a:gd name="T23" fmla="*/ 0 h 512"/>
                <a:gd name="T24" fmla="*/ 0 w 559"/>
                <a:gd name="T25" fmla="*/ 0 h 512"/>
                <a:gd name="T26" fmla="*/ 0 w 559"/>
                <a:gd name="T27" fmla="*/ 0 h 512"/>
                <a:gd name="T28" fmla="*/ 0 w 559"/>
                <a:gd name="T29" fmla="*/ 0 h 512"/>
                <a:gd name="T30" fmla="*/ 0 w 559"/>
                <a:gd name="T31" fmla="*/ 0 h 512"/>
                <a:gd name="T32" fmla="*/ 0 w 559"/>
                <a:gd name="T33" fmla="*/ 0 h 512"/>
                <a:gd name="T34" fmla="*/ 0 w 559"/>
                <a:gd name="T35" fmla="*/ 0 h 512"/>
                <a:gd name="T36" fmla="*/ 0 w 559"/>
                <a:gd name="T37" fmla="*/ 0 h 512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559"/>
                <a:gd name="T58" fmla="*/ 0 h 512"/>
                <a:gd name="T59" fmla="*/ 559 w 559"/>
                <a:gd name="T60" fmla="*/ 512 h 512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559" h="512">
                  <a:moveTo>
                    <a:pt x="380" y="28"/>
                  </a:moveTo>
                  <a:cubicBezTo>
                    <a:pt x="310" y="36"/>
                    <a:pt x="242" y="57"/>
                    <a:pt x="200" y="83"/>
                  </a:cubicBezTo>
                  <a:cubicBezTo>
                    <a:pt x="184" y="87"/>
                    <a:pt x="155" y="102"/>
                    <a:pt x="155" y="102"/>
                  </a:cubicBezTo>
                  <a:cubicBezTo>
                    <a:pt x="110" y="107"/>
                    <a:pt x="74" y="123"/>
                    <a:pt x="52" y="160"/>
                  </a:cubicBezTo>
                  <a:cubicBezTo>
                    <a:pt x="48" y="180"/>
                    <a:pt x="49" y="188"/>
                    <a:pt x="32" y="200"/>
                  </a:cubicBezTo>
                  <a:cubicBezTo>
                    <a:pt x="16" y="220"/>
                    <a:pt x="5" y="227"/>
                    <a:pt x="0" y="268"/>
                  </a:cubicBezTo>
                  <a:cubicBezTo>
                    <a:pt x="4" y="308"/>
                    <a:pt x="5" y="341"/>
                    <a:pt x="16" y="380"/>
                  </a:cubicBezTo>
                  <a:cubicBezTo>
                    <a:pt x="23" y="401"/>
                    <a:pt x="27" y="421"/>
                    <a:pt x="43" y="437"/>
                  </a:cubicBezTo>
                  <a:cubicBezTo>
                    <a:pt x="51" y="457"/>
                    <a:pt x="76" y="467"/>
                    <a:pt x="80" y="484"/>
                  </a:cubicBezTo>
                  <a:cubicBezTo>
                    <a:pt x="94" y="494"/>
                    <a:pt x="101" y="491"/>
                    <a:pt x="121" y="512"/>
                  </a:cubicBezTo>
                  <a:cubicBezTo>
                    <a:pt x="154" y="503"/>
                    <a:pt x="184" y="492"/>
                    <a:pt x="216" y="484"/>
                  </a:cubicBezTo>
                  <a:cubicBezTo>
                    <a:pt x="248" y="477"/>
                    <a:pt x="275" y="468"/>
                    <a:pt x="298" y="456"/>
                  </a:cubicBezTo>
                  <a:cubicBezTo>
                    <a:pt x="313" y="447"/>
                    <a:pt x="317" y="440"/>
                    <a:pt x="329" y="426"/>
                  </a:cubicBezTo>
                  <a:cubicBezTo>
                    <a:pt x="356" y="395"/>
                    <a:pt x="352" y="397"/>
                    <a:pt x="392" y="369"/>
                  </a:cubicBezTo>
                  <a:cubicBezTo>
                    <a:pt x="433" y="360"/>
                    <a:pt x="542" y="398"/>
                    <a:pt x="556" y="284"/>
                  </a:cubicBezTo>
                  <a:cubicBezTo>
                    <a:pt x="555" y="257"/>
                    <a:pt x="557" y="233"/>
                    <a:pt x="559" y="198"/>
                  </a:cubicBezTo>
                  <a:cubicBezTo>
                    <a:pt x="552" y="166"/>
                    <a:pt x="535" y="140"/>
                    <a:pt x="508" y="116"/>
                  </a:cubicBezTo>
                  <a:cubicBezTo>
                    <a:pt x="464" y="92"/>
                    <a:pt x="432" y="68"/>
                    <a:pt x="396" y="56"/>
                  </a:cubicBezTo>
                  <a:cubicBezTo>
                    <a:pt x="392" y="48"/>
                    <a:pt x="380" y="0"/>
                    <a:pt x="380" y="28"/>
                  </a:cubicBez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  <p:sp>
          <p:nvSpPr>
            <p:cNvPr id="281" name="Freeform 89"/>
            <p:cNvSpPr>
              <a:spLocks noChangeAspect="1"/>
            </p:cNvSpPr>
            <p:nvPr/>
          </p:nvSpPr>
          <p:spPr bwMode="auto">
            <a:xfrm>
              <a:off x="3053" y="3476"/>
              <a:ext cx="117" cy="232"/>
            </a:xfrm>
            <a:custGeom>
              <a:avLst/>
              <a:gdLst>
                <a:gd name="T0" fmla="*/ 0 w 467"/>
                <a:gd name="T1" fmla="*/ 0 h 920"/>
                <a:gd name="T2" fmla="*/ 0 w 467"/>
                <a:gd name="T3" fmla="*/ 0 h 920"/>
                <a:gd name="T4" fmla="*/ 0 w 467"/>
                <a:gd name="T5" fmla="*/ 0 h 920"/>
                <a:gd name="T6" fmla="*/ 0 w 467"/>
                <a:gd name="T7" fmla="*/ 0 h 920"/>
                <a:gd name="T8" fmla="*/ 0 w 467"/>
                <a:gd name="T9" fmla="*/ 0 h 920"/>
                <a:gd name="T10" fmla="*/ 0 w 467"/>
                <a:gd name="T11" fmla="*/ 0 h 920"/>
                <a:gd name="T12" fmla="*/ 0 w 467"/>
                <a:gd name="T13" fmla="*/ 0 h 920"/>
                <a:gd name="T14" fmla="*/ 0 w 467"/>
                <a:gd name="T15" fmla="*/ 0 h 920"/>
                <a:gd name="T16" fmla="*/ 0 w 467"/>
                <a:gd name="T17" fmla="*/ 0 h 920"/>
                <a:gd name="T18" fmla="*/ 0 w 467"/>
                <a:gd name="T19" fmla="*/ 0 h 920"/>
                <a:gd name="T20" fmla="*/ 0 w 467"/>
                <a:gd name="T21" fmla="*/ 0 h 920"/>
                <a:gd name="T22" fmla="*/ 0 w 467"/>
                <a:gd name="T23" fmla="*/ 0 h 920"/>
                <a:gd name="T24" fmla="*/ 0 w 467"/>
                <a:gd name="T25" fmla="*/ 0 h 920"/>
                <a:gd name="T26" fmla="*/ 0 w 467"/>
                <a:gd name="T27" fmla="*/ 0 h 920"/>
                <a:gd name="T28" fmla="*/ 0 w 467"/>
                <a:gd name="T29" fmla="*/ 0 h 920"/>
                <a:gd name="T30" fmla="*/ 0 w 467"/>
                <a:gd name="T31" fmla="*/ 0 h 920"/>
                <a:gd name="T32" fmla="*/ 0 w 467"/>
                <a:gd name="T33" fmla="*/ 0 h 920"/>
                <a:gd name="T34" fmla="*/ 0 w 467"/>
                <a:gd name="T35" fmla="*/ 0 h 920"/>
                <a:gd name="T36" fmla="*/ 0 w 467"/>
                <a:gd name="T37" fmla="*/ 0 h 920"/>
                <a:gd name="T38" fmla="*/ 0 w 467"/>
                <a:gd name="T39" fmla="*/ 0 h 920"/>
                <a:gd name="T40" fmla="*/ 0 w 467"/>
                <a:gd name="T41" fmla="*/ 0 h 920"/>
                <a:gd name="T42" fmla="*/ 0 w 467"/>
                <a:gd name="T43" fmla="*/ 0 h 920"/>
                <a:gd name="T44" fmla="*/ 0 w 467"/>
                <a:gd name="T45" fmla="*/ 0 h 920"/>
                <a:gd name="T46" fmla="*/ 0 w 467"/>
                <a:gd name="T47" fmla="*/ 0 h 920"/>
                <a:gd name="T48" fmla="*/ 0 w 467"/>
                <a:gd name="T49" fmla="*/ 0 h 920"/>
                <a:gd name="T50" fmla="*/ 0 w 467"/>
                <a:gd name="T51" fmla="*/ 0 h 920"/>
                <a:gd name="T52" fmla="*/ 0 w 467"/>
                <a:gd name="T53" fmla="*/ 0 h 920"/>
                <a:gd name="T54" fmla="*/ 0 w 467"/>
                <a:gd name="T55" fmla="*/ 0 h 920"/>
                <a:gd name="T56" fmla="*/ 0 w 467"/>
                <a:gd name="T57" fmla="*/ 0 h 920"/>
                <a:gd name="T58" fmla="*/ 0 w 467"/>
                <a:gd name="T59" fmla="*/ 0 h 920"/>
                <a:gd name="T60" fmla="*/ 0 w 467"/>
                <a:gd name="T61" fmla="*/ 0 h 920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467"/>
                <a:gd name="T94" fmla="*/ 0 h 920"/>
                <a:gd name="T95" fmla="*/ 467 w 467"/>
                <a:gd name="T96" fmla="*/ 920 h 920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467" h="920">
                  <a:moveTo>
                    <a:pt x="306" y="189"/>
                  </a:moveTo>
                  <a:cubicBezTo>
                    <a:pt x="294" y="186"/>
                    <a:pt x="283" y="154"/>
                    <a:pt x="291" y="134"/>
                  </a:cubicBezTo>
                  <a:cubicBezTo>
                    <a:pt x="285" y="119"/>
                    <a:pt x="278" y="105"/>
                    <a:pt x="273" y="93"/>
                  </a:cubicBezTo>
                  <a:cubicBezTo>
                    <a:pt x="259" y="84"/>
                    <a:pt x="230" y="90"/>
                    <a:pt x="209" y="78"/>
                  </a:cubicBezTo>
                  <a:cubicBezTo>
                    <a:pt x="186" y="68"/>
                    <a:pt x="191" y="56"/>
                    <a:pt x="185" y="50"/>
                  </a:cubicBezTo>
                  <a:cubicBezTo>
                    <a:pt x="175" y="43"/>
                    <a:pt x="159" y="36"/>
                    <a:pt x="147" y="35"/>
                  </a:cubicBezTo>
                  <a:cubicBezTo>
                    <a:pt x="139" y="47"/>
                    <a:pt x="138" y="35"/>
                    <a:pt x="122" y="39"/>
                  </a:cubicBezTo>
                  <a:cubicBezTo>
                    <a:pt x="94" y="31"/>
                    <a:pt x="102" y="18"/>
                    <a:pt x="84" y="0"/>
                  </a:cubicBezTo>
                  <a:cubicBezTo>
                    <a:pt x="54" y="23"/>
                    <a:pt x="41" y="54"/>
                    <a:pt x="31" y="74"/>
                  </a:cubicBezTo>
                  <a:cubicBezTo>
                    <a:pt x="23" y="102"/>
                    <a:pt x="18" y="111"/>
                    <a:pt x="8" y="129"/>
                  </a:cubicBezTo>
                  <a:cubicBezTo>
                    <a:pt x="0" y="149"/>
                    <a:pt x="3" y="135"/>
                    <a:pt x="17" y="146"/>
                  </a:cubicBezTo>
                  <a:cubicBezTo>
                    <a:pt x="26" y="164"/>
                    <a:pt x="29" y="176"/>
                    <a:pt x="35" y="192"/>
                  </a:cubicBezTo>
                  <a:cubicBezTo>
                    <a:pt x="39" y="228"/>
                    <a:pt x="51" y="258"/>
                    <a:pt x="87" y="274"/>
                  </a:cubicBezTo>
                  <a:cubicBezTo>
                    <a:pt x="91" y="290"/>
                    <a:pt x="87" y="294"/>
                    <a:pt x="79" y="310"/>
                  </a:cubicBezTo>
                  <a:cubicBezTo>
                    <a:pt x="67" y="350"/>
                    <a:pt x="87" y="634"/>
                    <a:pt x="103" y="642"/>
                  </a:cubicBezTo>
                  <a:cubicBezTo>
                    <a:pt x="119" y="674"/>
                    <a:pt x="131" y="714"/>
                    <a:pt x="143" y="746"/>
                  </a:cubicBezTo>
                  <a:cubicBezTo>
                    <a:pt x="147" y="762"/>
                    <a:pt x="207" y="766"/>
                    <a:pt x="223" y="770"/>
                  </a:cubicBezTo>
                  <a:cubicBezTo>
                    <a:pt x="235" y="778"/>
                    <a:pt x="239" y="790"/>
                    <a:pt x="255" y="794"/>
                  </a:cubicBezTo>
                  <a:cubicBezTo>
                    <a:pt x="279" y="834"/>
                    <a:pt x="308" y="884"/>
                    <a:pt x="332" y="920"/>
                  </a:cubicBezTo>
                  <a:cubicBezTo>
                    <a:pt x="341" y="897"/>
                    <a:pt x="326" y="840"/>
                    <a:pt x="327" y="807"/>
                  </a:cubicBezTo>
                  <a:cubicBezTo>
                    <a:pt x="335" y="774"/>
                    <a:pt x="288" y="749"/>
                    <a:pt x="384" y="720"/>
                  </a:cubicBezTo>
                  <a:cubicBezTo>
                    <a:pt x="396" y="696"/>
                    <a:pt x="405" y="674"/>
                    <a:pt x="398" y="644"/>
                  </a:cubicBezTo>
                  <a:cubicBezTo>
                    <a:pt x="384" y="617"/>
                    <a:pt x="402" y="611"/>
                    <a:pt x="434" y="599"/>
                  </a:cubicBezTo>
                  <a:cubicBezTo>
                    <a:pt x="467" y="609"/>
                    <a:pt x="453" y="581"/>
                    <a:pt x="437" y="542"/>
                  </a:cubicBezTo>
                  <a:cubicBezTo>
                    <a:pt x="429" y="530"/>
                    <a:pt x="431" y="516"/>
                    <a:pt x="423" y="504"/>
                  </a:cubicBezTo>
                  <a:cubicBezTo>
                    <a:pt x="419" y="496"/>
                    <a:pt x="403" y="494"/>
                    <a:pt x="403" y="494"/>
                  </a:cubicBezTo>
                  <a:cubicBezTo>
                    <a:pt x="391" y="482"/>
                    <a:pt x="367" y="466"/>
                    <a:pt x="367" y="466"/>
                  </a:cubicBezTo>
                  <a:cubicBezTo>
                    <a:pt x="355" y="450"/>
                    <a:pt x="342" y="434"/>
                    <a:pt x="327" y="422"/>
                  </a:cubicBezTo>
                  <a:cubicBezTo>
                    <a:pt x="315" y="402"/>
                    <a:pt x="295" y="374"/>
                    <a:pt x="291" y="334"/>
                  </a:cubicBezTo>
                  <a:cubicBezTo>
                    <a:pt x="285" y="304"/>
                    <a:pt x="281" y="263"/>
                    <a:pt x="282" y="243"/>
                  </a:cubicBezTo>
                  <a:cubicBezTo>
                    <a:pt x="285" y="219"/>
                    <a:pt x="303" y="195"/>
                    <a:pt x="306" y="189"/>
                  </a:cubicBez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  <p:grpSp>
          <p:nvGrpSpPr>
            <p:cNvPr id="282" name="Group 90"/>
            <p:cNvGrpSpPr>
              <a:grpSpLocks/>
            </p:cNvGrpSpPr>
            <p:nvPr/>
          </p:nvGrpSpPr>
          <p:grpSpPr bwMode="auto">
            <a:xfrm>
              <a:off x="3434" y="3438"/>
              <a:ext cx="173" cy="170"/>
              <a:chOff x="6214" y="7863"/>
              <a:chExt cx="684" cy="671"/>
            </a:xfrm>
            <a:grpFill/>
          </p:grpSpPr>
          <p:sp>
            <p:nvSpPr>
              <p:cNvPr id="317" name="Freeform 92"/>
              <p:cNvSpPr>
                <a:spLocks noChangeAspect="1"/>
              </p:cNvSpPr>
              <p:nvPr/>
            </p:nvSpPr>
            <p:spPr bwMode="auto">
              <a:xfrm>
                <a:off x="6214" y="8466"/>
                <a:ext cx="64" cy="68"/>
              </a:xfrm>
              <a:custGeom>
                <a:avLst/>
                <a:gdLst>
                  <a:gd name="T0" fmla="*/ 2147483647 w 16"/>
                  <a:gd name="T1" fmla="*/ 2147483647 h 17"/>
                  <a:gd name="T2" fmla="*/ 2147483647 w 16"/>
                  <a:gd name="T3" fmla="*/ 2147483647 h 17"/>
                  <a:gd name="T4" fmla="*/ 2147483647 w 16"/>
                  <a:gd name="T5" fmla="*/ 2147483647 h 17"/>
                  <a:gd name="T6" fmla="*/ 2147483647 w 16"/>
                  <a:gd name="T7" fmla="*/ 2147483647 h 17"/>
                  <a:gd name="T8" fmla="*/ 2147483647 w 16"/>
                  <a:gd name="T9" fmla="*/ 2147483647 h 1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6"/>
                  <a:gd name="T16" fmla="*/ 0 h 17"/>
                  <a:gd name="T17" fmla="*/ 16 w 16"/>
                  <a:gd name="T18" fmla="*/ 17 h 1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6" h="17">
                    <a:moveTo>
                      <a:pt x="13" y="3"/>
                    </a:moveTo>
                    <a:cubicBezTo>
                      <a:pt x="10" y="5"/>
                      <a:pt x="7" y="7"/>
                      <a:pt x="3" y="8"/>
                    </a:cubicBezTo>
                    <a:cubicBezTo>
                      <a:pt x="1" y="15"/>
                      <a:pt x="0" y="12"/>
                      <a:pt x="2" y="17"/>
                    </a:cubicBezTo>
                    <a:cubicBezTo>
                      <a:pt x="6" y="16"/>
                      <a:pt x="8" y="14"/>
                      <a:pt x="12" y="13"/>
                    </a:cubicBezTo>
                    <a:cubicBezTo>
                      <a:pt x="13" y="11"/>
                      <a:pt x="16" y="0"/>
                      <a:pt x="13" y="3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18" name="Freeform 93"/>
              <p:cNvSpPr>
                <a:spLocks noChangeAspect="1"/>
              </p:cNvSpPr>
              <p:nvPr/>
            </p:nvSpPr>
            <p:spPr bwMode="auto">
              <a:xfrm>
                <a:off x="6258" y="7863"/>
                <a:ext cx="640" cy="623"/>
              </a:xfrm>
              <a:custGeom>
                <a:avLst/>
                <a:gdLst>
                  <a:gd name="T0" fmla="*/ 340 w 640"/>
                  <a:gd name="T1" fmla="*/ 20 h 623"/>
                  <a:gd name="T2" fmla="*/ 384 w 640"/>
                  <a:gd name="T3" fmla="*/ 92 h 623"/>
                  <a:gd name="T4" fmla="*/ 468 w 640"/>
                  <a:gd name="T5" fmla="*/ 140 h 623"/>
                  <a:gd name="T6" fmla="*/ 604 w 640"/>
                  <a:gd name="T7" fmla="*/ 156 h 623"/>
                  <a:gd name="T8" fmla="*/ 588 w 640"/>
                  <a:gd name="T9" fmla="*/ 248 h 623"/>
                  <a:gd name="T10" fmla="*/ 516 w 640"/>
                  <a:gd name="T11" fmla="*/ 252 h 623"/>
                  <a:gd name="T12" fmla="*/ 472 w 640"/>
                  <a:gd name="T13" fmla="*/ 264 h 623"/>
                  <a:gd name="T14" fmla="*/ 388 w 640"/>
                  <a:gd name="T15" fmla="*/ 284 h 623"/>
                  <a:gd name="T16" fmla="*/ 324 w 640"/>
                  <a:gd name="T17" fmla="*/ 312 h 623"/>
                  <a:gd name="T18" fmla="*/ 280 w 640"/>
                  <a:gd name="T19" fmla="*/ 395 h 623"/>
                  <a:gd name="T20" fmla="*/ 208 w 640"/>
                  <a:gd name="T21" fmla="*/ 451 h 623"/>
                  <a:gd name="T22" fmla="*/ 160 w 640"/>
                  <a:gd name="T23" fmla="*/ 519 h 623"/>
                  <a:gd name="T24" fmla="*/ 84 w 640"/>
                  <a:gd name="T25" fmla="*/ 591 h 623"/>
                  <a:gd name="T26" fmla="*/ 56 w 640"/>
                  <a:gd name="T27" fmla="*/ 599 h 623"/>
                  <a:gd name="T28" fmla="*/ 100 w 640"/>
                  <a:gd name="T29" fmla="*/ 519 h 623"/>
                  <a:gd name="T30" fmla="*/ 124 w 640"/>
                  <a:gd name="T31" fmla="*/ 487 h 623"/>
                  <a:gd name="T32" fmla="*/ 72 w 640"/>
                  <a:gd name="T33" fmla="*/ 491 h 623"/>
                  <a:gd name="T34" fmla="*/ 0 w 640"/>
                  <a:gd name="T35" fmla="*/ 475 h 623"/>
                  <a:gd name="T36" fmla="*/ 28 w 640"/>
                  <a:gd name="T37" fmla="*/ 439 h 623"/>
                  <a:gd name="T38" fmla="*/ 48 w 640"/>
                  <a:gd name="T39" fmla="*/ 384 h 623"/>
                  <a:gd name="T40" fmla="*/ 38 w 640"/>
                  <a:gd name="T41" fmla="*/ 342 h 623"/>
                  <a:gd name="T42" fmla="*/ 81 w 640"/>
                  <a:gd name="T43" fmla="*/ 254 h 623"/>
                  <a:gd name="T44" fmla="*/ 42 w 640"/>
                  <a:gd name="T45" fmla="*/ 209 h 623"/>
                  <a:gd name="T46" fmla="*/ 4 w 640"/>
                  <a:gd name="T47" fmla="*/ 176 h 623"/>
                  <a:gd name="T48" fmla="*/ 28 w 640"/>
                  <a:gd name="T49" fmla="*/ 144 h 623"/>
                  <a:gd name="T50" fmla="*/ 48 w 640"/>
                  <a:gd name="T51" fmla="*/ 88 h 623"/>
                  <a:gd name="T52" fmla="*/ 72 w 640"/>
                  <a:gd name="T53" fmla="*/ 80 h 623"/>
                  <a:gd name="T54" fmla="*/ 156 w 640"/>
                  <a:gd name="T55" fmla="*/ 24 h 623"/>
                  <a:gd name="T56" fmla="*/ 216 w 640"/>
                  <a:gd name="T57" fmla="*/ 40 h 623"/>
                  <a:gd name="T58" fmla="*/ 296 w 640"/>
                  <a:gd name="T59" fmla="*/ 36 h 623"/>
                  <a:gd name="T60" fmla="*/ 340 w 640"/>
                  <a:gd name="T61" fmla="*/ 20 h 623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640"/>
                  <a:gd name="T94" fmla="*/ 0 h 623"/>
                  <a:gd name="T95" fmla="*/ 640 w 640"/>
                  <a:gd name="T96" fmla="*/ 623 h 623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640" h="623">
                    <a:moveTo>
                      <a:pt x="340" y="20"/>
                    </a:moveTo>
                    <a:cubicBezTo>
                      <a:pt x="352" y="56"/>
                      <a:pt x="352" y="72"/>
                      <a:pt x="384" y="92"/>
                    </a:cubicBezTo>
                    <a:cubicBezTo>
                      <a:pt x="400" y="136"/>
                      <a:pt x="424" y="136"/>
                      <a:pt x="468" y="140"/>
                    </a:cubicBezTo>
                    <a:cubicBezTo>
                      <a:pt x="512" y="148"/>
                      <a:pt x="604" y="156"/>
                      <a:pt x="604" y="156"/>
                    </a:cubicBezTo>
                    <a:cubicBezTo>
                      <a:pt x="640" y="168"/>
                      <a:pt x="616" y="244"/>
                      <a:pt x="588" y="248"/>
                    </a:cubicBezTo>
                    <a:cubicBezTo>
                      <a:pt x="564" y="252"/>
                      <a:pt x="540" y="252"/>
                      <a:pt x="516" y="252"/>
                    </a:cubicBezTo>
                    <a:cubicBezTo>
                      <a:pt x="500" y="256"/>
                      <a:pt x="472" y="264"/>
                      <a:pt x="472" y="264"/>
                    </a:cubicBezTo>
                    <a:cubicBezTo>
                      <a:pt x="444" y="284"/>
                      <a:pt x="424" y="280"/>
                      <a:pt x="388" y="284"/>
                    </a:cubicBezTo>
                    <a:cubicBezTo>
                      <a:pt x="368" y="292"/>
                      <a:pt x="344" y="300"/>
                      <a:pt x="324" y="312"/>
                    </a:cubicBezTo>
                    <a:cubicBezTo>
                      <a:pt x="316" y="339"/>
                      <a:pt x="312" y="383"/>
                      <a:pt x="280" y="395"/>
                    </a:cubicBezTo>
                    <a:cubicBezTo>
                      <a:pt x="264" y="415"/>
                      <a:pt x="232" y="443"/>
                      <a:pt x="208" y="451"/>
                    </a:cubicBezTo>
                    <a:cubicBezTo>
                      <a:pt x="196" y="471"/>
                      <a:pt x="180" y="507"/>
                      <a:pt x="160" y="519"/>
                    </a:cubicBezTo>
                    <a:cubicBezTo>
                      <a:pt x="152" y="535"/>
                      <a:pt x="104" y="583"/>
                      <a:pt x="84" y="591"/>
                    </a:cubicBezTo>
                    <a:cubicBezTo>
                      <a:pt x="80" y="615"/>
                      <a:pt x="68" y="623"/>
                      <a:pt x="56" y="599"/>
                    </a:cubicBezTo>
                    <a:cubicBezTo>
                      <a:pt x="64" y="579"/>
                      <a:pt x="80" y="531"/>
                      <a:pt x="100" y="519"/>
                    </a:cubicBezTo>
                    <a:cubicBezTo>
                      <a:pt x="108" y="499"/>
                      <a:pt x="120" y="503"/>
                      <a:pt x="124" y="487"/>
                    </a:cubicBezTo>
                    <a:cubicBezTo>
                      <a:pt x="116" y="447"/>
                      <a:pt x="96" y="483"/>
                      <a:pt x="72" y="491"/>
                    </a:cubicBezTo>
                    <a:cubicBezTo>
                      <a:pt x="40" y="487"/>
                      <a:pt x="28" y="479"/>
                      <a:pt x="0" y="475"/>
                    </a:cubicBezTo>
                    <a:cubicBezTo>
                      <a:pt x="12" y="463"/>
                      <a:pt x="16" y="451"/>
                      <a:pt x="28" y="439"/>
                    </a:cubicBezTo>
                    <a:cubicBezTo>
                      <a:pt x="32" y="423"/>
                      <a:pt x="44" y="400"/>
                      <a:pt x="48" y="384"/>
                    </a:cubicBezTo>
                    <a:cubicBezTo>
                      <a:pt x="44" y="364"/>
                      <a:pt x="46" y="362"/>
                      <a:pt x="38" y="342"/>
                    </a:cubicBezTo>
                    <a:cubicBezTo>
                      <a:pt x="42" y="303"/>
                      <a:pt x="59" y="275"/>
                      <a:pt x="81" y="254"/>
                    </a:cubicBezTo>
                    <a:cubicBezTo>
                      <a:pt x="83" y="232"/>
                      <a:pt x="55" y="222"/>
                      <a:pt x="42" y="209"/>
                    </a:cubicBezTo>
                    <a:cubicBezTo>
                      <a:pt x="38" y="194"/>
                      <a:pt x="42" y="183"/>
                      <a:pt x="4" y="176"/>
                    </a:cubicBezTo>
                    <a:cubicBezTo>
                      <a:pt x="8" y="160"/>
                      <a:pt x="16" y="152"/>
                      <a:pt x="28" y="144"/>
                    </a:cubicBezTo>
                    <a:cubicBezTo>
                      <a:pt x="36" y="128"/>
                      <a:pt x="40" y="100"/>
                      <a:pt x="48" y="88"/>
                    </a:cubicBezTo>
                    <a:cubicBezTo>
                      <a:pt x="52" y="80"/>
                      <a:pt x="64" y="84"/>
                      <a:pt x="72" y="80"/>
                    </a:cubicBezTo>
                    <a:cubicBezTo>
                      <a:pt x="100" y="60"/>
                      <a:pt x="128" y="44"/>
                      <a:pt x="156" y="24"/>
                    </a:cubicBezTo>
                    <a:cubicBezTo>
                      <a:pt x="176" y="28"/>
                      <a:pt x="216" y="40"/>
                      <a:pt x="216" y="40"/>
                    </a:cubicBezTo>
                    <a:cubicBezTo>
                      <a:pt x="236" y="56"/>
                      <a:pt x="272" y="36"/>
                      <a:pt x="296" y="36"/>
                    </a:cubicBezTo>
                    <a:cubicBezTo>
                      <a:pt x="300" y="32"/>
                      <a:pt x="340" y="0"/>
                      <a:pt x="340" y="2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</p:grpSp>
        <p:sp>
          <p:nvSpPr>
            <p:cNvPr id="283" name="Freeform 94"/>
            <p:cNvSpPr>
              <a:spLocks noChangeAspect="1"/>
            </p:cNvSpPr>
            <p:nvPr/>
          </p:nvSpPr>
          <p:spPr bwMode="auto">
            <a:xfrm>
              <a:off x="2842" y="3300"/>
              <a:ext cx="211" cy="192"/>
            </a:xfrm>
            <a:custGeom>
              <a:avLst/>
              <a:gdLst>
                <a:gd name="T0" fmla="*/ 0 w 837"/>
                <a:gd name="T1" fmla="*/ 0 h 756"/>
                <a:gd name="T2" fmla="*/ 0 w 837"/>
                <a:gd name="T3" fmla="*/ 0 h 756"/>
                <a:gd name="T4" fmla="*/ 0 w 837"/>
                <a:gd name="T5" fmla="*/ 0 h 756"/>
                <a:gd name="T6" fmla="*/ 0 w 837"/>
                <a:gd name="T7" fmla="*/ 0 h 756"/>
                <a:gd name="T8" fmla="*/ 0 w 837"/>
                <a:gd name="T9" fmla="*/ 0 h 756"/>
                <a:gd name="T10" fmla="*/ 0 w 837"/>
                <a:gd name="T11" fmla="*/ 0 h 756"/>
                <a:gd name="T12" fmla="*/ 0 w 837"/>
                <a:gd name="T13" fmla="*/ 0 h 756"/>
                <a:gd name="T14" fmla="*/ 0 w 837"/>
                <a:gd name="T15" fmla="*/ 0 h 756"/>
                <a:gd name="T16" fmla="*/ 0 w 837"/>
                <a:gd name="T17" fmla="*/ 0 h 756"/>
                <a:gd name="T18" fmla="*/ 0 w 837"/>
                <a:gd name="T19" fmla="*/ 0 h 756"/>
                <a:gd name="T20" fmla="*/ 0 w 837"/>
                <a:gd name="T21" fmla="*/ 0 h 756"/>
                <a:gd name="T22" fmla="*/ 0 w 837"/>
                <a:gd name="T23" fmla="*/ 0 h 756"/>
                <a:gd name="T24" fmla="*/ 0 w 837"/>
                <a:gd name="T25" fmla="*/ 0 h 756"/>
                <a:gd name="T26" fmla="*/ 0 w 837"/>
                <a:gd name="T27" fmla="*/ 0 h 756"/>
                <a:gd name="T28" fmla="*/ 0 w 837"/>
                <a:gd name="T29" fmla="*/ 0 h 756"/>
                <a:gd name="T30" fmla="*/ 0 w 837"/>
                <a:gd name="T31" fmla="*/ 0 h 756"/>
                <a:gd name="T32" fmla="*/ 0 w 837"/>
                <a:gd name="T33" fmla="*/ 0 h 756"/>
                <a:gd name="T34" fmla="*/ 0 w 837"/>
                <a:gd name="T35" fmla="*/ 0 h 756"/>
                <a:gd name="T36" fmla="*/ 0 w 837"/>
                <a:gd name="T37" fmla="*/ 0 h 756"/>
                <a:gd name="T38" fmla="*/ 0 w 837"/>
                <a:gd name="T39" fmla="*/ 0 h 756"/>
                <a:gd name="T40" fmla="*/ 0 w 837"/>
                <a:gd name="T41" fmla="*/ 0 h 756"/>
                <a:gd name="T42" fmla="*/ 0 w 837"/>
                <a:gd name="T43" fmla="*/ 0 h 756"/>
                <a:gd name="T44" fmla="*/ 0 w 837"/>
                <a:gd name="T45" fmla="*/ 0 h 756"/>
                <a:gd name="T46" fmla="*/ 0 w 837"/>
                <a:gd name="T47" fmla="*/ 0 h 756"/>
                <a:gd name="T48" fmla="*/ 0 w 837"/>
                <a:gd name="T49" fmla="*/ 0 h 756"/>
                <a:gd name="T50" fmla="*/ 0 w 837"/>
                <a:gd name="T51" fmla="*/ 0 h 756"/>
                <a:gd name="T52" fmla="*/ 0 w 837"/>
                <a:gd name="T53" fmla="*/ 0 h 756"/>
                <a:gd name="T54" fmla="*/ 0 w 837"/>
                <a:gd name="T55" fmla="*/ 0 h 756"/>
                <a:gd name="T56" fmla="*/ 0 w 837"/>
                <a:gd name="T57" fmla="*/ 0 h 756"/>
                <a:gd name="T58" fmla="*/ 0 w 837"/>
                <a:gd name="T59" fmla="*/ 0 h 756"/>
                <a:gd name="T60" fmla="*/ 0 w 837"/>
                <a:gd name="T61" fmla="*/ 0 h 756"/>
                <a:gd name="T62" fmla="*/ 0 w 837"/>
                <a:gd name="T63" fmla="*/ 0 h 756"/>
                <a:gd name="T64" fmla="*/ 0 w 837"/>
                <a:gd name="T65" fmla="*/ 0 h 756"/>
                <a:gd name="T66" fmla="*/ 0 w 837"/>
                <a:gd name="T67" fmla="*/ 0 h 756"/>
                <a:gd name="T68" fmla="*/ 0 w 837"/>
                <a:gd name="T69" fmla="*/ 0 h 756"/>
                <a:gd name="T70" fmla="*/ 0 w 837"/>
                <a:gd name="T71" fmla="*/ 0 h 756"/>
                <a:gd name="T72" fmla="*/ 0 w 837"/>
                <a:gd name="T73" fmla="*/ 0 h 756"/>
                <a:gd name="T74" fmla="*/ 0 w 837"/>
                <a:gd name="T75" fmla="*/ 0 h 756"/>
                <a:gd name="T76" fmla="*/ 0 w 837"/>
                <a:gd name="T77" fmla="*/ 0 h 756"/>
                <a:gd name="T78" fmla="*/ 0 w 837"/>
                <a:gd name="T79" fmla="*/ 0 h 756"/>
                <a:gd name="T80" fmla="*/ 0 w 837"/>
                <a:gd name="T81" fmla="*/ 0 h 756"/>
                <a:gd name="T82" fmla="*/ 0 w 837"/>
                <a:gd name="T83" fmla="*/ 0 h 75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837"/>
                <a:gd name="T127" fmla="*/ 0 h 756"/>
                <a:gd name="T128" fmla="*/ 837 w 837"/>
                <a:gd name="T129" fmla="*/ 756 h 75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837" h="756">
                  <a:moveTo>
                    <a:pt x="710" y="24"/>
                  </a:moveTo>
                  <a:cubicBezTo>
                    <a:pt x="702" y="44"/>
                    <a:pt x="726" y="65"/>
                    <a:pt x="672" y="77"/>
                  </a:cubicBezTo>
                  <a:cubicBezTo>
                    <a:pt x="622" y="80"/>
                    <a:pt x="630" y="57"/>
                    <a:pt x="618" y="21"/>
                  </a:cubicBezTo>
                  <a:cubicBezTo>
                    <a:pt x="609" y="14"/>
                    <a:pt x="530" y="12"/>
                    <a:pt x="530" y="12"/>
                  </a:cubicBezTo>
                  <a:cubicBezTo>
                    <a:pt x="494" y="4"/>
                    <a:pt x="466" y="24"/>
                    <a:pt x="409" y="27"/>
                  </a:cubicBezTo>
                  <a:cubicBezTo>
                    <a:pt x="370" y="29"/>
                    <a:pt x="358" y="35"/>
                    <a:pt x="321" y="36"/>
                  </a:cubicBezTo>
                  <a:cubicBezTo>
                    <a:pt x="313" y="36"/>
                    <a:pt x="261" y="20"/>
                    <a:pt x="261" y="20"/>
                  </a:cubicBezTo>
                  <a:cubicBezTo>
                    <a:pt x="241" y="0"/>
                    <a:pt x="177" y="14"/>
                    <a:pt x="171" y="35"/>
                  </a:cubicBezTo>
                  <a:cubicBezTo>
                    <a:pt x="163" y="51"/>
                    <a:pt x="132" y="63"/>
                    <a:pt x="132" y="63"/>
                  </a:cubicBezTo>
                  <a:cubicBezTo>
                    <a:pt x="115" y="69"/>
                    <a:pt x="114" y="73"/>
                    <a:pt x="94" y="69"/>
                  </a:cubicBezTo>
                  <a:cubicBezTo>
                    <a:pt x="84" y="60"/>
                    <a:pt x="87" y="60"/>
                    <a:pt x="71" y="56"/>
                  </a:cubicBezTo>
                  <a:cubicBezTo>
                    <a:pt x="67" y="40"/>
                    <a:pt x="39" y="30"/>
                    <a:pt x="13" y="23"/>
                  </a:cubicBezTo>
                  <a:cubicBezTo>
                    <a:pt x="3" y="50"/>
                    <a:pt x="16" y="11"/>
                    <a:pt x="0" y="84"/>
                  </a:cubicBezTo>
                  <a:cubicBezTo>
                    <a:pt x="1" y="104"/>
                    <a:pt x="5" y="138"/>
                    <a:pt x="16" y="156"/>
                  </a:cubicBezTo>
                  <a:cubicBezTo>
                    <a:pt x="27" y="174"/>
                    <a:pt x="31" y="158"/>
                    <a:pt x="63" y="192"/>
                  </a:cubicBezTo>
                  <a:cubicBezTo>
                    <a:pt x="95" y="212"/>
                    <a:pt x="99" y="246"/>
                    <a:pt x="115" y="267"/>
                  </a:cubicBezTo>
                  <a:cubicBezTo>
                    <a:pt x="127" y="287"/>
                    <a:pt x="141" y="314"/>
                    <a:pt x="154" y="335"/>
                  </a:cubicBezTo>
                  <a:cubicBezTo>
                    <a:pt x="162" y="357"/>
                    <a:pt x="203" y="399"/>
                    <a:pt x="227" y="407"/>
                  </a:cubicBezTo>
                  <a:cubicBezTo>
                    <a:pt x="239" y="423"/>
                    <a:pt x="241" y="443"/>
                    <a:pt x="275" y="447"/>
                  </a:cubicBezTo>
                  <a:cubicBezTo>
                    <a:pt x="291" y="450"/>
                    <a:pt x="299" y="463"/>
                    <a:pt x="299" y="463"/>
                  </a:cubicBezTo>
                  <a:cubicBezTo>
                    <a:pt x="307" y="479"/>
                    <a:pt x="302" y="496"/>
                    <a:pt x="334" y="504"/>
                  </a:cubicBezTo>
                  <a:cubicBezTo>
                    <a:pt x="358" y="520"/>
                    <a:pt x="360" y="525"/>
                    <a:pt x="364" y="540"/>
                  </a:cubicBezTo>
                  <a:cubicBezTo>
                    <a:pt x="384" y="560"/>
                    <a:pt x="398" y="590"/>
                    <a:pt x="421" y="606"/>
                  </a:cubicBezTo>
                  <a:cubicBezTo>
                    <a:pt x="436" y="618"/>
                    <a:pt x="454" y="603"/>
                    <a:pt x="478" y="652"/>
                  </a:cubicBezTo>
                  <a:cubicBezTo>
                    <a:pt x="511" y="671"/>
                    <a:pt x="509" y="689"/>
                    <a:pt x="528" y="701"/>
                  </a:cubicBezTo>
                  <a:cubicBezTo>
                    <a:pt x="547" y="713"/>
                    <a:pt x="574" y="717"/>
                    <a:pt x="591" y="726"/>
                  </a:cubicBezTo>
                  <a:cubicBezTo>
                    <a:pt x="606" y="729"/>
                    <a:pt x="631" y="756"/>
                    <a:pt x="631" y="756"/>
                  </a:cubicBezTo>
                  <a:cubicBezTo>
                    <a:pt x="642" y="743"/>
                    <a:pt x="649" y="689"/>
                    <a:pt x="625" y="675"/>
                  </a:cubicBezTo>
                  <a:cubicBezTo>
                    <a:pt x="622" y="648"/>
                    <a:pt x="622" y="638"/>
                    <a:pt x="646" y="630"/>
                  </a:cubicBezTo>
                  <a:cubicBezTo>
                    <a:pt x="667" y="605"/>
                    <a:pt x="666" y="597"/>
                    <a:pt x="666" y="567"/>
                  </a:cubicBezTo>
                  <a:cubicBezTo>
                    <a:pt x="673" y="551"/>
                    <a:pt x="687" y="518"/>
                    <a:pt x="741" y="522"/>
                  </a:cubicBezTo>
                  <a:cubicBezTo>
                    <a:pt x="745" y="509"/>
                    <a:pt x="732" y="496"/>
                    <a:pt x="735" y="483"/>
                  </a:cubicBezTo>
                  <a:cubicBezTo>
                    <a:pt x="738" y="470"/>
                    <a:pt x="750" y="449"/>
                    <a:pt x="757" y="441"/>
                  </a:cubicBezTo>
                  <a:cubicBezTo>
                    <a:pt x="772" y="434"/>
                    <a:pt x="814" y="451"/>
                    <a:pt x="826" y="443"/>
                  </a:cubicBezTo>
                  <a:cubicBezTo>
                    <a:pt x="834" y="419"/>
                    <a:pt x="834" y="414"/>
                    <a:pt x="826" y="390"/>
                  </a:cubicBezTo>
                  <a:cubicBezTo>
                    <a:pt x="811" y="375"/>
                    <a:pt x="766" y="343"/>
                    <a:pt x="768" y="329"/>
                  </a:cubicBezTo>
                  <a:cubicBezTo>
                    <a:pt x="799" y="327"/>
                    <a:pt x="814" y="324"/>
                    <a:pt x="831" y="308"/>
                  </a:cubicBezTo>
                  <a:cubicBezTo>
                    <a:pt x="837" y="279"/>
                    <a:pt x="806" y="276"/>
                    <a:pt x="790" y="272"/>
                  </a:cubicBezTo>
                  <a:cubicBezTo>
                    <a:pt x="774" y="256"/>
                    <a:pt x="768" y="263"/>
                    <a:pt x="759" y="240"/>
                  </a:cubicBezTo>
                  <a:cubicBezTo>
                    <a:pt x="745" y="222"/>
                    <a:pt x="736" y="216"/>
                    <a:pt x="732" y="200"/>
                  </a:cubicBezTo>
                  <a:cubicBezTo>
                    <a:pt x="721" y="165"/>
                    <a:pt x="735" y="123"/>
                    <a:pt x="735" y="95"/>
                  </a:cubicBezTo>
                  <a:cubicBezTo>
                    <a:pt x="747" y="59"/>
                    <a:pt x="714" y="40"/>
                    <a:pt x="710" y="24"/>
                  </a:cubicBez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  <p:sp>
          <p:nvSpPr>
            <p:cNvPr id="284" name="Freeform 95"/>
            <p:cNvSpPr>
              <a:spLocks noChangeAspect="1"/>
            </p:cNvSpPr>
            <p:nvPr/>
          </p:nvSpPr>
          <p:spPr bwMode="auto">
            <a:xfrm>
              <a:off x="2998" y="3217"/>
              <a:ext cx="244" cy="317"/>
            </a:xfrm>
            <a:custGeom>
              <a:avLst/>
              <a:gdLst>
                <a:gd name="T0" fmla="*/ 0 w 968"/>
                <a:gd name="T1" fmla="*/ 0 h 1251"/>
                <a:gd name="T2" fmla="*/ 0 w 968"/>
                <a:gd name="T3" fmla="*/ 0 h 1251"/>
                <a:gd name="T4" fmla="*/ 0 w 968"/>
                <a:gd name="T5" fmla="*/ 0 h 1251"/>
                <a:gd name="T6" fmla="*/ 0 w 968"/>
                <a:gd name="T7" fmla="*/ 0 h 1251"/>
                <a:gd name="T8" fmla="*/ 0 w 968"/>
                <a:gd name="T9" fmla="*/ 0 h 1251"/>
                <a:gd name="T10" fmla="*/ 0 w 968"/>
                <a:gd name="T11" fmla="*/ 0 h 1251"/>
                <a:gd name="T12" fmla="*/ 0 w 968"/>
                <a:gd name="T13" fmla="*/ 0 h 1251"/>
                <a:gd name="T14" fmla="*/ 0 w 968"/>
                <a:gd name="T15" fmla="*/ 0 h 1251"/>
                <a:gd name="T16" fmla="*/ 0 w 968"/>
                <a:gd name="T17" fmla="*/ 0 h 1251"/>
                <a:gd name="T18" fmla="*/ 0 w 968"/>
                <a:gd name="T19" fmla="*/ 0 h 1251"/>
                <a:gd name="T20" fmla="*/ 0 w 968"/>
                <a:gd name="T21" fmla="*/ 0 h 1251"/>
                <a:gd name="T22" fmla="*/ 0 w 968"/>
                <a:gd name="T23" fmla="*/ 0 h 1251"/>
                <a:gd name="T24" fmla="*/ 0 w 968"/>
                <a:gd name="T25" fmla="*/ 0 h 1251"/>
                <a:gd name="T26" fmla="*/ 0 w 968"/>
                <a:gd name="T27" fmla="*/ 0 h 1251"/>
                <a:gd name="T28" fmla="*/ 0 w 968"/>
                <a:gd name="T29" fmla="*/ 0 h 1251"/>
                <a:gd name="T30" fmla="*/ 0 w 968"/>
                <a:gd name="T31" fmla="*/ 0 h 1251"/>
                <a:gd name="T32" fmla="*/ 0 w 968"/>
                <a:gd name="T33" fmla="*/ 0 h 1251"/>
                <a:gd name="T34" fmla="*/ 0 w 968"/>
                <a:gd name="T35" fmla="*/ 0 h 1251"/>
                <a:gd name="T36" fmla="*/ 0 w 968"/>
                <a:gd name="T37" fmla="*/ 0 h 1251"/>
                <a:gd name="T38" fmla="*/ 0 w 968"/>
                <a:gd name="T39" fmla="*/ 0 h 1251"/>
                <a:gd name="T40" fmla="*/ 0 w 968"/>
                <a:gd name="T41" fmla="*/ 0 h 1251"/>
                <a:gd name="T42" fmla="*/ 0 w 968"/>
                <a:gd name="T43" fmla="*/ 0 h 1251"/>
                <a:gd name="T44" fmla="*/ 0 w 968"/>
                <a:gd name="T45" fmla="*/ 0 h 1251"/>
                <a:gd name="T46" fmla="*/ 0 w 968"/>
                <a:gd name="T47" fmla="*/ 0 h 1251"/>
                <a:gd name="T48" fmla="*/ 0 w 968"/>
                <a:gd name="T49" fmla="*/ 0 h 1251"/>
                <a:gd name="T50" fmla="*/ 0 w 968"/>
                <a:gd name="T51" fmla="*/ 0 h 1251"/>
                <a:gd name="T52" fmla="*/ 0 w 968"/>
                <a:gd name="T53" fmla="*/ 0 h 1251"/>
                <a:gd name="T54" fmla="*/ 0 w 968"/>
                <a:gd name="T55" fmla="*/ 0 h 1251"/>
                <a:gd name="T56" fmla="*/ 0 w 968"/>
                <a:gd name="T57" fmla="*/ 0 h 1251"/>
                <a:gd name="T58" fmla="*/ 0 w 968"/>
                <a:gd name="T59" fmla="*/ 0 h 1251"/>
                <a:gd name="T60" fmla="*/ 0 w 968"/>
                <a:gd name="T61" fmla="*/ 0 h 1251"/>
                <a:gd name="T62" fmla="*/ 0 w 968"/>
                <a:gd name="T63" fmla="*/ 0 h 1251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968"/>
                <a:gd name="T97" fmla="*/ 0 h 1251"/>
                <a:gd name="T98" fmla="*/ 968 w 968"/>
                <a:gd name="T99" fmla="*/ 1251 h 1251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968" h="1251">
                  <a:moveTo>
                    <a:pt x="256" y="1251"/>
                  </a:moveTo>
                  <a:cubicBezTo>
                    <a:pt x="252" y="1223"/>
                    <a:pt x="252" y="1179"/>
                    <a:pt x="224" y="1159"/>
                  </a:cubicBezTo>
                  <a:cubicBezTo>
                    <a:pt x="232" y="1123"/>
                    <a:pt x="268" y="1039"/>
                    <a:pt x="304" y="1023"/>
                  </a:cubicBezTo>
                  <a:cubicBezTo>
                    <a:pt x="316" y="1043"/>
                    <a:pt x="320" y="1055"/>
                    <a:pt x="340" y="1063"/>
                  </a:cubicBezTo>
                  <a:cubicBezTo>
                    <a:pt x="372" y="1051"/>
                    <a:pt x="368" y="1059"/>
                    <a:pt x="400" y="1071"/>
                  </a:cubicBezTo>
                  <a:cubicBezTo>
                    <a:pt x="404" y="1087"/>
                    <a:pt x="412" y="1091"/>
                    <a:pt x="428" y="1095"/>
                  </a:cubicBezTo>
                  <a:cubicBezTo>
                    <a:pt x="448" y="1115"/>
                    <a:pt x="464" y="1107"/>
                    <a:pt x="488" y="1115"/>
                  </a:cubicBezTo>
                  <a:cubicBezTo>
                    <a:pt x="496" y="1131"/>
                    <a:pt x="508" y="1163"/>
                    <a:pt x="508" y="1163"/>
                  </a:cubicBezTo>
                  <a:cubicBezTo>
                    <a:pt x="512" y="1227"/>
                    <a:pt x="512" y="1211"/>
                    <a:pt x="544" y="1191"/>
                  </a:cubicBezTo>
                  <a:cubicBezTo>
                    <a:pt x="568" y="1123"/>
                    <a:pt x="584" y="1119"/>
                    <a:pt x="656" y="1107"/>
                  </a:cubicBezTo>
                  <a:cubicBezTo>
                    <a:pt x="672" y="1087"/>
                    <a:pt x="692" y="1091"/>
                    <a:pt x="712" y="1079"/>
                  </a:cubicBezTo>
                  <a:cubicBezTo>
                    <a:pt x="756" y="1051"/>
                    <a:pt x="832" y="1039"/>
                    <a:pt x="884" y="1031"/>
                  </a:cubicBezTo>
                  <a:cubicBezTo>
                    <a:pt x="908" y="995"/>
                    <a:pt x="888" y="955"/>
                    <a:pt x="896" y="915"/>
                  </a:cubicBezTo>
                  <a:cubicBezTo>
                    <a:pt x="892" y="895"/>
                    <a:pt x="884" y="883"/>
                    <a:pt x="896" y="867"/>
                  </a:cubicBezTo>
                  <a:cubicBezTo>
                    <a:pt x="904" y="855"/>
                    <a:pt x="932" y="839"/>
                    <a:pt x="932" y="839"/>
                  </a:cubicBezTo>
                  <a:cubicBezTo>
                    <a:pt x="940" y="827"/>
                    <a:pt x="952" y="819"/>
                    <a:pt x="960" y="807"/>
                  </a:cubicBezTo>
                  <a:cubicBezTo>
                    <a:pt x="964" y="799"/>
                    <a:pt x="968" y="783"/>
                    <a:pt x="968" y="783"/>
                  </a:cubicBezTo>
                  <a:cubicBezTo>
                    <a:pt x="964" y="759"/>
                    <a:pt x="968" y="751"/>
                    <a:pt x="944" y="743"/>
                  </a:cubicBezTo>
                  <a:cubicBezTo>
                    <a:pt x="908" y="715"/>
                    <a:pt x="912" y="711"/>
                    <a:pt x="860" y="707"/>
                  </a:cubicBezTo>
                  <a:cubicBezTo>
                    <a:pt x="840" y="695"/>
                    <a:pt x="848" y="659"/>
                    <a:pt x="836" y="639"/>
                  </a:cubicBezTo>
                  <a:cubicBezTo>
                    <a:pt x="828" y="604"/>
                    <a:pt x="800" y="560"/>
                    <a:pt x="836" y="536"/>
                  </a:cubicBezTo>
                  <a:cubicBezTo>
                    <a:pt x="844" y="496"/>
                    <a:pt x="892" y="448"/>
                    <a:pt x="840" y="440"/>
                  </a:cubicBezTo>
                  <a:cubicBezTo>
                    <a:pt x="856" y="416"/>
                    <a:pt x="828" y="360"/>
                    <a:pt x="796" y="348"/>
                  </a:cubicBezTo>
                  <a:cubicBezTo>
                    <a:pt x="776" y="352"/>
                    <a:pt x="756" y="360"/>
                    <a:pt x="740" y="372"/>
                  </a:cubicBezTo>
                  <a:cubicBezTo>
                    <a:pt x="724" y="416"/>
                    <a:pt x="680" y="372"/>
                    <a:pt x="628" y="368"/>
                  </a:cubicBezTo>
                  <a:cubicBezTo>
                    <a:pt x="600" y="368"/>
                    <a:pt x="576" y="384"/>
                    <a:pt x="560" y="360"/>
                  </a:cubicBezTo>
                  <a:cubicBezTo>
                    <a:pt x="548" y="336"/>
                    <a:pt x="560" y="276"/>
                    <a:pt x="552" y="248"/>
                  </a:cubicBezTo>
                  <a:cubicBezTo>
                    <a:pt x="536" y="216"/>
                    <a:pt x="476" y="224"/>
                    <a:pt x="464" y="216"/>
                  </a:cubicBezTo>
                  <a:cubicBezTo>
                    <a:pt x="456" y="192"/>
                    <a:pt x="432" y="164"/>
                    <a:pt x="412" y="152"/>
                  </a:cubicBezTo>
                  <a:cubicBezTo>
                    <a:pt x="404" y="132"/>
                    <a:pt x="388" y="104"/>
                    <a:pt x="368" y="96"/>
                  </a:cubicBezTo>
                  <a:cubicBezTo>
                    <a:pt x="360" y="84"/>
                    <a:pt x="348" y="68"/>
                    <a:pt x="336" y="60"/>
                  </a:cubicBezTo>
                  <a:cubicBezTo>
                    <a:pt x="324" y="52"/>
                    <a:pt x="296" y="48"/>
                    <a:pt x="296" y="48"/>
                  </a:cubicBezTo>
                  <a:cubicBezTo>
                    <a:pt x="284" y="32"/>
                    <a:pt x="272" y="12"/>
                    <a:pt x="256" y="4"/>
                  </a:cubicBezTo>
                  <a:cubicBezTo>
                    <a:pt x="202" y="0"/>
                    <a:pt x="177" y="5"/>
                    <a:pt x="133" y="1"/>
                  </a:cubicBezTo>
                  <a:cubicBezTo>
                    <a:pt x="109" y="12"/>
                    <a:pt x="97" y="33"/>
                    <a:pt x="75" y="55"/>
                  </a:cubicBezTo>
                  <a:cubicBezTo>
                    <a:pt x="62" y="65"/>
                    <a:pt x="60" y="51"/>
                    <a:pt x="52" y="52"/>
                  </a:cubicBezTo>
                  <a:cubicBezTo>
                    <a:pt x="45" y="53"/>
                    <a:pt x="42" y="56"/>
                    <a:pt x="34" y="64"/>
                  </a:cubicBezTo>
                  <a:cubicBezTo>
                    <a:pt x="30" y="84"/>
                    <a:pt x="5" y="79"/>
                    <a:pt x="4" y="99"/>
                  </a:cubicBezTo>
                  <a:cubicBezTo>
                    <a:pt x="3" y="119"/>
                    <a:pt x="10" y="159"/>
                    <a:pt x="28" y="184"/>
                  </a:cubicBezTo>
                  <a:cubicBezTo>
                    <a:pt x="32" y="200"/>
                    <a:pt x="34" y="201"/>
                    <a:pt x="32" y="220"/>
                  </a:cubicBezTo>
                  <a:cubicBezTo>
                    <a:pt x="36" y="229"/>
                    <a:pt x="57" y="222"/>
                    <a:pt x="54" y="241"/>
                  </a:cubicBezTo>
                  <a:cubicBezTo>
                    <a:pt x="84" y="243"/>
                    <a:pt x="87" y="259"/>
                    <a:pt x="100" y="267"/>
                  </a:cubicBezTo>
                  <a:cubicBezTo>
                    <a:pt x="113" y="275"/>
                    <a:pt x="132" y="283"/>
                    <a:pt x="130" y="292"/>
                  </a:cubicBezTo>
                  <a:cubicBezTo>
                    <a:pt x="108" y="315"/>
                    <a:pt x="112" y="304"/>
                    <a:pt x="88" y="320"/>
                  </a:cubicBezTo>
                  <a:cubicBezTo>
                    <a:pt x="80" y="340"/>
                    <a:pt x="76" y="356"/>
                    <a:pt x="100" y="364"/>
                  </a:cubicBezTo>
                  <a:cubicBezTo>
                    <a:pt x="104" y="376"/>
                    <a:pt x="120" y="400"/>
                    <a:pt x="120" y="400"/>
                  </a:cubicBezTo>
                  <a:cubicBezTo>
                    <a:pt x="116" y="444"/>
                    <a:pt x="92" y="536"/>
                    <a:pt x="136" y="564"/>
                  </a:cubicBezTo>
                  <a:cubicBezTo>
                    <a:pt x="144" y="592"/>
                    <a:pt x="180" y="604"/>
                    <a:pt x="208" y="612"/>
                  </a:cubicBezTo>
                  <a:cubicBezTo>
                    <a:pt x="224" y="655"/>
                    <a:pt x="180" y="651"/>
                    <a:pt x="148" y="655"/>
                  </a:cubicBezTo>
                  <a:cubicBezTo>
                    <a:pt x="152" y="675"/>
                    <a:pt x="180" y="695"/>
                    <a:pt x="200" y="707"/>
                  </a:cubicBezTo>
                  <a:cubicBezTo>
                    <a:pt x="212" y="727"/>
                    <a:pt x="223" y="778"/>
                    <a:pt x="196" y="771"/>
                  </a:cubicBezTo>
                  <a:cubicBezTo>
                    <a:pt x="120" y="755"/>
                    <a:pt x="144" y="767"/>
                    <a:pt x="116" y="807"/>
                  </a:cubicBezTo>
                  <a:cubicBezTo>
                    <a:pt x="124" y="843"/>
                    <a:pt x="128" y="855"/>
                    <a:pt x="88" y="851"/>
                  </a:cubicBezTo>
                  <a:cubicBezTo>
                    <a:pt x="72" y="855"/>
                    <a:pt x="68" y="871"/>
                    <a:pt x="52" y="879"/>
                  </a:cubicBezTo>
                  <a:cubicBezTo>
                    <a:pt x="48" y="895"/>
                    <a:pt x="44" y="907"/>
                    <a:pt x="48" y="923"/>
                  </a:cubicBezTo>
                  <a:cubicBezTo>
                    <a:pt x="44" y="943"/>
                    <a:pt x="8" y="975"/>
                    <a:pt x="8" y="975"/>
                  </a:cubicBezTo>
                  <a:cubicBezTo>
                    <a:pt x="4" y="999"/>
                    <a:pt x="0" y="1003"/>
                    <a:pt x="20" y="1015"/>
                  </a:cubicBezTo>
                  <a:cubicBezTo>
                    <a:pt x="24" y="1043"/>
                    <a:pt x="24" y="1067"/>
                    <a:pt x="8" y="1091"/>
                  </a:cubicBezTo>
                  <a:cubicBezTo>
                    <a:pt x="16" y="1107"/>
                    <a:pt x="28" y="1111"/>
                    <a:pt x="44" y="1115"/>
                  </a:cubicBezTo>
                  <a:cubicBezTo>
                    <a:pt x="56" y="1131"/>
                    <a:pt x="72" y="1131"/>
                    <a:pt x="92" y="1139"/>
                  </a:cubicBezTo>
                  <a:cubicBezTo>
                    <a:pt x="96" y="1139"/>
                    <a:pt x="104" y="1143"/>
                    <a:pt x="104" y="1143"/>
                  </a:cubicBezTo>
                  <a:cubicBezTo>
                    <a:pt x="140" y="1179"/>
                    <a:pt x="164" y="1199"/>
                    <a:pt x="212" y="1215"/>
                  </a:cubicBezTo>
                  <a:cubicBezTo>
                    <a:pt x="216" y="1223"/>
                    <a:pt x="232" y="1239"/>
                    <a:pt x="240" y="1247"/>
                  </a:cubicBezTo>
                  <a:cubicBezTo>
                    <a:pt x="244" y="1251"/>
                    <a:pt x="256" y="1251"/>
                    <a:pt x="256" y="1251"/>
                  </a:cubicBez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  <p:sp>
          <p:nvSpPr>
            <p:cNvPr id="285" name="Freeform 96"/>
            <p:cNvSpPr>
              <a:spLocks noChangeAspect="1"/>
            </p:cNvSpPr>
            <p:nvPr/>
          </p:nvSpPr>
          <p:spPr bwMode="auto">
            <a:xfrm>
              <a:off x="2716" y="3184"/>
              <a:ext cx="152" cy="121"/>
            </a:xfrm>
            <a:custGeom>
              <a:avLst/>
              <a:gdLst>
                <a:gd name="T0" fmla="*/ 0 w 598"/>
                <a:gd name="T1" fmla="*/ 0 h 474"/>
                <a:gd name="T2" fmla="*/ 0 w 598"/>
                <a:gd name="T3" fmla="*/ 0 h 474"/>
                <a:gd name="T4" fmla="*/ 0 w 598"/>
                <a:gd name="T5" fmla="*/ 0 h 474"/>
                <a:gd name="T6" fmla="*/ 0 w 598"/>
                <a:gd name="T7" fmla="*/ 0 h 474"/>
                <a:gd name="T8" fmla="*/ 0 w 598"/>
                <a:gd name="T9" fmla="*/ 0 h 474"/>
                <a:gd name="T10" fmla="*/ 0 w 598"/>
                <a:gd name="T11" fmla="*/ 0 h 474"/>
                <a:gd name="T12" fmla="*/ 0 w 598"/>
                <a:gd name="T13" fmla="*/ 0 h 474"/>
                <a:gd name="T14" fmla="*/ 0 w 598"/>
                <a:gd name="T15" fmla="*/ 0 h 474"/>
                <a:gd name="T16" fmla="*/ 0 w 598"/>
                <a:gd name="T17" fmla="*/ 0 h 474"/>
                <a:gd name="T18" fmla="*/ 0 w 598"/>
                <a:gd name="T19" fmla="*/ 0 h 474"/>
                <a:gd name="T20" fmla="*/ 0 w 598"/>
                <a:gd name="T21" fmla="*/ 0 h 474"/>
                <a:gd name="T22" fmla="*/ 0 w 598"/>
                <a:gd name="T23" fmla="*/ 0 h 474"/>
                <a:gd name="T24" fmla="*/ 0 w 598"/>
                <a:gd name="T25" fmla="*/ 0 h 474"/>
                <a:gd name="T26" fmla="*/ 0 w 598"/>
                <a:gd name="T27" fmla="*/ 0 h 474"/>
                <a:gd name="T28" fmla="*/ 0 w 598"/>
                <a:gd name="T29" fmla="*/ 0 h 474"/>
                <a:gd name="T30" fmla="*/ 0 w 598"/>
                <a:gd name="T31" fmla="*/ 0 h 474"/>
                <a:gd name="T32" fmla="*/ 0 w 598"/>
                <a:gd name="T33" fmla="*/ 0 h 474"/>
                <a:gd name="T34" fmla="*/ 0 w 598"/>
                <a:gd name="T35" fmla="*/ 0 h 474"/>
                <a:gd name="T36" fmla="*/ 0 w 598"/>
                <a:gd name="T37" fmla="*/ 0 h 474"/>
                <a:gd name="T38" fmla="*/ 0 w 598"/>
                <a:gd name="T39" fmla="*/ 0 h 474"/>
                <a:gd name="T40" fmla="*/ 0 w 598"/>
                <a:gd name="T41" fmla="*/ 0 h 474"/>
                <a:gd name="T42" fmla="*/ 0 w 598"/>
                <a:gd name="T43" fmla="*/ 0 h 474"/>
                <a:gd name="T44" fmla="*/ 0 w 598"/>
                <a:gd name="T45" fmla="*/ 0 h 474"/>
                <a:gd name="T46" fmla="*/ 0 w 598"/>
                <a:gd name="T47" fmla="*/ 0 h 474"/>
                <a:gd name="T48" fmla="*/ 0 w 598"/>
                <a:gd name="T49" fmla="*/ 0 h 474"/>
                <a:gd name="T50" fmla="*/ 0 w 598"/>
                <a:gd name="T51" fmla="*/ 0 h 474"/>
                <a:gd name="T52" fmla="*/ 0 w 598"/>
                <a:gd name="T53" fmla="*/ 0 h 474"/>
                <a:gd name="T54" fmla="*/ 0 w 598"/>
                <a:gd name="T55" fmla="*/ 0 h 474"/>
                <a:gd name="T56" fmla="*/ 0 w 598"/>
                <a:gd name="T57" fmla="*/ 0 h 47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598"/>
                <a:gd name="T88" fmla="*/ 0 h 474"/>
                <a:gd name="T89" fmla="*/ 598 w 598"/>
                <a:gd name="T90" fmla="*/ 474 h 474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598" h="474">
                  <a:moveTo>
                    <a:pt x="183" y="162"/>
                  </a:moveTo>
                  <a:cubicBezTo>
                    <a:pt x="257" y="150"/>
                    <a:pt x="217" y="163"/>
                    <a:pt x="265" y="139"/>
                  </a:cubicBezTo>
                  <a:cubicBezTo>
                    <a:pt x="285" y="115"/>
                    <a:pt x="317" y="122"/>
                    <a:pt x="337" y="99"/>
                  </a:cubicBezTo>
                  <a:cubicBezTo>
                    <a:pt x="378" y="95"/>
                    <a:pt x="413" y="101"/>
                    <a:pt x="428" y="66"/>
                  </a:cubicBezTo>
                  <a:cubicBezTo>
                    <a:pt x="449" y="60"/>
                    <a:pt x="481" y="63"/>
                    <a:pt x="505" y="51"/>
                  </a:cubicBezTo>
                  <a:cubicBezTo>
                    <a:pt x="513" y="35"/>
                    <a:pt x="535" y="16"/>
                    <a:pt x="543" y="0"/>
                  </a:cubicBezTo>
                  <a:cubicBezTo>
                    <a:pt x="560" y="18"/>
                    <a:pt x="576" y="51"/>
                    <a:pt x="591" y="74"/>
                  </a:cubicBezTo>
                  <a:cubicBezTo>
                    <a:pt x="595" y="82"/>
                    <a:pt x="598" y="88"/>
                    <a:pt x="590" y="96"/>
                  </a:cubicBezTo>
                  <a:cubicBezTo>
                    <a:pt x="573" y="102"/>
                    <a:pt x="565" y="123"/>
                    <a:pt x="565" y="123"/>
                  </a:cubicBezTo>
                  <a:cubicBezTo>
                    <a:pt x="551" y="153"/>
                    <a:pt x="529" y="163"/>
                    <a:pt x="529" y="163"/>
                  </a:cubicBezTo>
                  <a:cubicBezTo>
                    <a:pt x="512" y="179"/>
                    <a:pt x="494" y="189"/>
                    <a:pt x="468" y="188"/>
                  </a:cubicBezTo>
                  <a:cubicBezTo>
                    <a:pt x="450" y="218"/>
                    <a:pt x="466" y="268"/>
                    <a:pt x="474" y="288"/>
                  </a:cubicBezTo>
                  <a:cubicBezTo>
                    <a:pt x="462" y="314"/>
                    <a:pt x="412" y="321"/>
                    <a:pt x="399" y="345"/>
                  </a:cubicBezTo>
                  <a:cubicBezTo>
                    <a:pt x="391" y="369"/>
                    <a:pt x="431" y="422"/>
                    <a:pt x="395" y="432"/>
                  </a:cubicBezTo>
                  <a:cubicBezTo>
                    <a:pt x="383" y="450"/>
                    <a:pt x="366" y="449"/>
                    <a:pt x="366" y="449"/>
                  </a:cubicBezTo>
                  <a:cubicBezTo>
                    <a:pt x="336" y="453"/>
                    <a:pt x="338" y="422"/>
                    <a:pt x="338" y="422"/>
                  </a:cubicBezTo>
                  <a:cubicBezTo>
                    <a:pt x="326" y="426"/>
                    <a:pt x="278" y="439"/>
                    <a:pt x="266" y="431"/>
                  </a:cubicBezTo>
                  <a:cubicBezTo>
                    <a:pt x="269" y="404"/>
                    <a:pt x="264" y="398"/>
                    <a:pt x="255" y="375"/>
                  </a:cubicBezTo>
                  <a:cubicBezTo>
                    <a:pt x="251" y="398"/>
                    <a:pt x="236" y="410"/>
                    <a:pt x="228" y="423"/>
                  </a:cubicBezTo>
                  <a:cubicBezTo>
                    <a:pt x="220" y="436"/>
                    <a:pt x="216" y="449"/>
                    <a:pt x="205" y="451"/>
                  </a:cubicBezTo>
                  <a:cubicBezTo>
                    <a:pt x="165" y="447"/>
                    <a:pt x="170" y="450"/>
                    <a:pt x="161" y="437"/>
                  </a:cubicBezTo>
                  <a:cubicBezTo>
                    <a:pt x="96" y="441"/>
                    <a:pt x="88" y="466"/>
                    <a:pt x="60" y="474"/>
                  </a:cubicBezTo>
                  <a:cubicBezTo>
                    <a:pt x="60" y="473"/>
                    <a:pt x="36" y="468"/>
                    <a:pt x="36" y="468"/>
                  </a:cubicBezTo>
                  <a:cubicBezTo>
                    <a:pt x="17" y="450"/>
                    <a:pt x="33" y="379"/>
                    <a:pt x="29" y="351"/>
                  </a:cubicBezTo>
                  <a:cubicBezTo>
                    <a:pt x="45" y="318"/>
                    <a:pt x="47" y="296"/>
                    <a:pt x="11" y="288"/>
                  </a:cubicBezTo>
                  <a:cubicBezTo>
                    <a:pt x="15" y="269"/>
                    <a:pt x="23" y="280"/>
                    <a:pt x="35" y="252"/>
                  </a:cubicBezTo>
                  <a:cubicBezTo>
                    <a:pt x="19" y="236"/>
                    <a:pt x="16" y="239"/>
                    <a:pt x="0" y="227"/>
                  </a:cubicBezTo>
                  <a:cubicBezTo>
                    <a:pt x="16" y="203"/>
                    <a:pt x="41" y="162"/>
                    <a:pt x="29" y="139"/>
                  </a:cubicBezTo>
                  <a:cubicBezTo>
                    <a:pt x="61" y="131"/>
                    <a:pt x="147" y="161"/>
                    <a:pt x="183" y="162"/>
                  </a:cubicBez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  <p:sp>
          <p:nvSpPr>
            <p:cNvPr id="286" name="Freeform 97"/>
            <p:cNvSpPr>
              <a:spLocks noChangeAspect="1"/>
            </p:cNvSpPr>
            <p:nvPr/>
          </p:nvSpPr>
          <p:spPr bwMode="auto">
            <a:xfrm>
              <a:off x="2853" y="3035"/>
              <a:ext cx="322" cy="222"/>
            </a:xfrm>
            <a:custGeom>
              <a:avLst/>
              <a:gdLst>
                <a:gd name="T0" fmla="*/ 0 w 1273"/>
                <a:gd name="T1" fmla="*/ 0 h 878"/>
                <a:gd name="T2" fmla="*/ 0 w 1273"/>
                <a:gd name="T3" fmla="*/ 0 h 878"/>
                <a:gd name="T4" fmla="*/ 0 w 1273"/>
                <a:gd name="T5" fmla="*/ 0 h 878"/>
                <a:gd name="T6" fmla="*/ 0 w 1273"/>
                <a:gd name="T7" fmla="*/ 0 h 878"/>
                <a:gd name="T8" fmla="*/ 0 w 1273"/>
                <a:gd name="T9" fmla="*/ 0 h 878"/>
                <a:gd name="T10" fmla="*/ 0 w 1273"/>
                <a:gd name="T11" fmla="*/ 0 h 878"/>
                <a:gd name="T12" fmla="*/ 0 w 1273"/>
                <a:gd name="T13" fmla="*/ 0 h 878"/>
                <a:gd name="T14" fmla="*/ 0 w 1273"/>
                <a:gd name="T15" fmla="*/ 0 h 878"/>
                <a:gd name="T16" fmla="*/ 0 w 1273"/>
                <a:gd name="T17" fmla="*/ 0 h 878"/>
                <a:gd name="T18" fmla="*/ 0 w 1273"/>
                <a:gd name="T19" fmla="*/ 0 h 878"/>
                <a:gd name="T20" fmla="*/ 0 w 1273"/>
                <a:gd name="T21" fmla="*/ 0 h 878"/>
                <a:gd name="T22" fmla="*/ 0 w 1273"/>
                <a:gd name="T23" fmla="*/ 0 h 878"/>
                <a:gd name="T24" fmla="*/ 0 w 1273"/>
                <a:gd name="T25" fmla="*/ 0 h 878"/>
                <a:gd name="T26" fmla="*/ 0 w 1273"/>
                <a:gd name="T27" fmla="*/ 0 h 878"/>
                <a:gd name="T28" fmla="*/ 0 w 1273"/>
                <a:gd name="T29" fmla="*/ 0 h 878"/>
                <a:gd name="T30" fmla="*/ 0 w 1273"/>
                <a:gd name="T31" fmla="*/ 0 h 878"/>
                <a:gd name="T32" fmla="*/ 0 w 1273"/>
                <a:gd name="T33" fmla="*/ 0 h 878"/>
                <a:gd name="T34" fmla="*/ 0 w 1273"/>
                <a:gd name="T35" fmla="*/ 0 h 878"/>
                <a:gd name="T36" fmla="*/ 0 w 1273"/>
                <a:gd name="T37" fmla="*/ 0 h 878"/>
                <a:gd name="T38" fmla="*/ 0 w 1273"/>
                <a:gd name="T39" fmla="*/ 0 h 878"/>
                <a:gd name="T40" fmla="*/ 0 w 1273"/>
                <a:gd name="T41" fmla="*/ 0 h 878"/>
                <a:gd name="T42" fmla="*/ 0 w 1273"/>
                <a:gd name="T43" fmla="*/ 0 h 878"/>
                <a:gd name="T44" fmla="*/ 0 w 1273"/>
                <a:gd name="T45" fmla="*/ 0 h 878"/>
                <a:gd name="T46" fmla="*/ 0 w 1273"/>
                <a:gd name="T47" fmla="*/ 0 h 878"/>
                <a:gd name="T48" fmla="*/ 0 w 1273"/>
                <a:gd name="T49" fmla="*/ 0 h 878"/>
                <a:gd name="T50" fmla="*/ 0 w 1273"/>
                <a:gd name="T51" fmla="*/ 0 h 878"/>
                <a:gd name="T52" fmla="*/ 0 w 1273"/>
                <a:gd name="T53" fmla="*/ 0 h 878"/>
                <a:gd name="T54" fmla="*/ 0 w 1273"/>
                <a:gd name="T55" fmla="*/ 0 h 878"/>
                <a:gd name="T56" fmla="*/ 0 w 1273"/>
                <a:gd name="T57" fmla="*/ 0 h 878"/>
                <a:gd name="T58" fmla="*/ 0 w 1273"/>
                <a:gd name="T59" fmla="*/ 0 h 878"/>
                <a:gd name="T60" fmla="*/ 0 w 1273"/>
                <a:gd name="T61" fmla="*/ 0 h 878"/>
                <a:gd name="T62" fmla="*/ 0 w 1273"/>
                <a:gd name="T63" fmla="*/ 0 h 878"/>
                <a:gd name="T64" fmla="*/ 0 w 1273"/>
                <a:gd name="T65" fmla="*/ 0 h 878"/>
                <a:gd name="T66" fmla="*/ 0 w 1273"/>
                <a:gd name="T67" fmla="*/ 0 h 878"/>
                <a:gd name="T68" fmla="*/ 0 w 1273"/>
                <a:gd name="T69" fmla="*/ 0 h 878"/>
                <a:gd name="T70" fmla="*/ 0 w 1273"/>
                <a:gd name="T71" fmla="*/ 0 h 878"/>
                <a:gd name="T72" fmla="*/ 0 w 1273"/>
                <a:gd name="T73" fmla="*/ 0 h 878"/>
                <a:gd name="T74" fmla="*/ 0 w 1273"/>
                <a:gd name="T75" fmla="*/ 0 h 878"/>
                <a:gd name="T76" fmla="*/ 0 w 1273"/>
                <a:gd name="T77" fmla="*/ 0 h 878"/>
                <a:gd name="T78" fmla="*/ 0 w 1273"/>
                <a:gd name="T79" fmla="*/ 0 h 878"/>
                <a:gd name="T80" fmla="*/ 0 w 1273"/>
                <a:gd name="T81" fmla="*/ 0 h 878"/>
                <a:gd name="T82" fmla="*/ 0 w 1273"/>
                <a:gd name="T83" fmla="*/ 0 h 878"/>
                <a:gd name="T84" fmla="*/ 0 w 1273"/>
                <a:gd name="T85" fmla="*/ 0 h 878"/>
                <a:gd name="T86" fmla="*/ 0 w 1273"/>
                <a:gd name="T87" fmla="*/ 0 h 878"/>
                <a:gd name="T88" fmla="*/ 0 w 1273"/>
                <a:gd name="T89" fmla="*/ 0 h 878"/>
                <a:gd name="T90" fmla="*/ 0 w 1273"/>
                <a:gd name="T91" fmla="*/ 0 h 878"/>
                <a:gd name="T92" fmla="*/ 0 w 1273"/>
                <a:gd name="T93" fmla="*/ 0 h 878"/>
                <a:gd name="T94" fmla="*/ 0 w 1273"/>
                <a:gd name="T95" fmla="*/ 0 h 878"/>
                <a:gd name="T96" fmla="*/ 0 w 1273"/>
                <a:gd name="T97" fmla="*/ 0 h 878"/>
                <a:gd name="T98" fmla="*/ 0 w 1273"/>
                <a:gd name="T99" fmla="*/ 0 h 878"/>
                <a:gd name="T100" fmla="*/ 0 w 1273"/>
                <a:gd name="T101" fmla="*/ 0 h 878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273"/>
                <a:gd name="T154" fmla="*/ 0 h 878"/>
                <a:gd name="T155" fmla="*/ 1273 w 1273"/>
                <a:gd name="T156" fmla="*/ 878 h 878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273" h="878">
                  <a:moveTo>
                    <a:pt x="833" y="727"/>
                  </a:moveTo>
                  <a:cubicBezTo>
                    <a:pt x="861" y="723"/>
                    <a:pt x="881" y="719"/>
                    <a:pt x="905" y="703"/>
                  </a:cubicBezTo>
                  <a:cubicBezTo>
                    <a:pt x="917" y="687"/>
                    <a:pt x="937" y="683"/>
                    <a:pt x="957" y="675"/>
                  </a:cubicBezTo>
                  <a:cubicBezTo>
                    <a:pt x="969" y="668"/>
                    <a:pt x="966" y="674"/>
                    <a:pt x="977" y="659"/>
                  </a:cubicBezTo>
                  <a:cubicBezTo>
                    <a:pt x="993" y="639"/>
                    <a:pt x="997" y="603"/>
                    <a:pt x="1021" y="587"/>
                  </a:cubicBezTo>
                  <a:cubicBezTo>
                    <a:pt x="1025" y="571"/>
                    <a:pt x="1033" y="551"/>
                    <a:pt x="1037" y="535"/>
                  </a:cubicBezTo>
                  <a:cubicBezTo>
                    <a:pt x="1041" y="527"/>
                    <a:pt x="1045" y="511"/>
                    <a:pt x="1045" y="511"/>
                  </a:cubicBezTo>
                  <a:cubicBezTo>
                    <a:pt x="1049" y="483"/>
                    <a:pt x="1053" y="459"/>
                    <a:pt x="1073" y="439"/>
                  </a:cubicBezTo>
                  <a:cubicBezTo>
                    <a:pt x="1077" y="423"/>
                    <a:pt x="1081" y="403"/>
                    <a:pt x="1093" y="387"/>
                  </a:cubicBezTo>
                  <a:cubicBezTo>
                    <a:pt x="1101" y="343"/>
                    <a:pt x="1129" y="215"/>
                    <a:pt x="1169" y="187"/>
                  </a:cubicBezTo>
                  <a:cubicBezTo>
                    <a:pt x="1201" y="172"/>
                    <a:pt x="1207" y="178"/>
                    <a:pt x="1216" y="162"/>
                  </a:cubicBezTo>
                  <a:cubicBezTo>
                    <a:pt x="1249" y="148"/>
                    <a:pt x="1257" y="144"/>
                    <a:pt x="1273" y="131"/>
                  </a:cubicBezTo>
                  <a:cubicBezTo>
                    <a:pt x="1269" y="31"/>
                    <a:pt x="1225" y="59"/>
                    <a:pt x="1145" y="51"/>
                  </a:cubicBezTo>
                  <a:cubicBezTo>
                    <a:pt x="1129" y="35"/>
                    <a:pt x="1136" y="24"/>
                    <a:pt x="1116" y="16"/>
                  </a:cubicBezTo>
                  <a:cubicBezTo>
                    <a:pt x="1101" y="16"/>
                    <a:pt x="1074" y="29"/>
                    <a:pt x="1053" y="27"/>
                  </a:cubicBezTo>
                  <a:cubicBezTo>
                    <a:pt x="1032" y="25"/>
                    <a:pt x="1013" y="4"/>
                    <a:pt x="988" y="1"/>
                  </a:cubicBezTo>
                  <a:cubicBezTo>
                    <a:pt x="954" y="0"/>
                    <a:pt x="931" y="8"/>
                    <a:pt x="903" y="9"/>
                  </a:cubicBezTo>
                  <a:cubicBezTo>
                    <a:pt x="875" y="10"/>
                    <a:pt x="844" y="1"/>
                    <a:pt x="822" y="10"/>
                  </a:cubicBezTo>
                  <a:cubicBezTo>
                    <a:pt x="802" y="22"/>
                    <a:pt x="788" y="47"/>
                    <a:pt x="772" y="63"/>
                  </a:cubicBezTo>
                  <a:cubicBezTo>
                    <a:pt x="768" y="95"/>
                    <a:pt x="771" y="136"/>
                    <a:pt x="732" y="129"/>
                  </a:cubicBezTo>
                  <a:cubicBezTo>
                    <a:pt x="716" y="129"/>
                    <a:pt x="701" y="139"/>
                    <a:pt x="685" y="135"/>
                  </a:cubicBezTo>
                  <a:cubicBezTo>
                    <a:pt x="673" y="131"/>
                    <a:pt x="649" y="123"/>
                    <a:pt x="649" y="123"/>
                  </a:cubicBezTo>
                  <a:cubicBezTo>
                    <a:pt x="610" y="180"/>
                    <a:pt x="615" y="172"/>
                    <a:pt x="529" y="175"/>
                  </a:cubicBezTo>
                  <a:cubicBezTo>
                    <a:pt x="499" y="181"/>
                    <a:pt x="499" y="208"/>
                    <a:pt x="506" y="227"/>
                  </a:cubicBezTo>
                  <a:cubicBezTo>
                    <a:pt x="504" y="333"/>
                    <a:pt x="441" y="282"/>
                    <a:pt x="271" y="309"/>
                  </a:cubicBezTo>
                  <a:cubicBezTo>
                    <a:pt x="264" y="300"/>
                    <a:pt x="254" y="296"/>
                    <a:pt x="246" y="289"/>
                  </a:cubicBezTo>
                  <a:cubicBezTo>
                    <a:pt x="238" y="282"/>
                    <a:pt x="255" y="277"/>
                    <a:pt x="222" y="267"/>
                  </a:cubicBezTo>
                  <a:cubicBezTo>
                    <a:pt x="205" y="252"/>
                    <a:pt x="182" y="251"/>
                    <a:pt x="182" y="251"/>
                  </a:cubicBezTo>
                  <a:cubicBezTo>
                    <a:pt x="171" y="248"/>
                    <a:pt x="145" y="232"/>
                    <a:pt x="135" y="232"/>
                  </a:cubicBezTo>
                  <a:cubicBezTo>
                    <a:pt x="128" y="247"/>
                    <a:pt x="181" y="270"/>
                    <a:pt x="142" y="342"/>
                  </a:cubicBezTo>
                  <a:cubicBezTo>
                    <a:pt x="90" y="346"/>
                    <a:pt x="60" y="346"/>
                    <a:pt x="25" y="348"/>
                  </a:cubicBezTo>
                  <a:cubicBezTo>
                    <a:pt x="0" y="351"/>
                    <a:pt x="40" y="355"/>
                    <a:pt x="48" y="360"/>
                  </a:cubicBezTo>
                  <a:cubicBezTo>
                    <a:pt x="58" y="370"/>
                    <a:pt x="76" y="375"/>
                    <a:pt x="88" y="412"/>
                  </a:cubicBezTo>
                  <a:cubicBezTo>
                    <a:pt x="66" y="418"/>
                    <a:pt x="64" y="454"/>
                    <a:pt x="52" y="462"/>
                  </a:cubicBezTo>
                  <a:cubicBezTo>
                    <a:pt x="70" y="544"/>
                    <a:pt x="58" y="570"/>
                    <a:pt x="7" y="589"/>
                  </a:cubicBezTo>
                  <a:cubicBezTo>
                    <a:pt x="19" y="609"/>
                    <a:pt x="27" y="619"/>
                    <a:pt x="38" y="639"/>
                  </a:cubicBezTo>
                  <a:cubicBezTo>
                    <a:pt x="42" y="651"/>
                    <a:pt x="57" y="672"/>
                    <a:pt x="55" y="687"/>
                  </a:cubicBezTo>
                  <a:cubicBezTo>
                    <a:pt x="70" y="693"/>
                    <a:pt x="78" y="703"/>
                    <a:pt x="78" y="703"/>
                  </a:cubicBezTo>
                  <a:cubicBezTo>
                    <a:pt x="99" y="708"/>
                    <a:pt x="103" y="721"/>
                    <a:pt x="112" y="735"/>
                  </a:cubicBezTo>
                  <a:cubicBezTo>
                    <a:pt x="130" y="742"/>
                    <a:pt x="158" y="751"/>
                    <a:pt x="182" y="759"/>
                  </a:cubicBezTo>
                  <a:cubicBezTo>
                    <a:pt x="203" y="773"/>
                    <a:pt x="235" y="784"/>
                    <a:pt x="237" y="804"/>
                  </a:cubicBezTo>
                  <a:cubicBezTo>
                    <a:pt x="264" y="807"/>
                    <a:pt x="271" y="820"/>
                    <a:pt x="283" y="829"/>
                  </a:cubicBezTo>
                  <a:cubicBezTo>
                    <a:pt x="305" y="845"/>
                    <a:pt x="289" y="853"/>
                    <a:pt x="310" y="859"/>
                  </a:cubicBezTo>
                  <a:cubicBezTo>
                    <a:pt x="331" y="865"/>
                    <a:pt x="384" y="866"/>
                    <a:pt x="411" y="868"/>
                  </a:cubicBezTo>
                  <a:cubicBezTo>
                    <a:pt x="447" y="873"/>
                    <a:pt x="453" y="878"/>
                    <a:pt x="471" y="874"/>
                  </a:cubicBezTo>
                  <a:cubicBezTo>
                    <a:pt x="475" y="870"/>
                    <a:pt x="512" y="856"/>
                    <a:pt x="516" y="852"/>
                  </a:cubicBezTo>
                  <a:cubicBezTo>
                    <a:pt x="524" y="844"/>
                    <a:pt x="529" y="843"/>
                    <a:pt x="542" y="835"/>
                  </a:cubicBezTo>
                  <a:cubicBezTo>
                    <a:pt x="555" y="827"/>
                    <a:pt x="578" y="811"/>
                    <a:pt x="594" y="803"/>
                  </a:cubicBezTo>
                  <a:cubicBezTo>
                    <a:pt x="614" y="775"/>
                    <a:pt x="614" y="783"/>
                    <a:pt x="645" y="779"/>
                  </a:cubicBezTo>
                  <a:cubicBezTo>
                    <a:pt x="665" y="759"/>
                    <a:pt x="681" y="731"/>
                    <a:pt x="709" y="723"/>
                  </a:cubicBezTo>
                  <a:cubicBezTo>
                    <a:pt x="749" y="727"/>
                    <a:pt x="789" y="723"/>
                    <a:pt x="833" y="727"/>
                  </a:cubicBez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  <p:sp>
          <p:nvSpPr>
            <p:cNvPr id="287" name="Freeform 98"/>
            <p:cNvSpPr>
              <a:spLocks noChangeAspect="1"/>
            </p:cNvSpPr>
            <p:nvPr/>
          </p:nvSpPr>
          <p:spPr bwMode="auto">
            <a:xfrm>
              <a:off x="2721" y="2595"/>
              <a:ext cx="473" cy="402"/>
            </a:xfrm>
            <a:custGeom>
              <a:avLst/>
              <a:gdLst>
                <a:gd name="T0" fmla="*/ 0 w 1874"/>
                <a:gd name="T1" fmla="*/ 0 h 1593"/>
                <a:gd name="T2" fmla="*/ 0 w 1874"/>
                <a:gd name="T3" fmla="*/ 0 h 1593"/>
                <a:gd name="T4" fmla="*/ 0 w 1874"/>
                <a:gd name="T5" fmla="*/ 0 h 1593"/>
                <a:gd name="T6" fmla="*/ 0 w 1874"/>
                <a:gd name="T7" fmla="*/ 0 h 1593"/>
                <a:gd name="T8" fmla="*/ 0 w 1874"/>
                <a:gd name="T9" fmla="*/ 0 h 1593"/>
                <a:gd name="T10" fmla="*/ 0 w 1874"/>
                <a:gd name="T11" fmla="*/ 0 h 1593"/>
                <a:gd name="T12" fmla="*/ 0 w 1874"/>
                <a:gd name="T13" fmla="*/ 0 h 1593"/>
                <a:gd name="T14" fmla="*/ 0 w 1874"/>
                <a:gd name="T15" fmla="*/ 0 h 1593"/>
                <a:gd name="T16" fmla="*/ 0 w 1874"/>
                <a:gd name="T17" fmla="*/ 0 h 1593"/>
                <a:gd name="T18" fmla="*/ 0 w 1874"/>
                <a:gd name="T19" fmla="*/ 0 h 1593"/>
                <a:gd name="T20" fmla="*/ 0 w 1874"/>
                <a:gd name="T21" fmla="*/ 0 h 1593"/>
                <a:gd name="T22" fmla="*/ 0 w 1874"/>
                <a:gd name="T23" fmla="*/ 0 h 1593"/>
                <a:gd name="T24" fmla="*/ 0 w 1874"/>
                <a:gd name="T25" fmla="*/ 0 h 1593"/>
                <a:gd name="T26" fmla="*/ 0 w 1874"/>
                <a:gd name="T27" fmla="*/ 0 h 1593"/>
                <a:gd name="T28" fmla="*/ 0 w 1874"/>
                <a:gd name="T29" fmla="*/ 0 h 1593"/>
                <a:gd name="T30" fmla="*/ 0 w 1874"/>
                <a:gd name="T31" fmla="*/ 0 h 1593"/>
                <a:gd name="T32" fmla="*/ 0 w 1874"/>
                <a:gd name="T33" fmla="*/ 0 h 1593"/>
                <a:gd name="T34" fmla="*/ 0 w 1874"/>
                <a:gd name="T35" fmla="*/ 0 h 1593"/>
                <a:gd name="T36" fmla="*/ 0 w 1874"/>
                <a:gd name="T37" fmla="*/ 0 h 1593"/>
                <a:gd name="T38" fmla="*/ 0 w 1874"/>
                <a:gd name="T39" fmla="*/ 0 h 1593"/>
                <a:gd name="T40" fmla="*/ 0 w 1874"/>
                <a:gd name="T41" fmla="*/ 0 h 1593"/>
                <a:gd name="T42" fmla="*/ 0 w 1874"/>
                <a:gd name="T43" fmla="*/ 0 h 1593"/>
                <a:gd name="T44" fmla="*/ 0 w 1874"/>
                <a:gd name="T45" fmla="*/ 0 h 1593"/>
                <a:gd name="T46" fmla="*/ 0 w 1874"/>
                <a:gd name="T47" fmla="*/ 0 h 1593"/>
                <a:gd name="T48" fmla="*/ 0 w 1874"/>
                <a:gd name="T49" fmla="*/ 0 h 1593"/>
                <a:gd name="T50" fmla="*/ 0 w 1874"/>
                <a:gd name="T51" fmla="*/ 0 h 1593"/>
                <a:gd name="T52" fmla="*/ 0 w 1874"/>
                <a:gd name="T53" fmla="*/ 0 h 1593"/>
                <a:gd name="T54" fmla="*/ 0 w 1874"/>
                <a:gd name="T55" fmla="*/ 0 h 1593"/>
                <a:gd name="T56" fmla="*/ 0 w 1874"/>
                <a:gd name="T57" fmla="*/ 0 h 1593"/>
                <a:gd name="T58" fmla="*/ 0 w 1874"/>
                <a:gd name="T59" fmla="*/ 0 h 1593"/>
                <a:gd name="T60" fmla="*/ 0 w 1874"/>
                <a:gd name="T61" fmla="*/ 0 h 1593"/>
                <a:gd name="T62" fmla="*/ 0 w 1874"/>
                <a:gd name="T63" fmla="*/ 0 h 1593"/>
                <a:gd name="T64" fmla="*/ 0 w 1874"/>
                <a:gd name="T65" fmla="*/ 0 h 1593"/>
                <a:gd name="T66" fmla="*/ 0 w 1874"/>
                <a:gd name="T67" fmla="*/ 0 h 1593"/>
                <a:gd name="T68" fmla="*/ 0 w 1874"/>
                <a:gd name="T69" fmla="*/ 0 h 1593"/>
                <a:gd name="T70" fmla="*/ 0 w 1874"/>
                <a:gd name="T71" fmla="*/ 0 h 1593"/>
                <a:gd name="T72" fmla="*/ 0 w 1874"/>
                <a:gd name="T73" fmla="*/ 0 h 1593"/>
                <a:gd name="T74" fmla="*/ 0 w 1874"/>
                <a:gd name="T75" fmla="*/ 0 h 1593"/>
                <a:gd name="T76" fmla="*/ 0 w 1874"/>
                <a:gd name="T77" fmla="*/ 0 h 1593"/>
                <a:gd name="T78" fmla="*/ 0 w 1874"/>
                <a:gd name="T79" fmla="*/ 0 h 1593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874"/>
                <a:gd name="T121" fmla="*/ 0 h 1593"/>
                <a:gd name="T122" fmla="*/ 1874 w 1874"/>
                <a:gd name="T123" fmla="*/ 1593 h 1593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874" h="1593">
                  <a:moveTo>
                    <a:pt x="927" y="76"/>
                  </a:moveTo>
                  <a:cubicBezTo>
                    <a:pt x="911" y="80"/>
                    <a:pt x="911" y="92"/>
                    <a:pt x="891" y="96"/>
                  </a:cubicBezTo>
                  <a:cubicBezTo>
                    <a:pt x="883" y="100"/>
                    <a:pt x="867" y="104"/>
                    <a:pt x="867" y="104"/>
                  </a:cubicBezTo>
                  <a:cubicBezTo>
                    <a:pt x="843" y="140"/>
                    <a:pt x="799" y="112"/>
                    <a:pt x="767" y="100"/>
                  </a:cubicBezTo>
                  <a:cubicBezTo>
                    <a:pt x="759" y="80"/>
                    <a:pt x="751" y="44"/>
                    <a:pt x="735" y="28"/>
                  </a:cubicBezTo>
                  <a:cubicBezTo>
                    <a:pt x="723" y="16"/>
                    <a:pt x="687" y="0"/>
                    <a:pt x="687" y="0"/>
                  </a:cubicBezTo>
                  <a:cubicBezTo>
                    <a:pt x="543" y="0"/>
                    <a:pt x="595" y="16"/>
                    <a:pt x="507" y="44"/>
                  </a:cubicBezTo>
                  <a:cubicBezTo>
                    <a:pt x="499" y="68"/>
                    <a:pt x="451" y="108"/>
                    <a:pt x="423" y="112"/>
                  </a:cubicBezTo>
                  <a:cubicBezTo>
                    <a:pt x="403" y="116"/>
                    <a:pt x="363" y="128"/>
                    <a:pt x="363" y="128"/>
                  </a:cubicBezTo>
                  <a:cubicBezTo>
                    <a:pt x="355" y="144"/>
                    <a:pt x="323" y="168"/>
                    <a:pt x="323" y="168"/>
                  </a:cubicBezTo>
                  <a:cubicBezTo>
                    <a:pt x="307" y="192"/>
                    <a:pt x="295" y="192"/>
                    <a:pt x="267" y="200"/>
                  </a:cubicBezTo>
                  <a:cubicBezTo>
                    <a:pt x="255" y="216"/>
                    <a:pt x="247" y="212"/>
                    <a:pt x="231" y="224"/>
                  </a:cubicBezTo>
                  <a:cubicBezTo>
                    <a:pt x="219" y="260"/>
                    <a:pt x="175" y="260"/>
                    <a:pt x="143" y="264"/>
                  </a:cubicBezTo>
                  <a:cubicBezTo>
                    <a:pt x="115" y="272"/>
                    <a:pt x="123" y="276"/>
                    <a:pt x="99" y="292"/>
                  </a:cubicBezTo>
                  <a:cubicBezTo>
                    <a:pt x="91" y="308"/>
                    <a:pt x="67" y="328"/>
                    <a:pt x="51" y="332"/>
                  </a:cubicBezTo>
                  <a:cubicBezTo>
                    <a:pt x="47" y="348"/>
                    <a:pt x="35" y="380"/>
                    <a:pt x="35" y="380"/>
                  </a:cubicBezTo>
                  <a:cubicBezTo>
                    <a:pt x="43" y="404"/>
                    <a:pt x="56" y="405"/>
                    <a:pt x="60" y="433"/>
                  </a:cubicBezTo>
                  <a:cubicBezTo>
                    <a:pt x="60" y="453"/>
                    <a:pt x="49" y="557"/>
                    <a:pt x="36" y="595"/>
                  </a:cubicBezTo>
                  <a:cubicBezTo>
                    <a:pt x="0" y="608"/>
                    <a:pt x="22" y="637"/>
                    <a:pt x="59" y="648"/>
                  </a:cubicBezTo>
                  <a:cubicBezTo>
                    <a:pt x="75" y="668"/>
                    <a:pt x="108" y="679"/>
                    <a:pt x="123" y="716"/>
                  </a:cubicBezTo>
                  <a:cubicBezTo>
                    <a:pt x="120" y="736"/>
                    <a:pt x="104" y="764"/>
                    <a:pt x="100" y="788"/>
                  </a:cubicBezTo>
                  <a:cubicBezTo>
                    <a:pt x="114" y="815"/>
                    <a:pt x="122" y="825"/>
                    <a:pt x="130" y="853"/>
                  </a:cubicBezTo>
                  <a:cubicBezTo>
                    <a:pt x="126" y="885"/>
                    <a:pt x="131" y="890"/>
                    <a:pt x="123" y="914"/>
                  </a:cubicBezTo>
                  <a:cubicBezTo>
                    <a:pt x="132" y="935"/>
                    <a:pt x="121" y="948"/>
                    <a:pt x="129" y="968"/>
                  </a:cubicBezTo>
                  <a:cubicBezTo>
                    <a:pt x="133" y="1016"/>
                    <a:pt x="143" y="1012"/>
                    <a:pt x="191" y="1016"/>
                  </a:cubicBezTo>
                  <a:cubicBezTo>
                    <a:pt x="199" y="1020"/>
                    <a:pt x="216" y="1011"/>
                    <a:pt x="216" y="1019"/>
                  </a:cubicBezTo>
                  <a:cubicBezTo>
                    <a:pt x="216" y="1027"/>
                    <a:pt x="220" y="1037"/>
                    <a:pt x="207" y="1048"/>
                  </a:cubicBezTo>
                  <a:cubicBezTo>
                    <a:pt x="195" y="1057"/>
                    <a:pt x="190" y="1070"/>
                    <a:pt x="190" y="1070"/>
                  </a:cubicBezTo>
                  <a:cubicBezTo>
                    <a:pt x="194" y="1106"/>
                    <a:pt x="196" y="1100"/>
                    <a:pt x="213" y="1114"/>
                  </a:cubicBezTo>
                  <a:cubicBezTo>
                    <a:pt x="221" y="1126"/>
                    <a:pt x="214" y="1157"/>
                    <a:pt x="220" y="1166"/>
                  </a:cubicBezTo>
                  <a:cubicBezTo>
                    <a:pt x="226" y="1175"/>
                    <a:pt x="231" y="1162"/>
                    <a:pt x="252" y="1171"/>
                  </a:cubicBezTo>
                  <a:cubicBezTo>
                    <a:pt x="273" y="1180"/>
                    <a:pt x="304" y="1216"/>
                    <a:pt x="349" y="1223"/>
                  </a:cubicBezTo>
                  <a:cubicBezTo>
                    <a:pt x="385" y="1233"/>
                    <a:pt x="450" y="1215"/>
                    <a:pt x="471" y="1232"/>
                  </a:cubicBezTo>
                  <a:cubicBezTo>
                    <a:pt x="499" y="1276"/>
                    <a:pt x="431" y="1300"/>
                    <a:pt x="475" y="1328"/>
                  </a:cubicBezTo>
                  <a:cubicBezTo>
                    <a:pt x="489" y="1355"/>
                    <a:pt x="505" y="1352"/>
                    <a:pt x="528" y="1390"/>
                  </a:cubicBezTo>
                  <a:cubicBezTo>
                    <a:pt x="540" y="1396"/>
                    <a:pt x="552" y="1386"/>
                    <a:pt x="558" y="1375"/>
                  </a:cubicBezTo>
                  <a:cubicBezTo>
                    <a:pt x="564" y="1364"/>
                    <a:pt x="594" y="1355"/>
                    <a:pt x="567" y="1324"/>
                  </a:cubicBezTo>
                  <a:cubicBezTo>
                    <a:pt x="589" y="1310"/>
                    <a:pt x="592" y="1313"/>
                    <a:pt x="607" y="1312"/>
                  </a:cubicBezTo>
                  <a:cubicBezTo>
                    <a:pt x="635" y="1316"/>
                    <a:pt x="635" y="1330"/>
                    <a:pt x="663" y="1334"/>
                  </a:cubicBezTo>
                  <a:cubicBezTo>
                    <a:pt x="671" y="1338"/>
                    <a:pt x="689" y="1320"/>
                    <a:pt x="697" y="1324"/>
                  </a:cubicBezTo>
                  <a:cubicBezTo>
                    <a:pt x="709" y="1321"/>
                    <a:pt x="724" y="1336"/>
                    <a:pt x="724" y="1336"/>
                  </a:cubicBezTo>
                  <a:cubicBezTo>
                    <a:pt x="732" y="1344"/>
                    <a:pt x="696" y="1363"/>
                    <a:pt x="718" y="1391"/>
                  </a:cubicBezTo>
                  <a:cubicBezTo>
                    <a:pt x="763" y="1405"/>
                    <a:pt x="828" y="1397"/>
                    <a:pt x="875" y="1408"/>
                  </a:cubicBezTo>
                  <a:cubicBezTo>
                    <a:pt x="903" y="1448"/>
                    <a:pt x="910" y="1469"/>
                    <a:pt x="943" y="1486"/>
                  </a:cubicBezTo>
                  <a:cubicBezTo>
                    <a:pt x="951" y="1502"/>
                    <a:pt x="958" y="1508"/>
                    <a:pt x="974" y="1516"/>
                  </a:cubicBezTo>
                  <a:cubicBezTo>
                    <a:pt x="978" y="1532"/>
                    <a:pt x="1000" y="1540"/>
                    <a:pt x="1014" y="1549"/>
                  </a:cubicBezTo>
                  <a:cubicBezTo>
                    <a:pt x="1048" y="1522"/>
                    <a:pt x="1035" y="1523"/>
                    <a:pt x="1059" y="1487"/>
                  </a:cubicBezTo>
                  <a:cubicBezTo>
                    <a:pt x="1072" y="1487"/>
                    <a:pt x="1080" y="1511"/>
                    <a:pt x="1118" y="1536"/>
                  </a:cubicBezTo>
                  <a:cubicBezTo>
                    <a:pt x="1140" y="1552"/>
                    <a:pt x="1145" y="1569"/>
                    <a:pt x="1165" y="1577"/>
                  </a:cubicBezTo>
                  <a:cubicBezTo>
                    <a:pt x="1181" y="1593"/>
                    <a:pt x="1168" y="1577"/>
                    <a:pt x="1206" y="1580"/>
                  </a:cubicBezTo>
                  <a:cubicBezTo>
                    <a:pt x="1218" y="1547"/>
                    <a:pt x="1215" y="1522"/>
                    <a:pt x="1308" y="1516"/>
                  </a:cubicBezTo>
                  <a:cubicBezTo>
                    <a:pt x="1328" y="1520"/>
                    <a:pt x="1351" y="1535"/>
                    <a:pt x="1351" y="1535"/>
                  </a:cubicBezTo>
                  <a:cubicBezTo>
                    <a:pt x="1366" y="1516"/>
                    <a:pt x="1396" y="1502"/>
                    <a:pt x="1478" y="1480"/>
                  </a:cubicBezTo>
                  <a:cubicBezTo>
                    <a:pt x="1502" y="1484"/>
                    <a:pt x="1519" y="1487"/>
                    <a:pt x="1543" y="1495"/>
                  </a:cubicBezTo>
                  <a:cubicBezTo>
                    <a:pt x="1579" y="1513"/>
                    <a:pt x="1626" y="1519"/>
                    <a:pt x="1682" y="1540"/>
                  </a:cubicBezTo>
                  <a:cubicBezTo>
                    <a:pt x="1694" y="1540"/>
                    <a:pt x="1710" y="1548"/>
                    <a:pt x="1714" y="1536"/>
                  </a:cubicBezTo>
                  <a:cubicBezTo>
                    <a:pt x="1718" y="1520"/>
                    <a:pt x="1694" y="1456"/>
                    <a:pt x="1682" y="1436"/>
                  </a:cubicBezTo>
                  <a:cubicBezTo>
                    <a:pt x="1674" y="1396"/>
                    <a:pt x="1674" y="1380"/>
                    <a:pt x="1706" y="1360"/>
                  </a:cubicBezTo>
                  <a:cubicBezTo>
                    <a:pt x="1714" y="1348"/>
                    <a:pt x="1722" y="1324"/>
                    <a:pt x="1722" y="1324"/>
                  </a:cubicBezTo>
                  <a:cubicBezTo>
                    <a:pt x="1726" y="1284"/>
                    <a:pt x="1726" y="1236"/>
                    <a:pt x="1770" y="1220"/>
                  </a:cubicBezTo>
                  <a:cubicBezTo>
                    <a:pt x="1802" y="1172"/>
                    <a:pt x="1842" y="1144"/>
                    <a:pt x="1874" y="1096"/>
                  </a:cubicBezTo>
                  <a:cubicBezTo>
                    <a:pt x="1874" y="1032"/>
                    <a:pt x="1874" y="1016"/>
                    <a:pt x="1862" y="980"/>
                  </a:cubicBezTo>
                  <a:cubicBezTo>
                    <a:pt x="1870" y="952"/>
                    <a:pt x="1846" y="944"/>
                    <a:pt x="1822" y="940"/>
                  </a:cubicBezTo>
                  <a:cubicBezTo>
                    <a:pt x="1814" y="916"/>
                    <a:pt x="1810" y="912"/>
                    <a:pt x="1790" y="896"/>
                  </a:cubicBezTo>
                  <a:cubicBezTo>
                    <a:pt x="1778" y="888"/>
                    <a:pt x="1754" y="872"/>
                    <a:pt x="1754" y="872"/>
                  </a:cubicBezTo>
                  <a:cubicBezTo>
                    <a:pt x="1742" y="812"/>
                    <a:pt x="1722" y="780"/>
                    <a:pt x="1714" y="744"/>
                  </a:cubicBezTo>
                  <a:cubicBezTo>
                    <a:pt x="1726" y="644"/>
                    <a:pt x="1726" y="632"/>
                    <a:pt x="1630" y="624"/>
                  </a:cubicBezTo>
                  <a:cubicBezTo>
                    <a:pt x="1630" y="600"/>
                    <a:pt x="1610" y="564"/>
                    <a:pt x="1634" y="548"/>
                  </a:cubicBezTo>
                  <a:cubicBezTo>
                    <a:pt x="1654" y="520"/>
                    <a:pt x="1666" y="496"/>
                    <a:pt x="1702" y="484"/>
                  </a:cubicBezTo>
                  <a:cubicBezTo>
                    <a:pt x="1710" y="476"/>
                    <a:pt x="1722" y="448"/>
                    <a:pt x="1722" y="448"/>
                  </a:cubicBezTo>
                  <a:cubicBezTo>
                    <a:pt x="1722" y="440"/>
                    <a:pt x="1722" y="412"/>
                    <a:pt x="1714" y="400"/>
                  </a:cubicBezTo>
                  <a:cubicBezTo>
                    <a:pt x="1710" y="392"/>
                    <a:pt x="1698" y="376"/>
                    <a:pt x="1698" y="376"/>
                  </a:cubicBezTo>
                  <a:cubicBezTo>
                    <a:pt x="1694" y="368"/>
                    <a:pt x="1690" y="356"/>
                    <a:pt x="1674" y="328"/>
                  </a:cubicBezTo>
                  <a:cubicBezTo>
                    <a:pt x="1662" y="300"/>
                    <a:pt x="1634" y="252"/>
                    <a:pt x="1618" y="216"/>
                  </a:cubicBezTo>
                  <a:cubicBezTo>
                    <a:pt x="1602" y="192"/>
                    <a:pt x="1614" y="108"/>
                    <a:pt x="1586" y="100"/>
                  </a:cubicBezTo>
                  <a:cubicBezTo>
                    <a:pt x="1582" y="76"/>
                    <a:pt x="1554" y="52"/>
                    <a:pt x="1530" y="44"/>
                  </a:cubicBezTo>
                  <a:cubicBezTo>
                    <a:pt x="1510" y="20"/>
                    <a:pt x="1502" y="24"/>
                    <a:pt x="1466" y="20"/>
                  </a:cubicBezTo>
                  <a:cubicBezTo>
                    <a:pt x="1446" y="16"/>
                    <a:pt x="1414" y="16"/>
                    <a:pt x="1394" y="20"/>
                  </a:cubicBezTo>
                  <a:cubicBezTo>
                    <a:pt x="1354" y="40"/>
                    <a:pt x="1318" y="52"/>
                    <a:pt x="1286" y="56"/>
                  </a:cubicBezTo>
                  <a:cubicBezTo>
                    <a:pt x="1234" y="64"/>
                    <a:pt x="1150" y="76"/>
                    <a:pt x="1090" y="80"/>
                  </a:cubicBezTo>
                  <a:cubicBezTo>
                    <a:pt x="1030" y="84"/>
                    <a:pt x="994" y="80"/>
                    <a:pt x="927" y="76"/>
                  </a:cubicBez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  <p:sp>
          <p:nvSpPr>
            <p:cNvPr id="288" name="Freeform 99"/>
            <p:cNvSpPr>
              <a:spLocks noChangeAspect="1"/>
            </p:cNvSpPr>
            <p:nvPr/>
          </p:nvSpPr>
          <p:spPr bwMode="auto">
            <a:xfrm>
              <a:off x="2645" y="2889"/>
              <a:ext cx="321" cy="178"/>
            </a:xfrm>
            <a:custGeom>
              <a:avLst/>
              <a:gdLst>
                <a:gd name="T0" fmla="*/ 0 w 1271"/>
                <a:gd name="T1" fmla="*/ 0 h 703"/>
                <a:gd name="T2" fmla="*/ 0 w 1271"/>
                <a:gd name="T3" fmla="*/ 0 h 703"/>
                <a:gd name="T4" fmla="*/ 0 w 1271"/>
                <a:gd name="T5" fmla="*/ 0 h 703"/>
                <a:gd name="T6" fmla="*/ 0 w 1271"/>
                <a:gd name="T7" fmla="*/ 0 h 703"/>
                <a:gd name="T8" fmla="*/ 0 w 1271"/>
                <a:gd name="T9" fmla="*/ 0 h 703"/>
                <a:gd name="T10" fmla="*/ 0 w 1271"/>
                <a:gd name="T11" fmla="*/ 0 h 703"/>
                <a:gd name="T12" fmla="*/ 0 w 1271"/>
                <a:gd name="T13" fmla="*/ 0 h 703"/>
                <a:gd name="T14" fmla="*/ 0 w 1271"/>
                <a:gd name="T15" fmla="*/ 0 h 703"/>
                <a:gd name="T16" fmla="*/ 0 w 1271"/>
                <a:gd name="T17" fmla="*/ 0 h 703"/>
                <a:gd name="T18" fmla="*/ 0 w 1271"/>
                <a:gd name="T19" fmla="*/ 0 h 703"/>
                <a:gd name="T20" fmla="*/ 0 w 1271"/>
                <a:gd name="T21" fmla="*/ 0 h 703"/>
                <a:gd name="T22" fmla="*/ 0 w 1271"/>
                <a:gd name="T23" fmla="*/ 0 h 703"/>
                <a:gd name="T24" fmla="*/ 0 w 1271"/>
                <a:gd name="T25" fmla="*/ 0 h 703"/>
                <a:gd name="T26" fmla="*/ 0 w 1271"/>
                <a:gd name="T27" fmla="*/ 0 h 703"/>
                <a:gd name="T28" fmla="*/ 0 w 1271"/>
                <a:gd name="T29" fmla="*/ 0 h 703"/>
                <a:gd name="T30" fmla="*/ 0 w 1271"/>
                <a:gd name="T31" fmla="*/ 0 h 703"/>
                <a:gd name="T32" fmla="*/ 0 w 1271"/>
                <a:gd name="T33" fmla="*/ 0 h 703"/>
                <a:gd name="T34" fmla="*/ 0 w 1271"/>
                <a:gd name="T35" fmla="*/ 0 h 703"/>
                <a:gd name="T36" fmla="*/ 0 w 1271"/>
                <a:gd name="T37" fmla="*/ 0 h 703"/>
                <a:gd name="T38" fmla="*/ 0 w 1271"/>
                <a:gd name="T39" fmla="*/ 0 h 703"/>
                <a:gd name="T40" fmla="*/ 0 w 1271"/>
                <a:gd name="T41" fmla="*/ 0 h 703"/>
                <a:gd name="T42" fmla="*/ 0 w 1271"/>
                <a:gd name="T43" fmla="*/ 0 h 703"/>
                <a:gd name="T44" fmla="*/ 0 w 1271"/>
                <a:gd name="T45" fmla="*/ 0 h 703"/>
                <a:gd name="T46" fmla="*/ 0 w 1271"/>
                <a:gd name="T47" fmla="*/ 0 h 703"/>
                <a:gd name="T48" fmla="*/ 0 w 1271"/>
                <a:gd name="T49" fmla="*/ 0 h 703"/>
                <a:gd name="T50" fmla="*/ 0 w 1271"/>
                <a:gd name="T51" fmla="*/ 0 h 703"/>
                <a:gd name="T52" fmla="*/ 0 w 1271"/>
                <a:gd name="T53" fmla="*/ 0 h 703"/>
                <a:gd name="T54" fmla="*/ 0 w 1271"/>
                <a:gd name="T55" fmla="*/ 0 h 703"/>
                <a:gd name="T56" fmla="*/ 0 w 1271"/>
                <a:gd name="T57" fmla="*/ 0 h 703"/>
                <a:gd name="T58" fmla="*/ 0 w 1271"/>
                <a:gd name="T59" fmla="*/ 0 h 703"/>
                <a:gd name="T60" fmla="*/ 0 w 1271"/>
                <a:gd name="T61" fmla="*/ 0 h 703"/>
                <a:gd name="T62" fmla="*/ 0 w 1271"/>
                <a:gd name="T63" fmla="*/ 0 h 703"/>
                <a:gd name="T64" fmla="*/ 0 w 1271"/>
                <a:gd name="T65" fmla="*/ 0 h 703"/>
                <a:gd name="T66" fmla="*/ 0 w 1271"/>
                <a:gd name="T67" fmla="*/ 0 h 703"/>
                <a:gd name="T68" fmla="*/ 0 w 1271"/>
                <a:gd name="T69" fmla="*/ 0 h 703"/>
                <a:gd name="T70" fmla="*/ 0 w 1271"/>
                <a:gd name="T71" fmla="*/ 0 h 703"/>
                <a:gd name="T72" fmla="*/ 0 w 1271"/>
                <a:gd name="T73" fmla="*/ 0 h 703"/>
                <a:gd name="T74" fmla="*/ 0 w 1271"/>
                <a:gd name="T75" fmla="*/ 0 h 703"/>
                <a:gd name="T76" fmla="*/ 0 w 1271"/>
                <a:gd name="T77" fmla="*/ 0 h 703"/>
                <a:gd name="T78" fmla="*/ 0 w 1271"/>
                <a:gd name="T79" fmla="*/ 0 h 703"/>
                <a:gd name="T80" fmla="*/ 0 w 1271"/>
                <a:gd name="T81" fmla="*/ 0 h 703"/>
                <a:gd name="T82" fmla="*/ 0 w 1271"/>
                <a:gd name="T83" fmla="*/ 0 h 703"/>
                <a:gd name="T84" fmla="*/ 0 w 1271"/>
                <a:gd name="T85" fmla="*/ 0 h 703"/>
                <a:gd name="T86" fmla="*/ 0 w 1271"/>
                <a:gd name="T87" fmla="*/ 0 h 703"/>
                <a:gd name="T88" fmla="*/ 0 w 1271"/>
                <a:gd name="T89" fmla="*/ 0 h 703"/>
                <a:gd name="T90" fmla="*/ 0 w 1271"/>
                <a:gd name="T91" fmla="*/ 0 h 703"/>
                <a:gd name="T92" fmla="*/ 0 w 1271"/>
                <a:gd name="T93" fmla="*/ 0 h 703"/>
                <a:gd name="T94" fmla="*/ 0 w 1271"/>
                <a:gd name="T95" fmla="*/ 0 h 703"/>
                <a:gd name="T96" fmla="*/ 0 w 1271"/>
                <a:gd name="T97" fmla="*/ 0 h 703"/>
                <a:gd name="T98" fmla="*/ 0 w 1271"/>
                <a:gd name="T99" fmla="*/ 0 h 703"/>
                <a:gd name="T100" fmla="*/ 0 w 1271"/>
                <a:gd name="T101" fmla="*/ 0 h 703"/>
                <a:gd name="T102" fmla="*/ 0 w 1271"/>
                <a:gd name="T103" fmla="*/ 0 h 703"/>
                <a:gd name="T104" fmla="*/ 0 w 1271"/>
                <a:gd name="T105" fmla="*/ 0 h 703"/>
                <a:gd name="T106" fmla="*/ 0 w 1271"/>
                <a:gd name="T107" fmla="*/ 0 h 703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271"/>
                <a:gd name="T163" fmla="*/ 0 h 703"/>
                <a:gd name="T164" fmla="*/ 1271 w 1271"/>
                <a:gd name="T165" fmla="*/ 703 h 703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271" h="703">
                  <a:moveTo>
                    <a:pt x="939" y="620"/>
                  </a:moveTo>
                  <a:cubicBezTo>
                    <a:pt x="947" y="613"/>
                    <a:pt x="939" y="597"/>
                    <a:pt x="954" y="592"/>
                  </a:cubicBezTo>
                  <a:cubicBezTo>
                    <a:pt x="969" y="587"/>
                    <a:pt x="1007" y="598"/>
                    <a:pt x="1032" y="589"/>
                  </a:cubicBezTo>
                  <a:cubicBezTo>
                    <a:pt x="1064" y="581"/>
                    <a:pt x="1084" y="547"/>
                    <a:pt x="1104" y="539"/>
                  </a:cubicBezTo>
                  <a:cubicBezTo>
                    <a:pt x="1111" y="526"/>
                    <a:pt x="1103" y="521"/>
                    <a:pt x="1114" y="503"/>
                  </a:cubicBezTo>
                  <a:cubicBezTo>
                    <a:pt x="1135" y="490"/>
                    <a:pt x="1143" y="452"/>
                    <a:pt x="1171" y="431"/>
                  </a:cubicBezTo>
                  <a:cubicBezTo>
                    <a:pt x="1183" y="391"/>
                    <a:pt x="1206" y="371"/>
                    <a:pt x="1239" y="359"/>
                  </a:cubicBezTo>
                  <a:cubicBezTo>
                    <a:pt x="1270" y="340"/>
                    <a:pt x="1271" y="360"/>
                    <a:pt x="1251" y="340"/>
                  </a:cubicBezTo>
                  <a:cubicBezTo>
                    <a:pt x="1243" y="320"/>
                    <a:pt x="1235" y="312"/>
                    <a:pt x="1215" y="304"/>
                  </a:cubicBezTo>
                  <a:cubicBezTo>
                    <a:pt x="1207" y="288"/>
                    <a:pt x="1191" y="256"/>
                    <a:pt x="1175" y="248"/>
                  </a:cubicBezTo>
                  <a:cubicBezTo>
                    <a:pt x="1135" y="224"/>
                    <a:pt x="1083" y="248"/>
                    <a:pt x="1019" y="228"/>
                  </a:cubicBezTo>
                  <a:cubicBezTo>
                    <a:pt x="1015" y="220"/>
                    <a:pt x="1003" y="208"/>
                    <a:pt x="1007" y="200"/>
                  </a:cubicBezTo>
                  <a:cubicBezTo>
                    <a:pt x="1011" y="192"/>
                    <a:pt x="1023" y="176"/>
                    <a:pt x="1023" y="176"/>
                  </a:cubicBezTo>
                  <a:cubicBezTo>
                    <a:pt x="1015" y="144"/>
                    <a:pt x="987" y="164"/>
                    <a:pt x="963" y="172"/>
                  </a:cubicBezTo>
                  <a:cubicBezTo>
                    <a:pt x="947" y="164"/>
                    <a:pt x="931" y="160"/>
                    <a:pt x="915" y="148"/>
                  </a:cubicBezTo>
                  <a:cubicBezTo>
                    <a:pt x="899" y="148"/>
                    <a:pt x="875" y="152"/>
                    <a:pt x="867" y="160"/>
                  </a:cubicBezTo>
                  <a:cubicBezTo>
                    <a:pt x="887" y="188"/>
                    <a:pt x="875" y="196"/>
                    <a:pt x="855" y="208"/>
                  </a:cubicBezTo>
                  <a:cubicBezTo>
                    <a:pt x="851" y="224"/>
                    <a:pt x="843" y="228"/>
                    <a:pt x="827" y="224"/>
                  </a:cubicBezTo>
                  <a:cubicBezTo>
                    <a:pt x="815" y="208"/>
                    <a:pt x="799" y="188"/>
                    <a:pt x="779" y="176"/>
                  </a:cubicBezTo>
                  <a:cubicBezTo>
                    <a:pt x="775" y="164"/>
                    <a:pt x="759" y="140"/>
                    <a:pt x="759" y="140"/>
                  </a:cubicBezTo>
                  <a:cubicBezTo>
                    <a:pt x="803" y="40"/>
                    <a:pt x="751" y="68"/>
                    <a:pt x="679" y="64"/>
                  </a:cubicBezTo>
                  <a:cubicBezTo>
                    <a:pt x="651" y="56"/>
                    <a:pt x="611" y="52"/>
                    <a:pt x="587" y="32"/>
                  </a:cubicBezTo>
                  <a:cubicBezTo>
                    <a:pt x="575" y="24"/>
                    <a:pt x="551" y="4"/>
                    <a:pt x="551" y="4"/>
                  </a:cubicBezTo>
                  <a:cubicBezTo>
                    <a:pt x="540" y="0"/>
                    <a:pt x="534" y="6"/>
                    <a:pt x="522" y="10"/>
                  </a:cubicBezTo>
                  <a:cubicBezTo>
                    <a:pt x="510" y="14"/>
                    <a:pt x="491" y="25"/>
                    <a:pt x="479" y="28"/>
                  </a:cubicBezTo>
                  <a:cubicBezTo>
                    <a:pt x="475" y="32"/>
                    <a:pt x="447" y="31"/>
                    <a:pt x="447" y="31"/>
                  </a:cubicBezTo>
                  <a:cubicBezTo>
                    <a:pt x="427" y="23"/>
                    <a:pt x="408" y="25"/>
                    <a:pt x="388" y="17"/>
                  </a:cubicBezTo>
                  <a:cubicBezTo>
                    <a:pt x="364" y="43"/>
                    <a:pt x="369" y="29"/>
                    <a:pt x="339" y="76"/>
                  </a:cubicBezTo>
                  <a:cubicBezTo>
                    <a:pt x="285" y="88"/>
                    <a:pt x="301" y="89"/>
                    <a:pt x="289" y="100"/>
                  </a:cubicBezTo>
                  <a:cubicBezTo>
                    <a:pt x="263" y="111"/>
                    <a:pt x="222" y="125"/>
                    <a:pt x="183" y="142"/>
                  </a:cubicBezTo>
                  <a:cubicBezTo>
                    <a:pt x="153" y="158"/>
                    <a:pt x="123" y="182"/>
                    <a:pt x="102" y="193"/>
                  </a:cubicBezTo>
                  <a:cubicBezTo>
                    <a:pt x="81" y="204"/>
                    <a:pt x="70" y="194"/>
                    <a:pt x="58" y="211"/>
                  </a:cubicBezTo>
                  <a:cubicBezTo>
                    <a:pt x="18" y="223"/>
                    <a:pt x="13" y="221"/>
                    <a:pt x="0" y="250"/>
                  </a:cubicBezTo>
                  <a:cubicBezTo>
                    <a:pt x="4" y="286"/>
                    <a:pt x="10" y="283"/>
                    <a:pt x="34" y="299"/>
                  </a:cubicBezTo>
                  <a:cubicBezTo>
                    <a:pt x="60" y="314"/>
                    <a:pt x="55" y="328"/>
                    <a:pt x="63" y="352"/>
                  </a:cubicBezTo>
                  <a:cubicBezTo>
                    <a:pt x="59" y="380"/>
                    <a:pt x="60" y="407"/>
                    <a:pt x="83" y="428"/>
                  </a:cubicBezTo>
                  <a:cubicBezTo>
                    <a:pt x="99" y="454"/>
                    <a:pt x="126" y="473"/>
                    <a:pt x="142" y="485"/>
                  </a:cubicBezTo>
                  <a:cubicBezTo>
                    <a:pt x="162" y="513"/>
                    <a:pt x="178" y="529"/>
                    <a:pt x="207" y="541"/>
                  </a:cubicBezTo>
                  <a:cubicBezTo>
                    <a:pt x="223" y="553"/>
                    <a:pt x="212" y="554"/>
                    <a:pt x="228" y="566"/>
                  </a:cubicBezTo>
                  <a:cubicBezTo>
                    <a:pt x="236" y="573"/>
                    <a:pt x="244" y="580"/>
                    <a:pt x="253" y="593"/>
                  </a:cubicBezTo>
                  <a:cubicBezTo>
                    <a:pt x="265" y="598"/>
                    <a:pt x="285" y="590"/>
                    <a:pt x="301" y="604"/>
                  </a:cubicBezTo>
                  <a:cubicBezTo>
                    <a:pt x="325" y="628"/>
                    <a:pt x="325" y="673"/>
                    <a:pt x="346" y="688"/>
                  </a:cubicBezTo>
                  <a:cubicBezTo>
                    <a:pt x="373" y="680"/>
                    <a:pt x="391" y="696"/>
                    <a:pt x="411" y="700"/>
                  </a:cubicBezTo>
                  <a:cubicBezTo>
                    <a:pt x="439" y="703"/>
                    <a:pt x="453" y="691"/>
                    <a:pt x="486" y="695"/>
                  </a:cubicBezTo>
                  <a:cubicBezTo>
                    <a:pt x="494" y="691"/>
                    <a:pt x="508" y="685"/>
                    <a:pt x="508" y="685"/>
                  </a:cubicBezTo>
                  <a:cubicBezTo>
                    <a:pt x="513" y="659"/>
                    <a:pt x="514" y="619"/>
                    <a:pt x="534" y="599"/>
                  </a:cubicBezTo>
                  <a:cubicBezTo>
                    <a:pt x="534" y="587"/>
                    <a:pt x="552" y="578"/>
                    <a:pt x="564" y="574"/>
                  </a:cubicBezTo>
                  <a:cubicBezTo>
                    <a:pt x="580" y="566"/>
                    <a:pt x="600" y="576"/>
                    <a:pt x="616" y="580"/>
                  </a:cubicBezTo>
                  <a:cubicBezTo>
                    <a:pt x="640" y="584"/>
                    <a:pt x="655" y="588"/>
                    <a:pt x="679" y="588"/>
                  </a:cubicBezTo>
                  <a:cubicBezTo>
                    <a:pt x="708" y="593"/>
                    <a:pt x="735" y="593"/>
                    <a:pt x="731" y="608"/>
                  </a:cubicBezTo>
                  <a:cubicBezTo>
                    <a:pt x="747" y="612"/>
                    <a:pt x="759" y="628"/>
                    <a:pt x="783" y="632"/>
                  </a:cubicBezTo>
                  <a:cubicBezTo>
                    <a:pt x="803" y="636"/>
                    <a:pt x="832" y="635"/>
                    <a:pt x="855" y="636"/>
                  </a:cubicBezTo>
                  <a:cubicBezTo>
                    <a:pt x="880" y="640"/>
                    <a:pt x="891" y="641"/>
                    <a:pt x="919" y="637"/>
                  </a:cubicBezTo>
                  <a:cubicBezTo>
                    <a:pt x="935" y="629"/>
                    <a:pt x="931" y="620"/>
                    <a:pt x="939" y="620"/>
                  </a:cubicBez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  <p:sp>
          <p:nvSpPr>
            <p:cNvPr id="289" name="Freeform 100"/>
            <p:cNvSpPr>
              <a:spLocks noChangeAspect="1"/>
            </p:cNvSpPr>
            <p:nvPr/>
          </p:nvSpPr>
          <p:spPr bwMode="auto">
            <a:xfrm>
              <a:off x="2520" y="3034"/>
              <a:ext cx="373" cy="192"/>
            </a:xfrm>
            <a:custGeom>
              <a:avLst/>
              <a:gdLst>
                <a:gd name="T0" fmla="*/ 0 w 1474"/>
                <a:gd name="T1" fmla="*/ 0 h 764"/>
                <a:gd name="T2" fmla="*/ 0 w 1474"/>
                <a:gd name="T3" fmla="*/ 0 h 764"/>
                <a:gd name="T4" fmla="*/ 0 w 1474"/>
                <a:gd name="T5" fmla="*/ 0 h 764"/>
                <a:gd name="T6" fmla="*/ 0 w 1474"/>
                <a:gd name="T7" fmla="*/ 0 h 764"/>
                <a:gd name="T8" fmla="*/ 0 w 1474"/>
                <a:gd name="T9" fmla="*/ 0 h 764"/>
                <a:gd name="T10" fmla="*/ 0 w 1474"/>
                <a:gd name="T11" fmla="*/ 0 h 764"/>
                <a:gd name="T12" fmla="*/ 0 w 1474"/>
                <a:gd name="T13" fmla="*/ 0 h 764"/>
                <a:gd name="T14" fmla="*/ 0 w 1474"/>
                <a:gd name="T15" fmla="*/ 0 h 764"/>
                <a:gd name="T16" fmla="*/ 0 w 1474"/>
                <a:gd name="T17" fmla="*/ 0 h 764"/>
                <a:gd name="T18" fmla="*/ 0 w 1474"/>
                <a:gd name="T19" fmla="*/ 0 h 764"/>
                <a:gd name="T20" fmla="*/ 0 w 1474"/>
                <a:gd name="T21" fmla="*/ 0 h 764"/>
                <a:gd name="T22" fmla="*/ 0 w 1474"/>
                <a:gd name="T23" fmla="*/ 0 h 764"/>
                <a:gd name="T24" fmla="*/ 0 w 1474"/>
                <a:gd name="T25" fmla="*/ 0 h 764"/>
                <a:gd name="T26" fmla="*/ 0 w 1474"/>
                <a:gd name="T27" fmla="*/ 0 h 764"/>
                <a:gd name="T28" fmla="*/ 0 w 1474"/>
                <a:gd name="T29" fmla="*/ 0 h 764"/>
                <a:gd name="T30" fmla="*/ 0 w 1474"/>
                <a:gd name="T31" fmla="*/ 0 h 764"/>
                <a:gd name="T32" fmla="*/ 0 w 1474"/>
                <a:gd name="T33" fmla="*/ 0 h 764"/>
                <a:gd name="T34" fmla="*/ 0 w 1474"/>
                <a:gd name="T35" fmla="*/ 0 h 764"/>
                <a:gd name="T36" fmla="*/ 0 w 1474"/>
                <a:gd name="T37" fmla="*/ 0 h 764"/>
                <a:gd name="T38" fmla="*/ 0 w 1474"/>
                <a:gd name="T39" fmla="*/ 0 h 764"/>
                <a:gd name="T40" fmla="*/ 0 w 1474"/>
                <a:gd name="T41" fmla="*/ 0 h 764"/>
                <a:gd name="T42" fmla="*/ 0 w 1474"/>
                <a:gd name="T43" fmla="*/ 0 h 764"/>
                <a:gd name="T44" fmla="*/ 0 w 1474"/>
                <a:gd name="T45" fmla="*/ 0 h 764"/>
                <a:gd name="T46" fmla="*/ 0 w 1474"/>
                <a:gd name="T47" fmla="*/ 0 h 764"/>
                <a:gd name="T48" fmla="*/ 0 w 1474"/>
                <a:gd name="T49" fmla="*/ 0 h 764"/>
                <a:gd name="T50" fmla="*/ 0 w 1474"/>
                <a:gd name="T51" fmla="*/ 0 h 764"/>
                <a:gd name="T52" fmla="*/ 0 w 1474"/>
                <a:gd name="T53" fmla="*/ 0 h 764"/>
                <a:gd name="T54" fmla="*/ 0 w 1474"/>
                <a:gd name="T55" fmla="*/ 0 h 764"/>
                <a:gd name="T56" fmla="*/ 0 w 1474"/>
                <a:gd name="T57" fmla="*/ 0 h 764"/>
                <a:gd name="T58" fmla="*/ 0 w 1474"/>
                <a:gd name="T59" fmla="*/ 0 h 764"/>
                <a:gd name="T60" fmla="*/ 0 w 1474"/>
                <a:gd name="T61" fmla="*/ 0 h 764"/>
                <a:gd name="T62" fmla="*/ 0 w 1474"/>
                <a:gd name="T63" fmla="*/ 0 h 764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474"/>
                <a:gd name="T97" fmla="*/ 0 h 764"/>
                <a:gd name="T98" fmla="*/ 1474 w 1474"/>
                <a:gd name="T99" fmla="*/ 764 h 764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474" h="764">
                  <a:moveTo>
                    <a:pt x="26" y="452"/>
                  </a:moveTo>
                  <a:cubicBezTo>
                    <a:pt x="39" y="438"/>
                    <a:pt x="59" y="467"/>
                    <a:pt x="72" y="471"/>
                  </a:cubicBezTo>
                  <a:cubicBezTo>
                    <a:pt x="85" y="475"/>
                    <a:pt x="98" y="472"/>
                    <a:pt x="107" y="477"/>
                  </a:cubicBezTo>
                  <a:cubicBezTo>
                    <a:pt x="115" y="489"/>
                    <a:pt x="125" y="501"/>
                    <a:pt x="125" y="501"/>
                  </a:cubicBezTo>
                  <a:cubicBezTo>
                    <a:pt x="129" y="517"/>
                    <a:pt x="142" y="510"/>
                    <a:pt x="150" y="522"/>
                  </a:cubicBezTo>
                  <a:cubicBezTo>
                    <a:pt x="201" y="522"/>
                    <a:pt x="192" y="498"/>
                    <a:pt x="200" y="474"/>
                  </a:cubicBezTo>
                  <a:cubicBezTo>
                    <a:pt x="212" y="466"/>
                    <a:pt x="214" y="468"/>
                    <a:pt x="230" y="464"/>
                  </a:cubicBezTo>
                  <a:cubicBezTo>
                    <a:pt x="262" y="476"/>
                    <a:pt x="294" y="500"/>
                    <a:pt x="321" y="497"/>
                  </a:cubicBezTo>
                  <a:cubicBezTo>
                    <a:pt x="345" y="489"/>
                    <a:pt x="354" y="483"/>
                    <a:pt x="374" y="479"/>
                  </a:cubicBezTo>
                  <a:cubicBezTo>
                    <a:pt x="383" y="462"/>
                    <a:pt x="396" y="440"/>
                    <a:pt x="420" y="428"/>
                  </a:cubicBezTo>
                  <a:cubicBezTo>
                    <a:pt x="444" y="416"/>
                    <a:pt x="493" y="408"/>
                    <a:pt x="519" y="407"/>
                  </a:cubicBezTo>
                  <a:cubicBezTo>
                    <a:pt x="545" y="406"/>
                    <a:pt x="537" y="402"/>
                    <a:pt x="574" y="420"/>
                  </a:cubicBezTo>
                  <a:cubicBezTo>
                    <a:pt x="594" y="410"/>
                    <a:pt x="591" y="407"/>
                    <a:pt x="602" y="407"/>
                  </a:cubicBezTo>
                  <a:cubicBezTo>
                    <a:pt x="613" y="407"/>
                    <a:pt x="625" y="412"/>
                    <a:pt x="639" y="420"/>
                  </a:cubicBezTo>
                  <a:cubicBezTo>
                    <a:pt x="656" y="425"/>
                    <a:pt x="674" y="450"/>
                    <a:pt x="684" y="455"/>
                  </a:cubicBezTo>
                  <a:cubicBezTo>
                    <a:pt x="694" y="460"/>
                    <a:pt x="696" y="455"/>
                    <a:pt x="699" y="450"/>
                  </a:cubicBezTo>
                  <a:cubicBezTo>
                    <a:pt x="695" y="438"/>
                    <a:pt x="709" y="438"/>
                    <a:pt x="701" y="426"/>
                  </a:cubicBezTo>
                  <a:cubicBezTo>
                    <a:pt x="696" y="408"/>
                    <a:pt x="671" y="401"/>
                    <a:pt x="671" y="401"/>
                  </a:cubicBezTo>
                  <a:cubicBezTo>
                    <a:pt x="678" y="315"/>
                    <a:pt x="647" y="294"/>
                    <a:pt x="623" y="270"/>
                  </a:cubicBezTo>
                  <a:cubicBezTo>
                    <a:pt x="659" y="263"/>
                    <a:pt x="662" y="244"/>
                    <a:pt x="680" y="234"/>
                  </a:cubicBezTo>
                  <a:cubicBezTo>
                    <a:pt x="698" y="224"/>
                    <a:pt x="715" y="223"/>
                    <a:pt x="729" y="209"/>
                  </a:cubicBezTo>
                  <a:cubicBezTo>
                    <a:pt x="743" y="188"/>
                    <a:pt x="740" y="168"/>
                    <a:pt x="761" y="149"/>
                  </a:cubicBezTo>
                  <a:cubicBezTo>
                    <a:pt x="774" y="136"/>
                    <a:pt x="799" y="137"/>
                    <a:pt x="810" y="132"/>
                  </a:cubicBezTo>
                  <a:cubicBezTo>
                    <a:pt x="821" y="127"/>
                    <a:pt x="812" y="117"/>
                    <a:pt x="827" y="116"/>
                  </a:cubicBezTo>
                  <a:cubicBezTo>
                    <a:pt x="843" y="108"/>
                    <a:pt x="874" y="116"/>
                    <a:pt x="898" y="128"/>
                  </a:cubicBezTo>
                  <a:cubicBezTo>
                    <a:pt x="922" y="124"/>
                    <a:pt x="950" y="124"/>
                    <a:pt x="974" y="120"/>
                  </a:cubicBezTo>
                  <a:cubicBezTo>
                    <a:pt x="982" y="120"/>
                    <a:pt x="998" y="112"/>
                    <a:pt x="998" y="112"/>
                  </a:cubicBezTo>
                  <a:cubicBezTo>
                    <a:pt x="1010" y="60"/>
                    <a:pt x="1010" y="28"/>
                    <a:pt x="1054" y="0"/>
                  </a:cubicBezTo>
                  <a:cubicBezTo>
                    <a:pt x="1110" y="8"/>
                    <a:pt x="1162" y="20"/>
                    <a:pt x="1218" y="24"/>
                  </a:cubicBezTo>
                  <a:cubicBezTo>
                    <a:pt x="1258" y="84"/>
                    <a:pt x="1342" y="60"/>
                    <a:pt x="1410" y="64"/>
                  </a:cubicBezTo>
                  <a:cubicBezTo>
                    <a:pt x="1443" y="74"/>
                    <a:pt x="1426" y="35"/>
                    <a:pt x="1433" y="50"/>
                  </a:cubicBezTo>
                  <a:cubicBezTo>
                    <a:pt x="1435" y="59"/>
                    <a:pt x="1419" y="98"/>
                    <a:pt x="1421" y="116"/>
                  </a:cubicBezTo>
                  <a:cubicBezTo>
                    <a:pt x="1423" y="134"/>
                    <a:pt x="1434" y="130"/>
                    <a:pt x="1443" y="158"/>
                  </a:cubicBezTo>
                  <a:cubicBezTo>
                    <a:pt x="1427" y="210"/>
                    <a:pt x="1446" y="240"/>
                    <a:pt x="1474" y="284"/>
                  </a:cubicBezTo>
                  <a:cubicBezTo>
                    <a:pt x="1462" y="356"/>
                    <a:pt x="1470" y="348"/>
                    <a:pt x="1394" y="352"/>
                  </a:cubicBezTo>
                  <a:cubicBezTo>
                    <a:pt x="1374" y="344"/>
                    <a:pt x="1358" y="352"/>
                    <a:pt x="1338" y="356"/>
                  </a:cubicBezTo>
                  <a:cubicBezTo>
                    <a:pt x="1358" y="360"/>
                    <a:pt x="1374" y="372"/>
                    <a:pt x="1390" y="384"/>
                  </a:cubicBezTo>
                  <a:cubicBezTo>
                    <a:pt x="1402" y="424"/>
                    <a:pt x="1414" y="416"/>
                    <a:pt x="1390" y="424"/>
                  </a:cubicBezTo>
                  <a:cubicBezTo>
                    <a:pt x="1386" y="440"/>
                    <a:pt x="1378" y="452"/>
                    <a:pt x="1370" y="468"/>
                  </a:cubicBezTo>
                  <a:cubicBezTo>
                    <a:pt x="1378" y="528"/>
                    <a:pt x="1390" y="572"/>
                    <a:pt x="1322" y="588"/>
                  </a:cubicBezTo>
                  <a:cubicBezTo>
                    <a:pt x="1310" y="620"/>
                    <a:pt x="1322" y="608"/>
                    <a:pt x="1298" y="624"/>
                  </a:cubicBezTo>
                  <a:cubicBezTo>
                    <a:pt x="1286" y="660"/>
                    <a:pt x="1262" y="652"/>
                    <a:pt x="1222" y="660"/>
                  </a:cubicBezTo>
                  <a:cubicBezTo>
                    <a:pt x="1214" y="660"/>
                    <a:pt x="1202" y="664"/>
                    <a:pt x="1202" y="664"/>
                  </a:cubicBezTo>
                  <a:cubicBezTo>
                    <a:pt x="1198" y="684"/>
                    <a:pt x="1194" y="684"/>
                    <a:pt x="1174" y="692"/>
                  </a:cubicBezTo>
                  <a:cubicBezTo>
                    <a:pt x="1146" y="688"/>
                    <a:pt x="1134" y="696"/>
                    <a:pt x="1106" y="704"/>
                  </a:cubicBezTo>
                  <a:cubicBezTo>
                    <a:pt x="1094" y="720"/>
                    <a:pt x="1086" y="712"/>
                    <a:pt x="1066" y="720"/>
                  </a:cubicBezTo>
                  <a:cubicBezTo>
                    <a:pt x="1050" y="736"/>
                    <a:pt x="1018" y="748"/>
                    <a:pt x="998" y="756"/>
                  </a:cubicBezTo>
                  <a:cubicBezTo>
                    <a:pt x="926" y="764"/>
                    <a:pt x="895" y="741"/>
                    <a:pt x="807" y="737"/>
                  </a:cubicBezTo>
                  <a:cubicBezTo>
                    <a:pt x="763" y="721"/>
                    <a:pt x="672" y="723"/>
                    <a:pt x="626" y="712"/>
                  </a:cubicBezTo>
                  <a:cubicBezTo>
                    <a:pt x="606" y="704"/>
                    <a:pt x="598" y="696"/>
                    <a:pt x="578" y="688"/>
                  </a:cubicBezTo>
                  <a:cubicBezTo>
                    <a:pt x="574" y="688"/>
                    <a:pt x="564" y="677"/>
                    <a:pt x="564" y="677"/>
                  </a:cubicBezTo>
                  <a:cubicBezTo>
                    <a:pt x="549" y="657"/>
                    <a:pt x="548" y="632"/>
                    <a:pt x="530" y="620"/>
                  </a:cubicBezTo>
                  <a:cubicBezTo>
                    <a:pt x="519" y="605"/>
                    <a:pt x="522" y="604"/>
                    <a:pt x="500" y="594"/>
                  </a:cubicBezTo>
                  <a:cubicBezTo>
                    <a:pt x="476" y="595"/>
                    <a:pt x="438" y="608"/>
                    <a:pt x="438" y="608"/>
                  </a:cubicBezTo>
                  <a:cubicBezTo>
                    <a:pt x="399" y="614"/>
                    <a:pt x="377" y="620"/>
                    <a:pt x="334" y="616"/>
                  </a:cubicBezTo>
                  <a:cubicBezTo>
                    <a:pt x="326" y="630"/>
                    <a:pt x="333" y="621"/>
                    <a:pt x="310" y="656"/>
                  </a:cubicBezTo>
                  <a:cubicBezTo>
                    <a:pt x="306" y="664"/>
                    <a:pt x="303" y="668"/>
                    <a:pt x="303" y="668"/>
                  </a:cubicBezTo>
                  <a:cubicBezTo>
                    <a:pt x="240" y="663"/>
                    <a:pt x="235" y="654"/>
                    <a:pt x="214" y="650"/>
                  </a:cubicBezTo>
                  <a:cubicBezTo>
                    <a:pt x="193" y="646"/>
                    <a:pt x="190" y="647"/>
                    <a:pt x="178" y="644"/>
                  </a:cubicBezTo>
                  <a:cubicBezTo>
                    <a:pt x="173" y="626"/>
                    <a:pt x="166" y="616"/>
                    <a:pt x="142" y="632"/>
                  </a:cubicBezTo>
                  <a:cubicBezTo>
                    <a:pt x="134" y="648"/>
                    <a:pt x="107" y="650"/>
                    <a:pt x="93" y="659"/>
                  </a:cubicBezTo>
                  <a:cubicBezTo>
                    <a:pt x="81" y="650"/>
                    <a:pt x="79" y="647"/>
                    <a:pt x="71" y="627"/>
                  </a:cubicBezTo>
                  <a:cubicBezTo>
                    <a:pt x="67" y="611"/>
                    <a:pt x="38" y="596"/>
                    <a:pt x="26" y="588"/>
                  </a:cubicBezTo>
                  <a:cubicBezTo>
                    <a:pt x="11" y="582"/>
                    <a:pt x="4" y="568"/>
                    <a:pt x="0" y="552"/>
                  </a:cubicBezTo>
                  <a:cubicBezTo>
                    <a:pt x="16" y="508"/>
                    <a:pt x="38" y="521"/>
                    <a:pt x="26" y="452"/>
                  </a:cubicBez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  <p:sp>
          <p:nvSpPr>
            <p:cNvPr id="290" name="Freeform 101"/>
            <p:cNvSpPr>
              <a:spLocks noChangeAspect="1"/>
            </p:cNvSpPr>
            <p:nvPr/>
          </p:nvSpPr>
          <p:spPr bwMode="auto">
            <a:xfrm>
              <a:off x="2339" y="3127"/>
              <a:ext cx="234" cy="153"/>
            </a:xfrm>
            <a:custGeom>
              <a:avLst/>
              <a:gdLst>
                <a:gd name="T0" fmla="*/ 0 w 925"/>
                <a:gd name="T1" fmla="*/ 0 h 605"/>
                <a:gd name="T2" fmla="*/ 0 w 925"/>
                <a:gd name="T3" fmla="*/ 0 h 605"/>
                <a:gd name="T4" fmla="*/ 0 w 925"/>
                <a:gd name="T5" fmla="*/ 0 h 605"/>
                <a:gd name="T6" fmla="*/ 0 w 925"/>
                <a:gd name="T7" fmla="*/ 0 h 605"/>
                <a:gd name="T8" fmla="*/ 0 w 925"/>
                <a:gd name="T9" fmla="*/ 0 h 605"/>
                <a:gd name="T10" fmla="*/ 0 w 925"/>
                <a:gd name="T11" fmla="*/ 0 h 605"/>
                <a:gd name="T12" fmla="*/ 0 w 925"/>
                <a:gd name="T13" fmla="*/ 0 h 605"/>
                <a:gd name="T14" fmla="*/ 0 w 925"/>
                <a:gd name="T15" fmla="*/ 0 h 605"/>
                <a:gd name="T16" fmla="*/ 0 w 925"/>
                <a:gd name="T17" fmla="*/ 0 h 605"/>
                <a:gd name="T18" fmla="*/ 0 w 925"/>
                <a:gd name="T19" fmla="*/ 0 h 605"/>
                <a:gd name="T20" fmla="*/ 0 w 925"/>
                <a:gd name="T21" fmla="*/ 0 h 605"/>
                <a:gd name="T22" fmla="*/ 0 w 925"/>
                <a:gd name="T23" fmla="*/ 0 h 605"/>
                <a:gd name="T24" fmla="*/ 0 w 925"/>
                <a:gd name="T25" fmla="*/ 0 h 605"/>
                <a:gd name="T26" fmla="*/ 0 w 925"/>
                <a:gd name="T27" fmla="*/ 0 h 605"/>
                <a:gd name="T28" fmla="*/ 0 w 925"/>
                <a:gd name="T29" fmla="*/ 0 h 605"/>
                <a:gd name="T30" fmla="*/ 0 w 925"/>
                <a:gd name="T31" fmla="*/ 0 h 605"/>
                <a:gd name="T32" fmla="*/ 0 w 925"/>
                <a:gd name="T33" fmla="*/ 0 h 605"/>
                <a:gd name="T34" fmla="*/ 0 w 925"/>
                <a:gd name="T35" fmla="*/ 0 h 605"/>
                <a:gd name="T36" fmla="*/ 0 w 925"/>
                <a:gd name="T37" fmla="*/ 0 h 605"/>
                <a:gd name="T38" fmla="*/ 0 w 925"/>
                <a:gd name="T39" fmla="*/ 0 h 605"/>
                <a:gd name="T40" fmla="*/ 0 w 925"/>
                <a:gd name="T41" fmla="*/ 0 h 605"/>
                <a:gd name="T42" fmla="*/ 0 w 925"/>
                <a:gd name="T43" fmla="*/ 0 h 605"/>
                <a:gd name="T44" fmla="*/ 0 w 925"/>
                <a:gd name="T45" fmla="*/ 0 h 605"/>
                <a:gd name="T46" fmla="*/ 0 w 925"/>
                <a:gd name="T47" fmla="*/ 0 h 605"/>
                <a:gd name="T48" fmla="*/ 0 w 925"/>
                <a:gd name="T49" fmla="*/ 0 h 605"/>
                <a:gd name="T50" fmla="*/ 0 w 925"/>
                <a:gd name="T51" fmla="*/ 0 h 605"/>
                <a:gd name="T52" fmla="*/ 0 w 925"/>
                <a:gd name="T53" fmla="*/ 0 h 605"/>
                <a:gd name="T54" fmla="*/ 0 w 925"/>
                <a:gd name="T55" fmla="*/ 0 h 605"/>
                <a:gd name="T56" fmla="*/ 0 w 925"/>
                <a:gd name="T57" fmla="*/ 0 h 605"/>
                <a:gd name="T58" fmla="*/ 0 w 925"/>
                <a:gd name="T59" fmla="*/ 0 h 605"/>
                <a:gd name="T60" fmla="*/ 0 w 925"/>
                <a:gd name="T61" fmla="*/ 0 h 605"/>
                <a:gd name="T62" fmla="*/ 0 w 925"/>
                <a:gd name="T63" fmla="*/ 0 h 605"/>
                <a:gd name="T64" fmla="*/ 0 w 925"/>
                <a:gd name="T65" fmla="*/ 0 h 605"/>
                <a:gd name="T66" fmla="*/ 0 w 925"/>
                <a:gd name="T67" fmla="*/ 0 h 605"/>
                <a:gd name="T68" fmla="*/ 0 w 925"/>
                <a:gd name="T69" fmla="*/ 0 h 605"/>
                <a:gd name="T70" fmla="*/ 0 w 925"/>
                <a:gd name="T71" fmla="*/ 0 h 605"/>
                <a:gd name="T72" fmla="*/ 0 w 925"/>
                <a:gd name="T73" fmla="*/ 0 h 605"/>
                <a:gd name="T74" fmla="*/ 0 w 925"/>
                <a:gd name="T75" fmla="*/ 0 h 605"/>
                <a:gd name="T76" fmla="*/ 0 w 925"/>
                <a:gd name="T77" fmla="*/ 0 h 605"/>
                <a:gd name="T78" fmla="*/ 0 w 925"/>
                <a:gd name="T79" fmla="*/ 0 h 605"/>
                <a:gd name="T80" fmla="*/ 0 w 925"/>
                <a:gd name="T81" fmla="*/ 0 h 605"/>
                <a:gd name="T82" fmla="*/ 0 w 925"/>
                <a:gd name="T83" fmla="*/ 0 h 605"/>
                <a:gd name="T84" fmla="*/ 0 w 925"/>
                <a:gd name="T85" fmla="*/ 0 h 605"/>
                <a:gd name="T86" fmla="*/ 0 w 925"/>
                <a:gd name="T87" fmla="*/ 0 h 605"/>
                <a:gd name="T88" fmla="*/ 0 w 925"/>
                <a:gd name="T89" fmla="*/ 0 h 605"/>
                <a:gd name="T90" fmla="*/ 0 w 925"/>
                <a:gd name="T91" fmla="*/ 0 h 605"/>
                <a:gd name="T92" fmla="*/ 0 w 925"/>
                <a:gd name="T93" fmla="*/ 0 h 605"/>
                <a:gd name="T94" fmla="*/ 0 w 925"/>
                <a:gd name="T95" fmla="*/ 0 h 605"/>
                <a:gd name="T96" fmla="*/ 0 w 925"/>
                <a:gd name="T97" fmla="*/ 0 h 605"/>
                <a:gd name="T98" fmla="*/ 0 w 925"/>
                <a:gd name="T99" fmla="*/ 0 h 605"/>
                <a:gd name="T100" fmla="*/ 0 w 925"/>
                <a:gd name="T101" fmla="*/ 0 h 605"/>
                <a:gd name="T102" fmla="*/ 0 w 925"/>
                <a:gd name="T103" fmla="*/ 0 h 605"/>
                <a:gd name="T104" fmla="*/ 0 w 925"/>
                <a:gd name="T105" fmla="*/ 0 h 605"/>
                <a:gd name="T106" fmla="*/ 0 w 925"/>
                <a:gd name="T107" fmla="*/ 0 h 605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925"/>
                <a:gd name="T163" fmla="*/ 0 h 605"/>
                <a:gd name="T164" fmla="*/ 925 w 925"/>
                <a:gd name="T165" fmla="*/ 605 h 605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925" h="605">
                  <a:moveTo>
                    <a:pt x="328" y="78"/>
                  </a:moveTo>
                  <a:cubicBezTo>
                    <a:pt x="372" y="86"/>
                    <a:pt x="378" y="74"/>
                    <a:pt x="428" y="82"/>
                  </a:cubicBezTo>
                  <a:cubicBezTo>
                    <a:pt x="460" y="74"/>
                    <a:pt x="481" y="81"/>
                    <a:pt x="513" y="69"/>
                  </a:cubicBezTo>
                  <a:cubicBezTo>
                    <a:pt x="517" y="61"/>
                    <a:pt x="543" y="52"/>
                    <a:pt x="535" y="48"/>
                  </a:cubicBezTo>
                  <a:cubicBezTo>
                    <a:pt x="523" y="44"/>
                    <a:pt x="500" y="30"/>
                    <a:pt x="500" y="30"/>
                  </a:cubicBezTo>
                  <a:cubicBezTo>
                    <a:pt x="480" y="2"/>
                    <a:pt x="505" y="0"/>
                    <a:pt x="528" y="10"/>
                  </a:cubicBezTo>
                  <a:cubicBezTo>
                    <a:pt x="544" y="14"/>
                    <a:pt x="555" y="18"/>
                    <a:pt x="567" y="26"/>
                  </a:cubicBezTo>
                  <a:cubicBezTo>
                    <a:pt x="568" y="50"/>
                    <a:pt x="592" y="59"/>
                    <a:pt x="596" y="62"/>
                  </a:cubicBezTo>
                  <a:cubicBezTo>
                    <a:pt x="606" y="66"/>
                    <a:pt x="618" y="44"/>
                    <a:pt x="633" y="42"/>
                  </a:cubicBezTo>
                  <a:cubicBezTo>
                    <a:pt x="648" y="40"/>
                    <a:pt x="655" y="53"/>
                    <a:pt x="685" y="50"/>
                  </a:cubicBezTo>
                  <a:cubicBezTo>
                    <a:pt x="709" y="58"/>
                    <a:pt x="724" y="72"/>
                    <a:pt x="744" y="80"/>
                  </a:cubicBezTo>
                  <a:cubicBezTo>
                    <a:pt x="756" y="113"/>
                    <a:pt x="740" y="154"/>
                    <a:pt x="720" y="182"/>
                  </a:cubicBezTo>
                  <a:cubicBezTo>
                    <a:pt x="728" y="210"/>
                    <a:pt x="724" y="218"/>
                    <a:pt x="752" y="226"/>
                  </a:cubicBezTo>
                  <a:cubicBezTo>
                    <a:pt x="780" y="246"/>
                    <a:pt x="768" y="234"/>
                    <a:pt x="788" y="254"/>
                  </a:cubicBezTo>
                  <a:cubicBezTo>
                    <a:pt x="792" y="270"/>
                    <a:pt x="800" y="282"/>
                    <a:pt x="808" y="294"/>
                  </a:cubicBezTo>
                  <a:cubicBezTo>
                    <a:pt x="828" y="290"/>
                    <a:pt x="860" y="266"/>
                    <a:pt x="880" y="258"/>
                  </a:cubicBezTo>
                  <a:cubicBezTo>
                    <a:pt x="896" y="253"/>
                    <a:pt x="891" y="277"/>
                    <a:pt x="898" y="281"/>
                  </a:cubicBezTo>
                  <a:cubicBezTo>
                    <a:pt x="905" y="285"/>
                    <a:pt x="923" y="279"/>
                    <a:pt x="924" y="282"/>
                  </a:cubicBezTo>
                  <a:cubicBezTo>
                    <a:pt x="925" y="285"/>
                    <a:pt x="909" y="289"/>
                    <a:pt x="903" y="300"/>
                  </a:cubicBezTo>
                  <a:cubicBezTo>
                    <a:pt x="897" y="311"/>
                    <a:pt x="899" y="338"/>
                    <a:pt x="888" y="350"/>
                  </a:cubicBezTo>
                  <a:cubicBezTo>
                    <a:pt x="871" y="384"/>
                    <a:pt x="869" y="373"/>
                    <a:pt x="838" y="374"/>
                  </a:cubicBezTo>
                  <a:cubicBezTo>
                    <a:pt x="837" y="393"/>
                    <a:pt x="834" y="392"/>
                    <a:pt x="823" y="419"/>
                  </a:cubicBezTo>
                  <a:cubicBezTo>
                    <a:pt x="816" y="430"/>
                    <a:pt x="806" y="426"/>
                    <a:pt x="792" y="434"/>
                  </a:cubicBezTo>
                  <a:cubicBezTo>
                    <a:pt x="754" y="450"/>
                    <a:pt x="766" y="447"/>
                    <a:pt x="744" y="470"/>
                  </a:cubicBezTo>
                  <a:cubicBezTo>
                    <a:pt x="739" y="452"/>
                    <a:pt x="747" y="440"/>
                    <a:pt x="709" y="435"/>
                  </a:cubicBezTo>
                  <a:cubicBezTo>
                    <a:pt x="705" y="415"/>
                    <a:pt x="693" y="417"/>
                    <a:pt x="693" y="417"/>
                  </a:cubicBezTo>
                  <a:cubicBezTo>
                    <a:pt x="663" y="422"/>
                    <a:pt x="669" y="433"/>
                    <a:pt x="655" y="453"/>
                  </a:cubicBezTo>
                  <a:cubicBezTo>
                    <a:pt x="641" y="473"/>
                    <a:pt x="622" y="509"/>
                    <a:pt x="610" y="534"/>
                  </a:cubicBezTo>
                  <a:cubicBezTo>
                    <a:pt x="598" y="557"/>
                    <a:pt x="604" y="545"/>
                    <a:pt x="583" y="605"/>
                  </a:cubicBezTo>
                  <a:cubicBezTo>
                    <a:pt x="567" y="576"/>
                    <a:pt x="559" y="543"/>
                    <a:pt x="555" y="515"/>
                  </a:cubicBezTo>
                  <a:cubicBezTo>
                    <a:pt x="543" y="485"/>
                    <a:pt x="538" y="494"/>
                    <a:pt x="528" y="495"/>
                  </a:cubicBezTo>
                  <a:cubicBezTo>
                    <a:pt x="523" y="489"/>
                    <a:pt x="530" y="485"/>
                    <a:pt x="525" y="476"/>
                  </a:cubicBezTo>
                  <a:cubicBezTo>
                    <a:pt x="513" y="456"/>
                    <a:pt x="522" y="453"/>
                    <a:pt x="496" y="438"/>
                  </a:cubicBezTo>
                  <a:cubicBezTo>
                    <a:pt x="488" y="434"/>
                    <a:pt x="472" y="454"/>
                    <a:pt x="464" y="458"/>
                  </a:cubicBezTo>
                  <a:cubicBezTo>
                    <a:pt x="452" y="466"/>
                    <a:pt x="436" y="473"/>
                    <a:pt x="432" y="498"/>
                  </a:cubicBezTo>
                  <a:cubicBezTo>
                    <a:pt x="424" y="510"/>
                    <a:pt x="423" y="536"/>
                    <a:pt x="411" y="540"/>
                  </a:cubicBezTo>
                  <a:cubicBezTo>
                    <a:pt x="403" y="544"/>
                    <a:pt x="360" y="546"/>
                    <a:pt x="360" y="546"/>
                  </a:cubicBezTo>
                  <a:cubicBezTo>
                    <a:pt x="324" y="542"/>
                    <a:pt x="326" y="544"/>
                    <a:pt x="286" y="548"/>
                  </a:cubicBezTo>
                  <a:cubicBezTo>
                    <a:pt x="267" y="557"/>
                    <a:pt x="264" y="562"/>
                    <a:pt x="248" y="566"/>
                  </a:cubicBezTo>
                  <a:cubicBezTo>
                    <a:pt x="235" y="566"/>
                    <a:pt x="208" y="557"/>
                    <a:pt x="198" y="552"/>
                  </a:cubicBezTo>
                  <a:cubicBezTo>
                    <a:pt x="188" y="547"/>
                    <a:pt x="193" y="547"/>
                    <a:pt x="188" y="534"/>
                  </a:cubicBezTo>
                  <a:cubicBezTo>
                    <a:pt x="175" y="494"/>
                    <a:pt x="172" y="506"/>
                    <a:pt x="168" y="473"/>
                  </a:cubicBezTo>
                  <a:cubicBezTo>
                    <a:pt x="157" y="447"/>
                    <a:pt x="178" y="441"/>
                    <a:pt x="128" y="422"/>
                  </a:cubicBezTo>
                  <a:cubicBezTo>
                    <a:pt x="93" y="428"/>
                    <a:pt x="81" y="432"/>
                    <a:pt x="44" y="438"/>
                  </a:cubicBezTo>
                  <a:cubicBezTo>
                    <a:pt x="30" y="450"/>
                    <a:pt x="16" y="468"/>
                    <a:pt x="0" y="494"/>
                  </a:cubicBezTo>
                  <a:cubicBezTo>
                    <a:pt x="1" y="435"/>
                    <a:pt x="15" y="440"/>
                    <a:pt x="24" y="414"/>
                  </a:cubicBezTo>
                  <a:cubicBezTo>
                    <a:pt x="46" y="389"/>
                    <a:pt x="24" y="370"/>
                    <a:pt x="36" y="351"/>
                  </a:cubicBezTo>
                  <a:cubicBezTo>
                    <a:pt x="48" y="332"/>
                    <a:pt x="66" y="313"/>
                    <a:pt x="94" y="299"/>
                  </a:cubicBezTo>
                  <a:cubicBezTo>
                    <a:pt x="111" y="278"/>
                    <a:pt x="116" y="269"/>
                    <a:pt x="136" y="245"/>
                  </a:cubicBezTo>
                  <a:cubicBezTo>
                    <a:pt x="150" y="209"/>
                    <a:pt x="168" y="198"/>
                    <a:pt x="184" y="174"/>
                  </a:cubicBezTo>
                  <a:cubicBezTo>
                    <a:pt x="188" y="162"/>
                    <a:pt x="194" y="146"/>
                    <a:pt x="198" y="134"/>
                  </a:cubicBezTo>
                  <a:cubicBezTo>
                    <a:pt x="217" y="95"/>
                    <a:pt x="196" y="119"/>
                    <a:pt x="225" y="81"/>
                  </a:cubicBezTo>
                  <a:cubicBezTo>
                    <a:pt x="229" y="89"/>
                    <a:pt x="268" y="83"/>
                    <a:pt x="276" y="87"/>
                  </a:cubicBezTo>
                  <a:cubicBezTo>
                    <a:pt x="288" y="87"/>
                    <a:pt x="327" y="101"/>
                    <a:pt x="328" y="78"/>
                  </a:cubicBez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  <p:grpSp>
          <p:nvGrpSpPr>
            <p:cNvPr id="291" name="Group 102"/>
            <p:cNvGrpSpPr>
              <a:grpSpLocks/>
            </p:cNvGrpSpPr>
            <p:nvPr/>
          </p:nvGrpSpPr>
          <p:grpSpPr bwMode="auto">
            <a:xfrm>
              <a:off x="1828" y="2873"/>
              <a:ext cx="695" cy="729"/>
              <a:chOff x="-144" y="5643"/>
              <a:chExt cx="2751" cy="2887"/>
            </a:xfrm>
            <a:grpFill/>
          </p:grpSpPr>
          <p:sp>
            <p:nvSpPr>
              <p:cNvPr id="313" name="Freeform 103"/>
              <p:cNvSpPr>
                <a:spLocks noChangeAspect="1"/>
              </p:cNvSpPr>
              <p:nvPr/>
            </p:nvSpPr>
            <p:spPr bwMode="auto">
              <a:xfrm>
                <a:off x="372" y="6943"/>
                <a:ext cx="68" cy="203"/>
              </a:xfrm>
              <a:custGeom>
                <a:avLst/>
                <a:gdLst>
                  <a:gd name="T0" fmla="*/ 2147483647 w 17"/>
                  <a:gd name="T1" fmla="*/ 2147483647 h 51"/>
                  <a:gd name="T2" fmla="*/ 2147483647 w 17"/>
                  <a:gd name="T3" fmla="*/ 2147483647 h 51"/>
                  <a:gd name="T4" fmla="*/ 2147483647 w 17"/>
                  <a:gd name="T5" fmla="*/ 2147483647 h 51"/>
                  <a:gd name="T6" fmla="*/ 2147483647 w 17"/>
                  <a:gd name="T7" fmla="*/ 2147483647 h 51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7"/>
                  <a:gd name="T13" fmla="*/ 0 h 51"/>
                  <a:gd name="T14" fmla="*/ 17 w 17"/>
                  <a:gd name="T15" fmla="*/ 51 h 51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7" h="51">
                    <a:moveTo>
                      <a:pt x="5" y="11"/>
                    </a:moveTo>
                    <a:cubicBezTo>
                      <a:pt x="8" y="14"/>
                      <a:pt x="9" y="17"/>
                      <a:pt x="11" y="20"/>
                    </a:cubicBezTo>
                    <a:cubicBezTo>
                      <a:pt x="12" y="26"/>
                      <a:pt x="17" y="51"/>
                      <a:pt x="9" y="40"/>
                    </a:cubicBezTo>
                    <a:cubicBezTo>
                      <a:pt x="8" y="35"/>
                      <a:pt x="0" y="0"/>
                      <a:pt x="5" y="11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14" name="Freeform 104"/>
              <p:cNvSpPr>
                <a:spLocks noChangeAspect="1"/>
              </p:cNvSpPr>
              <p:nvPr/>
            </p:nvSpPr>
            <p:spPr bwMode="auto">
              <a:xfrm>
                <a:off x="364" y="6911"/>
                <a:ext cx="76" cy="52"/>
              </a:xfrm>
              <a:custGeom>
                <a:avLst/>
                <a:gdLst>
                  <a:gd name="T0" fmla="*/ 0 w 19"/>
                  <a:gd name="T1" fmla="*/ 0 h 13"/>
                  <a:gd name="T2" fmla="*/ 2147483647 w 19"/>
                  <a:gd name="T3" fmla="*/ 2147483647 h 13"/>
                  <a:gd name="T4" fmla="*/ 0 w 19"/>
                  <a:gd name="T5" fmla="*/ 0 h 13"/>
                  <a:gd name="T6" fmla="*/ 0 60000 65536"/>
                  <a:gd name="T7" fmla="*/ 0 60000 65536"/>
                  <a:gd name="T8" fmla="*/ 0 60000 65536"/>
                  <a:gd name="T9" fmla="*/ 0 w 19"/>
                  <a:gd name="T10" fmla="*/ 0 h 13"/>
                  <a:gd name="T11" fmla="*/ 19 w 19"/>
                  <a:gd name="T12" fmla="*/ 13 h 13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9" h="13">
                    <a:moveTo>
                      <a:pt x="0" y="0"/>
                    </a:moveTo>
                    <a:cubicBezTo>
                      <a:pt x="7" y="3"/>
                      <a:pt x="10" y="11"/>
                      <a:pt x="16" y="13"/>
                    </a:cubicBezTo>
                    <a:cubicBezTo>
                      <a:pt x="19" y="2"/>
                      <a:pt x="9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15" name="Freeform 105"/>
              <p:cNvSpPr>
                <a:spLocks noChangeAspect="1"/>
              </p:cNvSpPr>
              <p:nvPr/>
            </p:nvSpPr>
            <p:spPr bwMode="auto">
              <a:xfrm>
                <a:off x="2347" y="8050"/>
                <a:ext cx="260" cy="480"/>
              </a:xfrm>
              <a:custGeom>
                <a:avLst/>
                <a:gdLst>
                  <a:gd name="T0" fmla="*/ 2147483647 w 65"/>
                  <a:gd name="T1" fmla="*/ 2147483647 h 120"/>
                  <a:gd name="T2" fmla="*/ 2147483647 w 65"/>
                  <a:gd name="T3" fmla="*/ 0 h 120"/>
                  <a:gd name="T4" fmla="*/ 2147483647 w 65"/>
                  <a:gd name="T5" fmla="*/ 2147483647 h 120"/>
                  <a:gd name="T6" fmla="*/ 2147483647 w 65"/>
                  <a:gd name="T7" fmla="*/ 2147483647 h 120"/>
                  <a:gd name="T8" fmla="*/ 2147483647 w 65"/>
                  <a:gd name="T9" fmla="*/ 2147483647 h 120"/>
                  <a:gd name="T10" fmla="*/ 2147483647 w 65"/>
                  <a:gd name="T11" fmla="*/ 2147483647 h 120"/>
                  <a:gd name="T12" fmla="*/ 2147483647 w 65"/>
                  <a:gd name="T13" fmla="*/ 2147483647 h 120"/>
                  <a:gd name="T14" fmla="*/ 2147483647 w 65"/>
                  <a:gd name="T15" fmla="*/ 2147483647 h 120"/>
                  <a:gd name="T16" fmla="*/ 2147483647 w 65"/>
                  <a:gd name="T17" fmla="*/ 2147483647 h 120"/>
                  <a:gd name="T18" fmla="*/ 2147483647 w 65"/>
                  <a:gd name="T19" fmla="*/ 2147483647 h 120"/>
                  <a:gd name="T20" fmla="*/ 2147483647 w 65"/>
                  <a:gd name="T21" fmla="*/ 2147483647 h 120"/>
                  <a:gd name="T22" fmla="*/ 2147483647 w 65"/>
                  <a:gd name="T23" fmla="*/ 2147483647 h 120"/>
                  <a:gd name="T24" fmla="*/ 2147483647 w 65"/>
                  <a:gd name="T25" fmla="*/ 2147483647 h 120"/>
                  <a:gd name="T26" fmla="*/ 2147483647 w 65"/>
                  <a:gd name="T27" fmla="*/ 2147483647 h 120"/>
                  <a:gd name="T28" fmla="*/ 2147483647 w 65"/>
                  <a:gd name="T29" fmla="*/ 2147483647 h 120"/>
                  <a:gd name="T30" fmla="*/ 2147483647 w 65"/>
                  <a:gd name="T31" fmla="*/ 2147483647 h 120"/>
                  <a:gd name="T32" fmla="*/ 2147483647 w 65"/>
                  <a:gd name="T33" fmla="*/ 2147483647 h 120"/>
                  <a:gd name="T34" fmla="*/ 2147483647 w 65"/>
                  <a:gd name="T35" fmla="*/ 2147483647 h 120"/>
                  <a:gd name="T36" fmla="*/ 2147483647 w 65"/>
                  <a:gd name="T37" fmla="*/ 2147483647 h 120"/>
                  <a:gd name="T38" fmla="*/ 2147483647 w 65"/>
                  <a:gd name="T39" fmla="*/ 2147483647 h 120"/>
                  <a:gd name="T40" fmla="*/ 2147483647 w 65"/>
                  <a:gd name="T41" fmla="*/ 2147483647 h 120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65"/>
                  <a:gd name="T64" fmla="*/ 0 h 120"/>
                  <a:gd name="T65" fmla="*/ 65 w 65"/>
                  <a:gd name="T66" fmla="*/ 120 h 120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65" h="120">
                    <a:moveTo>
                      <a:pt x="49" y="27"/>
                    </a:moveTo>
                    <a:cubicBezTo>
                      <a:pt x="53" y="16"/>
                      <a:pt x="45" y="4"/>
                      <a:pt x="57" y="0"/>
                    </a:cubicBezTo>
                    <a:cubicBezTo>
                      <a:pt x="59" y="6"/>
                      <a:pt x="56" y="19"/>
                      <a:pt x="56" y="25"/>
                    </a:cubicBezTo>
                    <a:cubicBezTo>
                      <a:pt x="57" y="31"/>
                      <a:pt x="56" y="33"/>
                      <a:pt x="61" y="36"/>
                    </a:cubicBezTo>
                    <a:cubicBezTo>
                      <a:pt x="63" y="48"/>
                      <a:pt x="65" y="61"/>
                      <a:pt x="60" y="72"/>
                    </a:cubicBezTo>
                    <a:cubicBezTo>
                      <a:pt x="58" y="76"/>
                      <a:pt x="56" y="81"/>
                      <a:pt x="55" y="85"/>
                    </a:cubicBezTo>
                    <a:cubicBezTo>
                      <a:pt x="55" y="86"/>
                      <a:pt x="54" y="88"/>
                      <a:pt x="54" y="88"/>
                    </a:cubicBezTo>
                    <a:cubicBezTo>
                      <a:pt x="55" y="94"/>
                      <a:pt x="56" y="98"/>
                      <a:pt x="51" y="103"/>
                    </a:cubicBezTo>
                    <a:cubicBezTo>
                      <a:pt x="49" y="109"/>
                      <a:pt x="47" y="115"/>
                      <a:pt x="44" y="120"/>
                    </a:cubicBezTo>
                    <a:cubicBezTo>
                      <a:pt x="36" y="119"/>
                      <a:pt x="32" y="111"/>
                      <a:pt x="24" y="106"/>
                    </a:cubicBezTo>
                    <a:cubicBezTo>
                      <a:pt x="23" y="105"/>
                      <a:pt x="22" y="104"/>
                      <a:pt x="22" y="103"/>
                    </a:cubicBezTo>
                    <a:cubicBezTo>
                      <a:pt x="22" y="102"/>
                      <a:pt x="23" y="100"/>
                      <a:pt x="24" y="99"/>
                    </a:cubicBezTo>
                    <a:cubicBezTo>
                      <a:pt x="27" y="91"/>
                      <a:pt x="27" y="93"/>
                      <a:pt x="19" y="94"/>
                    </a:cubicBezTo>
                    <a:cubicBezTo>
                      <a:pt x="9" y="92"/>
                      <a:pt x="17" y="84"/>
                      <a:pt x="19" y="78"/>
                    </a:cubicBezTo>
                    <a:cubicBezTo>
                      <a:pt x="17" y="77"/>
                      <a:pt x="14" y="81"/>
                      <a:pt x="13" y="79"/>
                    </a:cubicBezTo>
                    <a:cubicBezTo>
                      <a:pt x="11" y="75"/>
                      <a:pt x="18" y="67"/>
                      <a:pt x="18" y="67"/>
                    </a:cubicBezTo>
                    <a:cubicBezTo>
                      <a:pt x="6" y="63"/>
                      <a:pt x="0" y="66"/>
                      <a:pt x="10" y="52"/>
                    </a:cubicBezTo>
                    <a:cubicBezTo>
                      <a:pt x="8" y="42"/>
                      <a:pt x="9" y="40"/>
                      <a:pt x="18" y="34"/>
                    </a:cubicBezTo>
                    <a:cubicBezTo>
                      <a:pt x="20" y="31"/>
                      <a:pt x="33" y="24"/>
                      <a:pt x="37" y="23"/>
                    </a:cubicBezTo>
                    <a:cubicBezTo>
                      <a:pt x="41" y="23"/>
                      <a:pt x="45" y="23"/>
                      <a:pt x="49" y="24"/>
                    </a:cubicBezTo>
                    <a:cubicBezTo>
                      <a:pt x="50" y="24"/>
                      <a:pt x="50" y="27"/>
                      <a:pt x="49" y="27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16" name="Freeform 106"/>
              <p:cNvSpPr>
                <a:spLocks noChangeAspect="1"/>
              </p:cNvSpPr>
              <p:nvPr/>
            </p:nvSpPr>
            <p:spPr bwMode="auto">
              <a:xfrm>
                <a:off x="-144" y="5643"/>
                <a:ext cx="2501" cy="2523"/>
              </a:xfrm>
              <a:custGeom>
                <a:avLst/>
                <a:gdLst>
                  <a:gd name="T0" fmla="*/ 1303 w 2501"/>
                  <a:gd name="T1" fmla="*/ 28 h 2523"/>
                  <a:gd name="T2" fmla="*/ 1044 w 2501"/>
                  <a:gd name="T3" fmla="*/ 308 h 2523"/>
                  <a:gd name="T4" fmla="*/ 920 w 2501"/>
                  <a:gd name="T5" fmla="*/ 436 h 2523"/>
                  <a:gd name="T6" fmla="*/ 728 w 2501"/>
                  <a:gd name="T7" fmla="*/ 380 h 2523"/>
                  <a:gd name="T8" fmla="*/ 588 w 2501"/>
                  <a:gd name="T9" fmla="*/ 344 h 2523"/>
                  <a:gd name="T10" fmla="*/ 560 w 2501"/>
                  <a:gd name="T11" fmla="*/ 584 h 2523"/>
                  <a:gd name="T12" fmla="*/ 164 w 2501"/>
                  <a:gd name="T13" fmla="*/ 508 h 2523"/>
                  <a:gd name="T14" fmla="*/ 60 w 2501"/>
                  <a:gd name="T15" fmla="*/ 584 h 2523"/>
                  <a:gd name="T16" fmla="*/ 12 w 2501"/>
                  <a:gd name="T17" fmla="*/ 680 h 2523"/>
                  <a:gd name="T18" fmla="*/ 100 w 2501"/>
                  <a:gd name="T19" fmla="*/ 720 h 2523"/>
                  <a:gd name="T20" fmla="*/ 284 w 2501"/>
                  <a:gd name="T21" fmla="*/ 872 h 2523"/>
                  <a:gd name="T22" fmla="*/ 404 w 2501"/>
                  <a:gd name="T23" fmla="*/ 948 h 2523"/>
                  <a:gd name="T24" fmla="*/ 412 w 2501"/>
                  <a:gd name="T25" fmla="*/ 1032 h 2523"/>
                  <a:gd name="T26" fmla="*/ 500 w 2501"/>
                  <a:gd name="T27" fmla="*/ 1204 h 2523"/>
                  <a:gd name="T28" fmla="*/ 608 w 2501"/>
                  <a:gd name="T29" fmla="*/ 1315 h 2523"/>
                  <a:gd name="T30" fmla="*/ 644 w 2501"/>
                  <a:gd name="T31" fmla="*/ 1559 h 2523"/>
                  <a:gd name="T32" fmla="*/ 620 w 2501"/>
                  <a:gd name="T33" fmla="*/ 1607 h 2523"/>
                  <a:gd name="T34" fmla="*/ 504 w 2501"/>
                  <a:gd name="T35" fmla="*/ 1651 h 2523"/>
                  <a:gd name="T36" fmla="*/ 444 w 2501"/>
                  <a:gd name="T37" fmla="*/ 1919 h 2523"/>
                  <a:gd name="T38" fmla="*/ 381 w 2501"/>
                  <a:gd name="T39" fmla="*/ 2100 h 2523"/>
                  <a:gd name="T40" fmla="*/ 528 w 2501"/>
                  <a:gd name="T41" fmla="*/ 2251 h 2523"/>
                  <a:gd name="T42" fmla="*/ 788 w 2501"/>
                  <a:gd name="T43" fmla="*/ 2383 h 2523"/>
                  <a:gd name="T44" fmla="*/ 988 w 2501"/>
                  <a:gd name="T45" fmla="*/ 2407 h 2523"/>
                  <a:gd name="T46" fmla="*/ 1196 w 2501"/>
                  <a:gd name="T47" fmla="*/ 2502 h 2523"/>
                  <a:gd name="T48" fmla="*/ 1347 w 2501"/>
                  <a:gd name="T49" fmla="*/ 2335 h 2523"/>
                  <a:gd name="T50" fmla="*/ 1779 w 2501"/>
                  <a:gd name="T51" fmla="*/ 2283 h 2523"/>
                  <a:gd name="T52" fmla="*/ 2155 w 2501"/>
                  <a:gd name="T53" fmla="*/ 2299 h 2523"/>
                  <a:gd name="T54" fmla="*/ 2311 w 2501"/>
                  <a:gd name="T55" fmla="*/ 2183 h 2523"/>
                  <a:gd name="T56" fmla="*/ 2243 w 2501"/>
                  <a:gd name="T57" fmla="*/ 2071 h 2523"/>
                  <a:gd name="T58" fmla="*/ 2167 w 2501"/>
                  <a:gd name="T59" fmla="*/ 1855 h 2523"/>
                  <a:gd name="T60" fmla="*/ 2243 w 2501"/>
                  <a:gd name="T61" fmla="*/ 1733 h 2523"/>
                  <a:gd name="T62" fmla="*/ 2211 w 2501"/>
                  <a:gd name="T63" fmla="*/ 1581 h 2523"/>
                  <a:gd name="T64" fmla="*/ 2215 w 2501"/>
                  <a:gd name="T65" fmla="*/ 1543 h 2523"/>
                  <a:gd name="T66" fmla="*/ 2075 w 2501"/>
                  <a:gd name="T67" fmla="*/ 1439 h 2523"/>
                  <a:gd name="T68" fmla="*/ 2071 w 2501"/>
                  <a:gd name="T69" fmla="*/ 1339 h 2523"/>
                  <a:gd name="T70" fmla="*/ 2219 w 2501"/>
                  <a:gd name="T71" fmla="*/ 1156 h 2523"/>
                  <a:gd name="T72" fmla="*/ 2363 w 2501"/>
                  <a:gd name="T73" fmla="*/ 1082 h 2523"/>
                  <a:gd name="T74" fmla="*/ 2418 w 2501"/>
                  <a:gd name="T75" fmla="*/ 758 h 2523"/>
                  <a:gd name="T76" fmla="*/ 2307 w 2501"/>
                  <a:gd name="T77" fmla="*/ 608 h 2523"/>
                  <a:gd name="T78" fmla="*/ 2123 w 2501"/>
                  <a:gd name="T79" fmla="*/ 512 h 2523"/>
                  <a:gd name="T80" fmla="*/ 1947 w 2501"/>
                  <a:gd name="T81" fmla="*/ 452 h 2523"/>
                  <a:gd name="T82" fmla="*/ 1862 w 2501"/>
                  <a:gd name="T83" fmla="*/ 299 h 2523"/>
                  <a:gd name="T84" fmla="*/ 1665 w 2501"/>
                  <a:gd name="T85" fmla="*/ 234 h 2523"/>
                  <a:gd name="T86" fmla="*/ 1519 w 2501"/>
                  <a:gd name="T87" fmla="*/ 100 h 2523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2501"/>
                  <a:gd name="T133" fmla="*/ 0 h 2523"/>
                  <a:gd name="T134" fmla="*/ 2501 w 2501"/>
                  <a:gd name="T135" fmla="*/ 2523 h 2523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2501" h="2523">
                    <a:moveTo>
                      <a:pt x="1484" y="0"/>
                    </a:moveTo>
                    <a:cubicBezTo>
                      <a:pt x="1448" y="4"/>
                      <a:pt x="1407" y="8"/>
                      <a:pt x="1371" y="12"/>
                    </a:cubicBezTo>
                    <a:cubicBezTo>
                      <a:pt x="1347" y="16"/>
                      <a:pt x="1303" y="28"/>
                      <a:pt x="1303" y="28"/>
                    </a:cubicBezTo>
                    <a:cubicBezTo>
                      <a:pt x="1299" y="68"/>
                      <a:pt x="1307" y="108"/>
                      <a:pt x="1283" y="140"/>
                    </a:cubicBezTo>
                    <a:cubicBezTo>
                      <a:pt x="1275" y="168"/>
                      <a:pt x="1275" y="200"/>
                      <a:pt x="1259" y="224"/>
                    </a:cubicBezTo>
                    <a:cubicBezTo>
                      <a:pt x="1244" y="296"/>
                      <a:pt x="1100" y="300"/>
                      <a:pt x="1044" y="308"/>
                    </a:cubicBezTo>
                    <a:cubicBezTo>
                      <a:pt x="1016" y="320"/>
                      <a:pt x="980" y="340"/>
                      <a:pt x="968" y="372"/>
                    </a:cubicBezTo>
                    <a:cubicBezTo>
                      <a:pt x="972" y="392"/>
                      <a:pt x="976" y="400"/>
                      <a:pt x="992" y="416"/>
                    </a:cubicBezTo>
                    <a:cubicBezTo>
                      <a:pt x="988" y="436"/>
                      <a:pt x="944" y="432"/>
                      <a:pt x="920" y="436"/>
                    </a:cubicBezTo>
                    <a:cubicBezTo>
                      <a:pt x="792" y="428"/>
                      <a:pt x="880" y="448"/>
                      <a:pt x="816" y="428"/>
                    </a:cubicBezTo>
                    <a:cubicBezTo>
                      <a:pt x="796" y="424"/>
                      <a:pt x="756" y="412"/>
                      <a:pt x="756" y="412"/>
                    </a:cubicBezTo>
                    <a:cubicBezTo>
                      <a:pt x="740" y="404"/>
                      <a:pt x="740" y="392"/>
                      <a:pt x="728" y="380"/>
                    </a:cubicBezTo>
                    <a:cubicBezTo>
                      <a:pt x="720" y="348"/>
                      <a:pt x="716" y="292"/>
                      <a:pt x="680" y="284"/>
                    </a:cubicBezTo>
                    <a:cubicBezTo>
                      <a:pt x="664" y="284"/>
                      <a:pt x="644" y="280"/>
                      <a:pt x="628" y="288"/>
                    </a:cubicBezTo>
                    <a:cubicBezTo>
                      <a:pt x="612" y="296"/>
                      <a:pt x="604" y="332"/>
                      <a:pt x="588" y="344"/>
                    </a:cubicBezTo>
                    <a:cubicBezTo>
                      <a:pt x="584" y="360"/>
                      <a:pt x="584" y="368"/>
                      <a:pt x="600" y="372"/>
                    </a:cubicBezTo>
                    <a:cubicBezTo>
                      <a:pt x="608" y="428"/>
                      <a:pt x="624" y="484"/>
                      <a:pt x="632" y="540"/>
                    </a:cubicBezTo>
                    <a:cubicBezTo>
                      <a:pt x="652" y="620"/>
                      <a:pt x="624" y="604"/>
                      <a:pt x="560" y="584"/>
                    </a:cubicBezTo>
                    <a:cubicBezTo>
                      <a:pt x="508" y="588"/>
                      <a:pt x="460" y="588"/>
                      <a:pt x="412" y="576"/>
                    </a:cubicBezTo>
                    <a:cubicBezTo>
                      <a:pt x="404" y="564"/>
                      <a:pt x="352" y="492"/>
                      <a:pt x="344" y="488"/>
                    </a:cubicBezTo>
                    <a:cubicBezTo>
                      <a:pt x="300" y="444"/>
                      <a:pt x="220" y="504"/>
                      <a:pt x="164" y="508"/>
                    </a:cubicBezTo>
                    <a:cubicBezTo>
                      <a:pt x="112" y="512"/>
                      <a:pt x="60" y="512"/>
                      <a:pt x="8" y="512"/>
                    </a:cubicBezTo>
                    <a:cubicBezTo>
                      <a:pt x="12" y="528"/>
                      <a:pt x="20" y="568"/>
                      <a:pt x="36" y="576"/>
                    </a:cubicBezTo>
                    <a:cubicBezTo>
                      <a:pt x="44" y="580"/>
                      <a:pt x="60" y="584"/>
                      <a:pt x="60" y="584"/>
                    </a:cubicBezTo>
                    <a:cubicBezTo>
                      <a:pt x="68" y="592"/>
                      <a:pt x="68" y="612"/>
                      <a:pt x="56" y="620"/>
                    </a:cubicBezTo>
                    <a:cubicBezTo>
                      <a:pt x="48" y="624"/>
                      <a:pt x="32" y="628"/>
                      <a:pt x="32" y="628"/>
                    </a:cubicBezTo>
                    <a:cubicBezTo>
                      <a:pt x="20" y="656"/>
                      <a:pt x="24" y="640"/>
                      <a:pt x="12" y="680"/>
                    </a:cubicBezTo>
                    <a:cubicBezTo>
                      <a:pt x="8" y="688"/>
                      <a:pt x="4" y="704"/>
                      <a:pt x="4" y="704"/>
                    </a:cubicBezTo>
                    <a:cubicBezTo>
                      <a:pt x="8" y="716"/>
                      <a:pt x="0" y="732"/>
                      <a:pt x="20" y="732"/>
                    </a:cubicBezTo>
                    <a:cubicBezTo>
                      <a:pt x="36" y="732"/>
                      <a:pt x="100" y="720"/>
                      <a:pt x="100" y="720"/>
                    </a:cubicBezTo>
                    <a:cubicBezTo>
                      <a:pt x="136" y="728"/>
                      <a:pt x="124" y="760"/>
                      <a:pt x="164" y="768"/>
                    </a:cubicBezTo>
                    <a:cubicBezTo>
                      <a:pt x="188" y="784"/>
                      <a:pt x="192" y="792"/>
                      <a:pt x="224" y="800"/>
                    </a:cubicBezTo>
                    <a:cubicBezTo>
                      <a:pt x="292" y="788"/>
                      <a:pt x="252" y="844"/>
                      <a:pt x="284" y="872"/>
                    </a:cubicBezTo>
                    <a:cubicBezTo>
                      <a:pt x="304" y="888"/>
                      <a:pt x="320" y="908"/>
                      <a:pt x="344" y="912"/>
                    </a:cubicBezTo>
                    <a:cubicBezTo>
                      <a:pt x="356" y="920"/>
                      <a:pt x="368" y="912"/>
                      <a:pt x="380" y="920"/>
                    </a:cubicBezTo>
                    <a:cubicBezTo>
                      <a:pt x="384" y="936"/>
                      <a:pt x="388" y="944"/>
                      <a:pt x="404" y="948"/>
                    </a:cubicBezTo>
                    <a:cubicBezTo>
                      <a:pt x="412" y="976"/>
                      <a:pt x="452" y="980"/>
                      <a:pt x="476" y="984"/>
                    </a:cubicBezTo>
                    <a:cubicBezTo>
                      <a:pt x="508" y="1000"/>
                      <a:pt x="508" y="996"/>
                      <a:pt x="548" y="992"/>
                    </a:cubicBezTo>
                    <a:cubicBezTo>
                      <a:pt x="536" y="996"/>
                      <a:pt x="432" y="1012"/>
                      <a:pt x="412" y="1032"/>
                    </a:cubicBezTo>
                    <a:cubicBezTo>
                      <a:pt x="420" y="1064"/>
                      <a:pt x="412" y="1076"/>
                      <a:pt x="428" y="1104"/>
                    </a:cubicBezTo>
                    <a:cubicBezTo>
                      <a:pt x="432" y="1128"/>
                      <a:pt x="432" y="1144"/>
                      <a:pt x="452" y="1156"/>
                    </a:cubicBezTo>
                    <a:cubicBezTo>
                      <a:pt x="460" y="1172"/>
                      <a:pt x="484" y="1200"/>
                      <a:pt x="500" y="1204"/>
                    </a:cubicBezTo>
                    <a:cubicBezTo>
                      <a:pt x="516" y="1236"/>
                      <a:pt x="536" y="1240"/>
                      <a:pt x="560" y="1260"/>
                    </a:cubicBezTo>
                    <a:cubicBezTo>
                      <a:pt x="568" y="1267"/>
                      <a:pt x="584" y="1283"/>
                      <a:pt x="584" y="1283"/>
                    </a:cubicBezTo>
                    <a:cubicBezTo>
                      <a:pt x="588" y="1299"/>
                      <a:pt x="600" y="1295"/>
                      <a:pt x="608" y="1315"/>
                    </a:cubicBezTo>
                    <a:cubicBezTo>
                      <a:pt x="612" y="1371"/>
                      <a:pt x="600" y="1399"/>
                      <a:pt x="584" y="1447"/>
                    </a:cubicBezTo>
                    <a:cubicBezTo>
                      <a:pt x="588" y="1475"/>
                      <a:pt x="588" y="1511"/>
                      <a:pt x="620" y="1523"/>
                    </a:cubicBezTo>
                    <a:cubicBezTo>
                      <a:pt x="624" y="1539"/>
                      <a:pt x="632" y="1547"/>
                      <a:pt x="644" y="1559"/>
                    </a:cubicBezTo>
                    <a:cubicBezTo>
                      <a:pt x="652" y="1587"/>
                      <a:pt x="656" y="1611"/>
                      <a:pt x="660" y="1643"/>
                    </a:cubicBezTo>
                    <a:cubicBezTo>
                      <a:pt x="660" y="1655"/>
                      <a:pt x="668" y="1691"/>
                      <a:pt x="668" y="1679"/>
                    </a:cubicBezTo>
                    <a:cubicBezTo>
                      <a:pt x="668" y="1627"/>
                      <a:pt x="652" y="1627"/>
                      <a:pt x="620" y="1607"/>
                    </a:cubicBezTo>
                    <a:cubicBezTo>
                      <a:pt x="604" y="1583"/>
                      <a:pt x="604" y="1559"/>
                      <a:pt x="588" y="1535"/>
                    </a:cubicBezTo>
                    <a:cubicBezTo>
                      <a:pt x="556" y="1547"/>
                      <a:pt x="560" y="1575"/>
                      <a:pt x="536" y="1591"/>
                    </a:cubicBezTo>
                    <a:cubicBezTo>
                      <a:pt x="528" y="1611"/>
                      <a:pt x="512" y="1627"/>
                      <a:pt x="504" y="1651"/>
                    </a:cubicBezTo>
                    <a:cubicBezTo>
                      <a:pt x="500" y="1659"/>
                      <a:pt x="496" y="1711"/>
                      <a:pt x="504" y="1703"/>
                    </a:cubicBezTo>
                    <a:cubicBezTo>
                      <a:pt x="500" y="1727"/>
                      <a:pt x="492" y="1767"/>
                      <a:pt x="484" y="1807"/>
                    </a:cubicBezTo>
                    <a:cubicBezTo>
                      <a:pt x="464" y="1839"/>
                      <a:pt x="460" y="1883"/>
                      <a:pt x="444" y="1919"/>
                    </a:cubicBezTo>
                    <a:cubicBezTo>
                      <a:pt x="440" y="1947"/>
                      <a:pt x="440" y="2047"/>
                      <a:pt x="412" y="2059"/>
                    </a:cubicBezTo>
                    <a:cubicBezTo>
                      <a:pt x="396" y="2067"/>
                      <a:pt x="396" y="2076"/>
                      <a:pt x="384" y="2088"/>
                    </a:cubicBezTo>
                    <a:cubicBezTo>
                      <a:pt x="380" y="2097"/>
                      <a:pt x="383" y="2088"/>
                      <a:pt x="381" y="2100"/>
                    </a:cubicBezTo>
                    <a:cubicBezTo>
                      <a:pt x="389" y="2112"/>
                      <a:pt x="386" y="2127"/>
                      <a:pt x="389" y="2168"/>
                    </a:cubicBezTo>
                    <a:cubicBezTo>
                      <a:pt x="401" y="2192"/>
                      <a:pt x="438" y="2226"/>
                      <a:pt x="456" y="2252"/>
                    </a:cubicBezTo>
                    <a:cubicBezTo>
                      <a:pt x="510" y="2255"/>
                      <a:pt x="488" y="2247"/>
                      <a:pt x="528" y="2251"/>
                    </a:cubicBezTo>
                    <a:cubicBezTo>
                      <a:pt x="564" y="2291"/>
                      <a:pt x="611" y="2325"/>
                      <a:pt x="659" y="2349"/>
                    </a:cubicBezTo>
                    <a:cubicBezTo>
                      <a:pt x="693" y="2363"/>
                      <a:pt x="696" y="2355"/>
                      <a:pt x="720" y="2363"/>
                    </a:cubicBezTo>
                    <a:cubicBezTo>
                      <a:pt x="736" y="2367"/>
                      <a:pt x="768" y="2383"/>
                      <a:pt x="788" y="2383"/>
                    </a:cubicBezTo>
                    <a:cubicBezTo>
                      <a:pt x="808" y="2383"/>
                      <a:pt x="822" y="2382"/>
                      <a:pt x="836" y="2375"/>
                    </a:cubicBezTo>
                    <a:cubicBezTo>
                      <a:pt x="854" y="2354"/>
                      <a:pt x="851" y="2369"/>
                      <a:pt x="869" y="2343"/>
                    </a:cubicBezTo>
                    <a:cubicBezTo>
                      <a:pt x="901" y="2351"/>
                      <a:pt x="956" y="2391"/>
                      <a:pt x="988" y="2407"/>
                    </a:cubicBezTo>
                    <a:cubicBezTo>
                      <a:pt x="1004" y="2415"/>
                      <a:pt x="1067" y="2437"/>
                      <a:pt x="1083" y="2441"/>
                    </a:cubicBezTo>
                    <a:cubicBezTo>
                      <a:pt x="1095" y="2481"/>
                      <a:pt x="1097" y="2481"/>
                      <a:pt x="1101" y="2499"/>
                    </a:cubicBezTo>
                    <a:cubicBezTo>
                      <a:pt x="1133" y="2501"/>
                      <a:pt x="1172" y="2504"/>
                      <a:pt x="1196" y="2502"/>
                    </a:cubicBezTo>
                    <a:cubicBezTo>
                      <a:pt x="1224" y="2502"/>
                      <a:pt x="1247" y="2496"/>
                      <a:pt x="1274" y="2496"/>
                    </a:cubicBezTo>
                    <a:cubicBezTo>
                      <a:pt x="1294" y="2496"/>
                      <a:pt x="1346" y="2493"/>
                      <a:pt x="1346" y="2493"/>
                    </a:cubicBezTo>
                    <a:cubicBezTo>
                      <a:pt x="1362" y="2425"/>
                      <a:pt x="1335" y="2523"/>
                      <a:pt x="1347" y="2335"/>
                    </a:cubicBezTo>
                    <a:cubicBezTo>
                      <a:pt x="1351" y="2271"/>
                      <a:pt x="1459" y="2259"/>
                      <a:pt x="1507" y="2251"/>
                    </a:cubicBezTo>
                    <a:cubicBezTo>
                      <a:pt x="1575" y="2255"/>
                      <a:pt x="1611" y="2223"/>
                      <a:pt x="1679" y="2239"/>
                    </a:cubicBezTo>
                    <a:cubicBezTo>
                      <a:pt x="1699" y="2251"/>
                      <a:pt x="1755" y="2279"/>
                      <a:pt x="1779" y="2283"/>
                    </a:cubicBezTo>
                    <a:cubicBezTo>
                      <a:pt x="1851" y="2311"/>
                      <a:pt x="1919" y="2339"/>
                      <a:pt x="1999" y="2351"/>
                    </a:cubicBezTo>
                    <a:cubicBezTo>
                      <a:pt x="2039" y="2351"/>
                      <a:pt x="2079" y="2355"/>
                      <a:pt x="2115" y="2347"/>
                    </a:cubicBezTo>
                    <a:cubicBezTo>
                      <a:pt x="2119" y="2347"/>
                      <a:pt x="2139" y="2303"/>
                      <a:pt x="2155" y="2299"/>
                    </a:cubicBezTo>
                    <a:cubicBezTo>
                      <a:pt x="2171" y="2283"/>
                      <a:pt x="2171" y="2271"/>
                      <a:pt x="2191" y="2259"/>
                    </a:cubicBezTo>
                    <a:cubicBezTo>
                      <a:pt x="2207" y="2247"/>
                      <a:pt x="2219" y="2215"/>
                      <a:pt x="2239" y="2203"/>
                    </a:cubicBezTo>
                    <a:cubicBezTo>
                      <a:pt x="2259" y="2191"/>
                      <a:pt x="2295" y="2195"/>
                      <a:pt x="2311" y="2183"/>
                    </a:cubicBezTo>
                    <a:cubicBezTo>
                      <a:pt x="2318" y="2150"/>
                      <a:pt x="2333" y="2154"/>
                      <a:pt x="2347" y="2135"/>
                    </a:cubicBezTo>
                    <a:cubicBezTo>
                      <a:pt x="2357" y="2088"/>
                      <a:pt x="2354" y="2100"/>
                      <a:pt x="2345" y="2078"/>
                    </a:cubicBezTo>
                    <a:cubicBezTo>
                      <a:pt x="2304" y="2069"/>
                      <a:pt x="2295" y="2072"/>
                      <a:pt x="2243" y="2071"/>
                    </a:cubicBezTo>
                    <a:cubicBezTo>
                      <a:pt x="2231" y="2067"/>
                      <a:pt x="2198" y="2064"/>
                      <a:pt x="2183" y="1979"/>
                    </a:cubicBezTo>
                    <a:cubicBezTo>
                      <a:pt x="2187" y="1956"/>
                      <a:pt x="2201" y="1937"/>
                      <a:pt x="2220" y="1892"/>
                    </a:cubicBezTo>
                    <a:cubicBezTo>
                      <a:pt x="2219" y="1854"/>
                      <a:pt x="2223" y="1859"/>
                      <a:pt x="2167" y="1855"/>
                    </a:cubicBezTo>
                    <a:cubicBezTo>
                      <a:pt x="2127" y="1859"/>
                      <a:pt x="2142" y="1817"/>
                      <a:pt x="2121" y="1823"/>
                    </a:cubicBezTo>
                    <a:cubicBezTo>
                      <a:pt x="2117" y="1815"/>
                      <a:pt x="2116" y="1798"/>
                      <a:pt x="2124" y="1790"/>
                    </a:cubicBezTo>
                    <a:cubicBezTo>
                      <a:pt x="2186" y="1788"/>
                      <a:pt x="2222" y="1743"/>
                      <a:pt x="2243" y="1733"/>
                    </a:cubicBezTo>
                    <a:cubicBezTo>
                      <a:pt x="2229" y="1704"/>
                      <a:pt x="2225" y="1695"/>
                      <a:pt x="2213" y="1659"/>
                    </a:cubicBezTo>
                    <a:cubicBezTo>
                      <a:pt x="2209" y="1647"/>
                      <a:pt x="2203" y="1619"/>
                      <a:pt x="2203" y="1619"/>
                    </a:cubicBezTo>
                    <a:cubicBezTo>
                      <a:pt x="2201" y="1590"/>
                      <a:pt x="2210" y="1589"/>
                      <a:pt x="2211" y="1581"/>
                    </a:cubicBezTo>
                    <a:cubicBezTo>
                      <a:pt x="2212" y="1573"/>
                      <a:pt x="2205" y="1571"/>
                      <a:pt x="2207" y="1568"/>
                    </a:cubicBezTo>
                    <a:cubicBezTo>
                      <a:pt x="2209" y="1565"/>
                      <a:pt x="2225" y="1564"/>
                      <a:pt x="2226" y="1560"/>
                    </a:cubicBezTo>
                    <a:cubicBezTo>
                      <a:pt x="2227" y="1556"/>
                      <a:pt x="2220" y="1555"/>
                      <a:pt x="2215" y="1543"/>
                    </a:cubicBezTo>
                    <a:cubicBezTo>
                      <a:pt x="2211" y="1519"/>
                      <a:pt x="2207" y="1507"/>
                      <a:pt x="2195" y="1487"/>
                    </a:cubicBezTo>
                    <a:cubicBezTo>
                      <a:pt x="2191" y="1455"/>
                      <a:pt x="2195" y="1431"/>
                      <a:pt x="2159" y="1423"/>
                    </a:cubicBezTo>
                    <a:cubicBezTo>
                      <a:pt x="2127" y="1423"/>
                      <a:pt x="2107" y="1435"/>
                      <a:pt x="2075" y="1439"/>
                    </a:cubicBezTo>
                    <a:cubicBezTo>
                      <a:pt x="2055" y="1443"/>
                      <a:pt x="2043" y="1483"/>
                      <a:pt x="2023" y="1495"/>
                    </a:cubicBezTo>
                    <a:cubicBezTo>
                      <a:pt x="2027" y="1467"/>
                      <a:pt x="2043" y="1423"/>
                      <a:pt x="2059" y="1399"/>
                    </a:cubicBezTo>
                    <a:cubicBezTo>
                      <a:pt x="2071" y="1379"/>
                      <a:pt x="2051" y="1367"/>
                      <a:pt x="2071" y="1339"/>
                    </a:cubicBezTo>
                    <a:cubicBezTo>
                      <a:pt x="2083" y="1323"/>
                      <a:pt x="2107" y="1311"/>
                      <a:pt x="2123" y="1295"/>
                    </a:cubicBezTo>
                    <a:cubicBezTo>
                      <a:pt x="2139" y="1279"/>
                      <a:pt x="2155" y="1256"/>
                      <a:pt x="2171" y="1232"/>
                    </a:cubicBezTo>
                    <a:cubicBezTo>
                      <a:pt x="2187" y="1208"/>
                      <a:pt x="2207" y="1180"/>
                      <a:pt x="2219" y="1156"/>
                    </a:cubicBezTo>
                    <a:cubicBezTo>
                      <a:pt x="2231" y="1132"/>
                      <a:pt x="2231" y="1096"/>
                      <a:pt x="2251" y="1084"/>
                    </a:cubicBezTo>
                    <a:cubicBezTo>
                      <a:pt x="2303" y="1088"/>
                      <a:pt x="2311" y="1096"/>
                      <a:pt x="2347" y="1092"/>
                    </a:cubicBezTo>
                    <a:cubicBezTo>
                      <a:pt x="2358" y="1082"/>
                      <a:pt x="2357" y="1088"/>
                      <a:pt x="2363" y="1082"/>
                    </a:cubicBezTo>
                    <a:cubicBezTo>
                      <a:pt x="2358" y="1073"/>
                      <a:pt x="2343" y="1034"/>
                      <a:pt x="2351" y="993"/>
                    </a:cubicBezTo>
                    <a:cubicBezTo>
                      <a:pt x="2355" y="941"/>
                      <a:pt x="2390" y="899"/>
                      <a:pt x="2414" y="833"/>
                    </a:cubicBezTo>
                    <a:cubicBezTo>
                      <a:pt x="2422" y="805"/>
                      <a:pt x="2394" y="771"/>
                      <a:pt x="2418" y="758"/>
                    </a:cubicBezTo>
                    <a:cubicBezTo>
                      <a:pt x="2469" y="747"/>
                      <a:pt x="2472" y="734"/>
                      <a:pt x="2493" y="705"/>
                    </a:cubicBezTo>
                    <a:cubicBezTo>
                      <a:pt x="2501" y="673"/>
                      <a:pt x="2489" y="680"/>
                      <a:pt x="2431" y="656"/>
                    </a:cubicBezTo>
                    <a:cubicBezTo>
                      <a:pt x="2387" y="626"/>
                      <a:pt x="2346" y="599"/>
                      <a:pt x="2307" y="608"/>
                    </a:cubicBezTo>
                    <a:cubicBezTo>
                      <a:pt x="2275" y="600"/>
                      <a:pt x="2275" y="604"/>
                      <a:pt x="2239" y="600"/>
                    </a:cubicBezTo>
                    <a:cubicBezTo>
                      <a:pt x="2219" y="580"/>
                      <a:pt x="2208" y="567"/>
                      <a:pt x="2183" y="552"/>
                    </a:cubicBezTo>
                    <a:cubicBezTo>
                      <a:pt x="2160" y="509"/>
                      <a:pt x="2162" y="504"/>
                      <a:pt x="2123" y="512"/>
                    </a:cubicBezTo>
                    <a:cubicBezTo>
                      <a:pt x="2109" y="521"/>
                      <a:pt x="2082" y="528"/>
                      <a:pt x="2061" y="513"/>
                    </a:cubicBezTo>
                    <a:cubicBezTo>
                      <a:pt x="2037" y="513"/>
                      <a:pt x="2033" y="492"/>
                      <a:pt x="2010" y="510"/>
                    </a:cubicBezTo>
                    <a:cubicBezTo>
                      <a:pt x="1964" y="497"/>
                      <a:pt x="1970" y="459"/>
                      <a:pt x="1947" y="452"/>
                    </a:cubicBezTo>
                    <a:cubicBezTo>
                      <a:pt x="1932" y="425"/>
                      <a:pt x="1903" y="414"/>
                      <a:pt x="1875" y="408"/>
                    </a:cubicBezTo>
                    <a:cubicBezTo>
                      <a:pt x="1877" y="360"/>
                      <a:pt x="1878" y="360"/>
                      <a:pt x="1860" y="345"/>
                    </a:cubicBezTo>
                    <a:cubicBezTo>
                      <a:pt x="1875" y="315"/>
                      <a:pt x="1869" y="296"/>
                      <a:pt x="1862" y="299"/>
                    </a:cubicBezTo>
                    <a:cubicBezTo>
                      <a:pt x="1836" y="302"/>
                      <a:pt x="1839" y="344"/>
                      <a:pt x="1823" y="360"/>
                    </a:cubicBezTo>
                    <a:cubicBezTo>
                      <a:pt x="1748" y="371"/>
                      <a:pt x="1761" y="356"/>
                      <a:pt x="1747" y="308"/>
                    </a:cubicBezTo>
                    <a:cubicBezTo>
                      <a:pt x="1723" y="204"/>
                      <a:pt x="1715" y="252"/>
                      <a:pt x="1665" y="234"/>
                    </a:cubicBezTo>
                    <a:cubicBezTo>
                      <a:pt x="1645" y="202"/>
                      <a:pt x="1665" y="179"/>
                      <a:pt x="1596" y="173"/>
                    </a:cubicBezTo>
                    <a:cubicBezTo>
                      <a:pt x="1589" y="159"/>
                      <a:pt x="1591" y="136"/>
                      <a:pt x="1575" y="116"/>
                    </a:cubicBezTo>
                    <a:cubicBezTo>
                      <a:pt x="1567" y="96"/>
                      <a:pt x="1557" y="95"/>
                      <a:pt x="1519" y="100"/>
                    </a:cubicBezTo>
                    <a:cubicBezTo>
                      <a:pt x="1484" y="96"/>
                      <a:pt x="1484" y="40"/>
                      <a:pt x="1484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</p:grpSp>
        <p:sp>
          <p:nvSpPr>
            <p:cNvPr id="292" name="Freeform 107"/>
            <p:cNvSpPr>
              <a:spLocks noChangeAspect="1"/>
            </p:cNvSpPr>
            <p:nvPr/>
          </p:nvSpPr>
          <p:spPr bwMode="auto">
            <a:xfrm>
              <a:off x="2200" y="2848"/>
              <a:ext cx="174" cy="154"/>
            </a:xfrm>
            <a:custGeom>
              <a:avLst/>
              <a:gdLst>
                <a:gd name="T0" fmla="*/ 0 w 691"/>
                <a:gd name="T1" fmla="*/ 0 h 607"/>
                <a:gd name="T2" fmla="*/ 0 w 691"/>
                <a:gd name="T3" fmla="*/ 0 h 607"/>
                <a:gd name="T4" fmla="*/ 0 w 691"/>
                <a:gd name="T5" fmla="*/ 0 h 607"/>
                <a:gd name="T6" fmla="*/ 0 w 691"/>
                <a:gd name="T7" fmla="*/ 0 h 607"/>
                <a:gd name="T8" fmla="*/ 0 w 691"/>
                <a:gd name="T9" fmla="*/ 0 h 607"/>
                <a:gd name="T10" fmla="*/ 0 w 691"/>
                <a:gd name="T11" fmla="*/ 0 h 607"/>
                <a:gd name="T12" fmla="*/ 0 w 691"/>
                <a:gd name="T13" fmla="*/ 0 h 607"/>
                <a:gd name="T14" fmla="*/ 0 w 691"/>
                <a:gd name="T15" fmla="*/ 0 h 607"/>
                <a:gd name="T16" fmla="*/ 0 w 691"/>
                <a:gd name="T17" fmla="*/ 0 h 607"/>
                <a:gd name="T18" fmla="*/ 0 w 691"/>
                <a:gd name="T19" fmla="*/ 0 h 607"/>
                <a:gd name="T20" fmla="*/ 0 w 691"/>
                <a:gd name="T21" fmla="*/ 0 h 607"/>
                <a:gd name="T22" fmla="*/ 0 w 691"/>
                <a:gd name="T23" fmla="*/ 0 h 607"/>
                <a:gd name="T24" fmla="*/ 0 w 691"/>
                <a:gd name="T25" fmla="*/ 0 h 607"/>
                <a:gd name="T26" fmla="*/ 0 w 691"/>
                <a:gd name="T27" fmla="*/ 0 h 607"/>
                <a:gd name="T28" fmla="*/ 0 w 691"/>
                <a:gd name="T29" fmla="*/ 0 h 607"/>
                <a:gd name="T30" fmla="*/ 0 w 691"/>
                <a:gd name="T31" fmla="*/ 0 h 607"/>
                <a:gd name="T32" fmla="*/ 0 w 691"/>
                <a:gd name="T33" fmla="*/ 0 h 607"/>
                <a:gd name="T34" fmla="*/ 0 w 691"/>
                <a:gd name="T35" fmla="*/ 0 h 607"/>
                <a:gd name="T36" fmla="*/ 0 w 691"/>
                <a:gd name="T37" fmla="*/ 0 h 607"/>
                <a:gd name="T38" fmla="*/ 0 w 691"/>
                <a:gd name="T39" fmla="*/ 0 h 607"/>
                <a:gd name="T40" fmla="*/ 0 w 691"/>
                <a:gd name="T41" fmla="*/ 0 h 607"/>
                <a:gd name="T42" fmla="*/ 0 w 691"/>
                <a:gd name="T43" fmla="*/ 0 h 607"/>
                <a:gd name="T44" fmla="*/ 0 w 691"/>
                <a:gd name="T45" fmla="*/ 0 h 607"/>
                <a:gd name="T46" fmla="*/ 0 w 691"/>
                <a:gd name="T47" fmla="*/ 0 h 607"/>
                <a:gd name="T48" fmla="*/ 0 w 691"/>
                <a:gd name="T49" fmla="*/ 0 h 607"/>
                <a:gd name="T50" fmla="*/ 0 w 691"/>
                <a:gd name="T51" fmla="*/ 0 h 607"/>
                <a:gd name="T52" fmla="*/ 0 w 691"/>
                <a:gd name="T53" fmla="*/ 0 h 607"/>
                <a:gd name="T54" fmla="*/ 0 w 691"/>
                <a:gd name="T55" fmla="*/ 0 h 607"/>
                <a:gd name="T56" fmla="*/ 0 w 691"/>
                <a:gd name="T57" fmla="*/ 0 h 607"/>
                <a:gd name="T58" fmla="*/ 0 w 691"/>
                <a:gd name="T59" fmla="*/ 0 h 607"/>
                <a:gd name="T60" fmla="*/ 0 w 691"/>
                <a:gd name="T61" fmla="*/ 0 h 607"/>
                <a:gd name="T62" fmla="*/ 0 w 691"/>
                <a:gd name="T63" fmla="*/ 0 h 607"/>
                <a:gd name="T64" fmla="*/ 0 w 691"/>
                <a:gd name="T65" fmla="*/ 0 h 607"/>
                <a:gd name="T66" fmla="*/ 0 w 691"/>
                <a:gd name="T67" fmla="*/ 0 h 607"/>
                <a:gd name="T68" fmla="*/ 0 w 691"/>
                <a:gd name="T69" fmla="*/ 0 h 607"/>
                <a:gd name="T70" fmla="*/ 0 w 691"/>
                <a:gd name="T71" fmla="*/ 0 h 607"/>
                <a:gd name="T72" fmla="*/ 0 w 691"/>
                <a:gd name="T73" fmla="*/ 0 h 607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691"/>
                <a:gd name="T112" fmla="*/ 0 h 607"/>
                <a:gd name="T113" fmla="*/ 691 w 691"/>
                <a:gd name="T114" fmla="*/ 607 h 607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691" h="607">
                  <a:moveTo>
                    <a:pt x="181" y="0"/>
                  </a:moveTo>
                  <a:cubicBezTo>
                    <a:pt x="188" y="1"/>
                    <a:pt x="178" y="11"/>
                    <a:pt x="187" y="20"/>
                  </a:cubicBezTo>
                  <a:cubicBezTo>
                    <a:pt x="192" y="25"/>
                    <a:pt x="206" y="28"/>
                    <a:pt x="214" y="33"/>
                  </a:cubicBezTo>
                  <a:cubicBezTo>
                    <a:pt x="222" y="38"/>
                    <a:pt x="213" y="54"/>
                    <a:pt x="237" y="53"/>
                  </a:cubicBezTo>
                  <a:cubicBezTo>
                    <a:pt x="273" y="60"/>
                    <a:pt x="284" y="39"/>
                    <a:pt x="312" y="31"/>
                  </a:cubicBezTo>
                  <a:cubicBezTo>
                    <a:pt x="324" y="27"/>
                    <a:pt x="358" y="11"/>
                    <a:pt x="358" y="11"/>
                  </a:cubicBezTo>
                  <a:cubicBezTo>
                    <a:pt x="374" y="10"/>
                    <a:pt x="356" y="9"/>
                    <a:pt x="375" y="14"/>
                  </a:cubicBezTo>
                  <a:cubicBezTo>
                    <a:pt x="394" y="19"/>
                    <a:pt x="450" y="27"/>
                    <a:pt x="474" y="39"/>
                  </a:cubicBezTo>
                  <a:cubicBezTo>
                    <a:pt x="484" y="74"/>
                    <a:pt x="500" y="71"/>
                    <a:pt x="521" y="84"/>
                  </a:cubicBezTo>
                  <a:cubicBezTo>
                    <a:pt x="535" y="87"/>
                    <a:pt x="590" y="99"/>
                    <a:pt x="597" y="119"/>
                  </a:cubicBezTo>
                  <a:cubicBezTo>
                    <a:pt x="603" y="144"/>
                    <a:pt x="561" y="176"/>
                    <a:pt x="558" y="209"/>
                  </a:cubicBezTo>
                  <a:cubicBezTo>
                    <a:pt x="574" y="236"/>
                    <a:pt x="576" y="239"/>
                    <a:pt x="627" y="224"/>
                  </a:cubicBezTo>
                  <a:cubicBezTo>
                    <a:pt x="622" y="236"/>
                    <a:pt x="625" y="263"/>
                    <a:pt x="649" y="287"/>
                  </a:cubicBezTo>
                  <a:cubicBezTo>
                    <a:pt x="661" y="295"/>
                    <a:pt x="691" y="338"/>
                    <a:pt x="688" y="353"/>
                  </a:cubicBezTo>
                  <a:cubicBezTo>
                    <a:pt x="684" y="373"/>
                    <a:pt x="673" y="363"/>
                    <a:pt x="661" y="374"/>
                  </a:cubicBezTo>
                  <a:cubicBezTo>
                    <a:pt x="653" y="386"/>
                    <a:pt x="642" y="431"/>
                    <a:pt x="642" y="431"/>
                  </a:cubicBezTo>
                  <a:cubicBezTo>
                    <a:pt x="627" y="434"/>
                    <a:pt x="603" y="432"/>
                    <a:pt x="591" y="441"/>
                  </a:cubicBezTo>
                  <a:cubicBezTo>
                    <a:pt x="593" y="487"/>
                    <a:pt x="576" y="475"/>
                    <a:pt x="572" y="491"/>
                  </a:cubicBezTo>
                  <a:cubicBezTo>
                    <a:pt x="566" y="516"/>
                    <a:pt x="558" y="581"/>
                    <a:pt x="561" y="602"/>
                  </a:cubicBezTo>
                  <a:cubicBezTo>
                    <a:pt x="552" y="605"/>
                    <a:pt x="561" y="602"/>
                    <a:pt x="540" y="607"/>
                  </a:cubicBezTo>
                  <a:cubicBezTo>
                    <a:pt x="484" y="595"/>
                    <a:pt x="508" y="575"/>
                    <a:pt x="476" y="551"/>
                  </a:cubicBezTo>
                  <a:cubicBezTo>
                    <a:pt x="452" y="531"/>
                    <a:pt x="436" y="511"/>
                    <a:pt x="404" y="507"/>
                  </a:cubicBezTo>
                  <a:cubicBezTo>
                    <a:pt x="396" y="483"/>
                    <a:pt x="412" y="451"/>
                    <a:pt x="384" y="443"/>
                  </a:cubicBezTo>
                  <a:cubicBezTo>
                    <a:pt x="392" y="431"/>
                    <a:pt x="388" y="423"/>
                    <a:pt x="396" y="411"/>
                  </a:cubicBezTo>
                  <a:cubicBezTo>
                    <a:pt x="384" y="375"/>
                    <a:pt x="368" y="419"/>
                    <a:pt x="360" y="431"/>
                  </a:cubicBezTo>
                  <a:cubicBezTo>
                    <a:pt x="348" y="463"/>
                    <a:pt x="352" y="455"/>
                    <a:pt x="324" y="463"/>
                  </a:cubicBezTo>
                  <a:cubicBezTo>
                    <a:pt x="312" y="459"/>
                    <a:pt x="296" y="467"/>
                    <a:pt x="288" y="455"/>
                  </a:cubicBezTo>
                  <a:cubicBezTo>
                    <a:pt x="284" y="447"/>
                    <a:pt x="272" y="407"/>
                    <a:pt x="272" y="407"/>
                  </a:cubicBezTo>
                  <a:cubicBezTo>
                    <a:pt x="248" y="327"/>
                    <a:pt x="268" y="343"/>
                    <a:pt x="192" y="335"/>
                  </a:cubicBezTo>
                  <a:cubicBezTo>
                    <a:pt x="176" y="287"/>
                    <a:pt x="172" y="279"/>
                    <a:pt x="120" y="271"/>
                  </a:cubicBezTo>
                  <a:cubicBezTo>
                    <a:pt x="104" y="235"/>
                    <a:pt x="116" y="207"/>
                    <a:pt x="72" y="195"/>
                  </a:cubicBezTo>
                  <a:cubicBezTo>
                    <a:pt x="44" y="203"/>
                    <a:pt x="48" y="207"/>
                    <a:pt x="24" y="191"/>
                  </a:cubicBezTo>
                  <a:cubicBezTo>
                    <a:pt x="20" y="179"/>
                    <a:pt x="12" y="155"/>
                    <a:pt x="12" y="155"/>
                  </a:cubicBezTo>
                  <a:cubicBezTo>
                    <a:pt x="8" y="127"/>
                    <a:pt x="0" y="95"/>
                    <a:pt x="32" y="83"/>
                  </a:cubicBezTo>
                  <a:cubicBezTo>
                    <a:pt x="48" y="55"/>
                    <a:pt x="56" y="55"/>
                    <a:pt x="88" y="47"/>
                  </a:cubicBezTo>
                  <a:cubicBezTo>
                    <a:pt x="136" y="11"/>
                    <a:pt x="12" y="43"/>
                    <a:pt x="152" y="15"/>
                  </a:cubicBezTo>
                  <a:cubicBezTo>
                    <a:pt x="160" y="15"/>
                    <a:pt x="189" y="0"/>
                    <a:pt x="181" y="0"/>
                  </a:cubicBez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  <p:sp>
          <p:nvSpPr>
            <p:cNvPr id="293" name="Freeform 108"/>
            <p:cNvSpPr>
              <a:spLocks noChangeAspect="1"/>
            </p:cNvSpPr>
            <p:nvPr/>
          </p:nvSpPr>
          <p:spPr bwMode="auto">
            <a:xfrm>
              <a:off x="2339" y="2957"/>
              <a:ext cx="38" cy="50"/>
            </a:xfrm>
            <a:custGeom>
              <a:avLst/>
              <a:gdLst>
                <a:gd name="T0" fmla="*/ 0 w 153"/>
                <a:gd name="T1" fmla="*/ 0 h 200"/>
                <a:gd name="T2" fmla="*/ 0 w 153"/>
                <a:gd name="T3" fmla="*/ 0 h 200"/>
                <a:gd name="T4" fmla="*/ 0 w 153"/>
                <a:gd name="T5" fmla="*/ 0 h 200"/>
                <a:gd name="T6" fmla="*/ 0 w 153"/>
                <a:gd name="T7" fmla="*/ 0 h 200"/>
                <a:gd name="T8" fmla="*/ 0 w 153"/>
                <a:gd name="T9" fmla="*/ 0 h 200"/>
                <a:gd name="T10" fmla="*/ 0 w 153"/>
                <a:gd name="T11" fmla="*/ 0 h 200"/>
                <a:gd name="T12" fmla="*/ 0 w 153"/>
                <a:gd name="T13" fmla="*/ 0 h 200"/>
                <a:gd name="T14" fmla="*/ 0 w 153"/>
                <a:gd name="T15" fmla="*/ 0 h 200"/>
                <a:gd name="T16" fmla="*/ 0 w 153"/>
                <a:gd name="T17" fmla="*/ 0 h 20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53"/>
                <a:gd name="T28" fmla="*/ 0 h 200"/>
                <a:gd name="T29" fmla="*/ 153 w 153"/>
                <a:gd name="T30" fmla="*/ 200 h 20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53" h="200">
                  <a:moveTo>
                    <a:pt x="95" y="0"/>
                  </a:moveTo>
                  <a:cubicBezTo>
                    <a:pt x="0" y="3"/>
                    <a:pt x="71" y="24"/>
                    <a:pt x="23" y="56"/>
                  </a:cubicBezTo>
                  <a:cubicBezTo>
                    <a:pt x="15" y="96"/>
                    <a:pt x="15" y="116"/>
                    <a:pt x="11" y="168"/>
                  </a:cubicBezTo>
                  <a:cubicBezTo>
                    <a:pt x="22" y="186"/>
                    <a:pt x="33" y="181"/>
                    <a:pt x="51" y="184"/>
                  </a:cubicBezTo>
                  <a:cubicBezTo>
                    <a:pt x="63" y="200"/>
                    <a:pt x="111" y="171"/>
                    <a:pt x="130" y="178"/>
                  </a:cubicBezTo>
                  <a:cubicBezTo>
                    <a:pt x="125" y="160"/>
                    <a:pt x="132" y="150"/>
                    <a:pt x="147" y="120"/>
                  </a:cubicBezTo>
                  <a:cubicBezTo>
                    <a:pt x="153" y="88"/>
                    <a:pt x="151" y="79"/>
                    <a:pt x="127" y="63"/>
                  </a:cubicBezTo>
                  <a:cubicBezTo>
                    <a:pt x="105" y="42"/>
                    <a:pt x="115" y="48"/>
                    <a:pt x="95" y="28"/>
                  </a:cubicBezTo>
                  <a:cubicBezTo>
                    <a:pt x="91" y="8"/>
                    <a:pt x="91" y="16"/>
                    <a:pt x="95" y="0"/>
                  </a:cubicBez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  <p:grpSp>
          <p:nvGrpSpPr>
            <p:cNvPr id="294" name="Group 109"/>
            <p:cNvGrpSpPr>
              <a:grpSpLocks/>
            </p:cNvGrpSpPr>
            <p:nvPr/>
          </p:nvGrpSpPr>
          <p:grpSpPr bwMode="auto">
            <a:xfrm>
              <a:off x="2245" y="2705"/>
              <a:ext cx="177" cy="201"/>
              <a:chOff x="1507" y="4979"/>
              <a:chExt cx="706" cy="796"/>
            </a:xfrm>
            <a:grpFill/>
          </p:grpSpPr>
          <p:sp>
            <p:nvSpPr>
              <p:cNvPr id="308" name="Freeform 110"/>
              <p:cNvSpPr>
                <a:spLocks noChangeAspect="1"/>
              </p:cNvSpPr>
              <p:nvPr/>
            </p:nvSpPr>
            <p:spPr bwMode="auto">
              <a:xfrm>
                <a:off x="1759" y="5075"/>
                <a:ext cx="56" cy="44"/>
              </a:xfrm>
              <a:custGeom>
                <a:avLst/>
                <a:gdLst>
                  <a:gd name="T0" fmla="*/ 2147483647 w 14"/>
                  <a:gd name="T1" fmla="*/ 0 h 11"/>
                  <a:gd name="T2" fmla="*/ 2147483647 w 14"/>
                  <a:gd name="T3" fmla="*/ 2147483647 h 11"/>
                  <a:gd name="T4" fmla="*/ 2147483647 w 14"/>
                  <a:gd name="T5" fmla="*/ 2147483647 h 11"/>
                  <a:gd name="T6" fmla="*/ 2147483647 w 14"/>
                  <a:gd name="T7" fmla="*/ 0 h 11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4"/>
                  <a:gd name="T13" fmla="*/ 0 h 11"/>
                  <a:gd name="T14" fmla="*/ 14 w 14"/>
                  <a:gd name="T15" fmla="*/ 11 h 11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4" h="11">
                    <a:moveTo>
                      <a:pt x="5" y="0"/>
                    </a:moveTo>
                    <a:cubicBezTo>
                      <a:pt x="9" y="1"/>
                      <a:pt x="14" y="0"/>
                      <a:pt x="9" y="7"/>
                    </a:cubicBezTo>
                    <a:cubicBezTo>
                      <a:pt x="8" y="9"/>
                      <a:pt x="3" y="11"/>
                      <a:pt x="3" y="11"/>
                    </a:cubicBezTo>
                    <a:cubicBezTo>
                      <a:pt x="0" y="7"/>
                      <a:pt x="1" y="4"/>
                      <a:pt x="5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09" name="Freeform 111"/>
              <p:cNvSpPr>
                <a:spLocks noChangeAspect="1"/>
              </p:cNvSpPr>
              <p:nvPr/>
            </p:nvSpPr>
            <p:spPr bwMode="auto">
              <a:xfrm>
                <a:off x="1803" y="5019"/>
                <a:ext cx="32" cy="68"/>
              </a:xfrm>
              <a:custGeom>
                <a:avLst/>
                <a:gdLst>
                  <a:gd name="T0" fmla="*/ 0 w 8"/>
                  <a:gd name="T1" fmla="*/ 2147483647 h 17"/>
                  <a:gd name="T2" fmla="*/ 2147483647 w 8"/>
                  <a:gd name="T3" fmla="*/ 0 h 17"/>
                  <a:gd name="T4" fmla="*/ 0 w 8"/>
                  <a:gd name="T5" fmla="*/ 2147483647 h 17"/>
                  <a:gd name="T6" fmla="*/ 0 60000 65536"/>
                  <a:gd name="T7" fmla="*/ 0 60000 65536"/>
                  <a:gd name="T8" fmla="*/ 0 60000 65536"/>
                  <a:gd name="T9" fmla="*/ 0 w 8"/>
                  <a:gd name="T10" fmla="*/ 0 h 17"/>
                  <a:gd name="T11" fmla="*/ 8 w 8"/>
                  <a:gd name="T12" fmla="*/ 17 h 17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8" h="17">
                    <a:moveTo>
                      <a:pt x="0" y="8"/>
                    </a:moveTo>
                    <a:cubicBezTo>
                      <a:pt x="5" y="6"/>
                      <a:pt x="4" y="4"/>
                      <a:pt x="8" y="0"/>
                    </a:cubicBezTo>
                    <a:cubicBezTo>
                      <a:pt x="8" y="2"/>
                      <a:pt x="0" y="17"/>
                      <a:pt x="0" y="8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10" name="Freeform 112"/>
              <p:cNvSpPr>
                <a:spLocks noChangeAspect="1"/>
              </p:cNvSpPr>
              <p:nvPr/>
            </p:nvSpPr>
            <p:spPr bwMode="auto">
              <a:xfrm>
                <a:off x="1859" y="4991"/>
                <a:ext cx="48" cy="40"/>
              </a:xfrm>
              <a:custGeom>
                <a:avLst/>
                <a:gdLst>
                  <a:gd name="T0" fmla="*/ 0 w 12"/>
                  <a:gd name="T1" fmla="*/ 2147483647 h 10"/>
                  <a:gd name="T2" fmla="*/ 2147483647 w 12"/>
                  <a:gd name="T3" fmla="*/ 2147483647 h 10"/>
                  <a:gd name="T4" fmla="*/ 0 w 12"/>
                  <a:gd name="T5" fmla="*/ 2147483647 h 10"/>
                  <a:gd name="T6" fmla="*/ 0 60000 65536"/>
                  <a:gd name="T7" fmla="*/ 0 60000 65536"/>
                  <a:gd name="T8" fmla="*/ 0 60000 65536"/>
                  <a:gd name="T9" fmla="*/ 0 w 12"/>
                  <a:gd name="T10" fmla="*/ 0 h 10"/>
                  <a:gd name="T11" fmla="*/ 12 w 12"/>
                  <a:gd name="T12" fmla="*/ 10 h 10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2" h="10">
                    <a:moveTo>
                      <a:pt x="0" y="3"/>
                    </a:moveTo>
                    <a:cubicBezTo>
                      <a:pt x="8" y="0"/>
                      <a:pt x="4" y="1"/>
                      <a:pt x="12" y="2"/>
                    </a:cubicBezTo>
                    <a:cubicBezTo>
                      <a:pt x="10" y="9"/>
                      <a:pt x="0" y="10"/>
                      <a:pt x="0" y="3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11" name="Freeform 113"/>
              <p:cNvSpPr>
                <a:spLocks noChangeAspect="1"/>
              </p:cNvSpPr>
              <p:nvPr/>
            </p:nvSpPr>
            <p:spPr bwMode="auto">
              <a:xfrm>
                <a:off x="1919" y="4979"/>
                <a:ext cx="96" cy="28"/>
              </a:xfrm>
              <a:custGeom>
                <a:avLst/>
                <a:gdLst>
                  <a:gd name="T0" fmla="*/ 2147483647 w 24"/>
                  <a:gd name="T1" fmla="*/ 2147483647 h 7"/>
                  <a:gd name="T2" fmla="*/ 2147483647 w 24"/>
                  <a:gd name="T3" fmla="*/ 2147483647 h 7"/>
                  <a:gd name="T4" fmla="*/ 2147483647 w 24"/>
                  <a:gd name="T5" fmla="*/ 2147483647 h 7"/>
                  <a:gd name="T6" fmla="*/ 0 60000 65536"/>
                  <a:gd name="T7" fmla="*/ 0 60000 65536"/>
                  <a:gd name="T8" fmla="*/ 0 60000 65536"/>
                  <a:gd name="T9" fmla="*/ 0 w 24"/>
                  <a:gd name="T10" fmla="*/ 0 h 7"/>
                  <a:gd name="T11" fmla="*/ 24 w 24"/>
                  <a:gd name="T12" fmla="*/ 7 h 7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4" h="7">
                    <a:moveTo>
                      <a:pt x="1" y="4"/>
                    </a:moveTo>
                    <a:cubicBezTo>
                      <a:pt x="22" y="3"/>
                      <a:pt x="24" y="3"/>
                      <a:pt x="12" y="7"/>
                    </a:cubicBezTo>
                    <a:cubicBezTo>
                      <a:pt x="6" y="6"/>
                      <a:pt x="0" y="0"/>
                      <a:pt x="1" y="4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12" name="Freeform 114"/>
              <p:cNvSpPr>
                <a:spLocks noChangeAspect="1"/>
              </p:cNvSpPr>
              <p:nvPr/>
            </p:nvSpPr>
            <p:spPr bwMode="auto">
              <a:xfrm>
                <a:off x="1507" y="5019"/>
                <a:ext cx="706" cy="756"/>
              </a:xfrm>
              <a:custGeom>
                <a:avLst/>
                <a:gdLst>
                  <a:gd name="T0" fmla="*/ 694 w 706"/>
                  <a:gd name="T1" fmla="*/ 39 h 756"/>
                  <a:gd name="T2" fmla="*/ 624 w 706"/>
                  <a:gd name="T3" fmla="*/ 0 h 756"/>
                  <a:gd name="T4" fmla="*/ 508 w 706"/>
                  <a:gd name="T5" fmla="*/ 12 h 756"/>
                  <a:gd name="T6" fmla="*/ 432 w 706"/>
                  <a:gd name="T7" fmla="*/ 28 h 756"/>
                  <a:gd name="T8" fmla="*/ 376 w 706"/>
                  <a:gd name="T9" fmla="*/ 60 h 756"/>
                  <a:gd name="T10" fmla="*/ 328 w 706"/>
                  <a:gd name="T11" fmla="*/ 92 h 756"/>
                  <a:gd name="T12" fmla="*/ 304 w 706"/>
                  <a:gd name="T13" fmla="*/ 100 h 756"/>
                  <a:gd name="T14" fmla="*/ 244 w 706"/>
                  <a:gd name="T15" fmla="*/ 156 h 756"/>
                  <a:gd name="T16" fmla="*/ 364 w 706"/>
                  <a:gd name="T17" fmla="*/ 240 h 756"/>
                  <a:gd name="T18" fmla="*/ 324 w 706"/>
                  <a:gd name="T19" fmla="*/ 272 h 756"/>
                  <a:gd name="T20" fmla="*/ 220 w 706"/>
                  <a:gd name="T21" fmla="*/ 268 h 756"/>
                  <a:gd name="T22" fmla="*/ 168 w 706"/>
                  <a:gd name="T23" fmla="*/ 316 h 756"/>
                  <a:gd name="T24" fmla="*/ 112 w 706"/>
                  <a:gd name="T25" fmla="*/ 392 h 756"/>
                  <a:gd name="T26" fmla="*/ 76 w 706"/>
                  <a:gd name="T27" fmla="*/ 420 h 756"/>
                  <a:gd name="T28" fmla="*/ 12 w 706"/>
                  <a:gd name="T29" fmla="*/ 504 h 756"/>
                  <a:gd name="T30" fmla="*/ 36 w 706"/>
                  <a:gd name="T31" fmla="*/ 560 h 756"/>
                  <a:gd name="T32" fmla="*/ 76 w 706"/>
                  <a:gd name="T33" fmla="*/ 580 h 756"/>
                  <a:gd name="T34" fmla="*/ 196 w 706"/>
                  <a:gd name="T35" fmla="*/ 536 h 756"/>
                  <a:gd name="T36" fmla="*/ 300 w 706"/>
                  <a:gd name="T37" fmla="*/ 564 h 756"/>
                  <a:gd name="T38" fmla="*/ 364 w 706"/>
                  <a:gd name="T39" fmla="*/ 612 h 756"/>
                  <a:gd name="T40" fmla="*/ 400 w 706"/>
                  <a:gd name="T41" fmla="*/ 628 h 756"/>
                  <a:gd name="T42" fmla="*/ 424 w 706"/>
                  <a:gd name="T43" fmla="*/ 644 h 756"/>
                  <a:gd name="T44" fmla="*/ 392 w 706"/>
                  <a:gd name="T45" fmla="*/ 704 h 756"/>
                  <a:gd name="T46" fmla="*/ 408 w 706"/>
                  <a:gd name="T47" fmla="*/ 756 h 756"/>
                  <a:gd name="T48" fmla="*/ 464 w 706"/>
                  <a:gd name="T49" fmla="*/ 732 h 756"/>
                  <a:gd name="T50" fmla="*/ 460 w 706"/>
                  <a:gd name="T51" fmla="*/ 720 h 756"/>
                  <a:gd name="T52" fmla="*/ 440 w 706"/>
                  <a:gd name="T53" fmla="*/ 692 h 756"/>
                  <a:gd name="T54" fmla="*/ 466 w 706"/>
                  <a:gd name="T55" fmla="*/ 669 h 756"/>
                  <a:gd name="T56" fmla="*/ 484 w 706"/>
                  <a:gd name="T57" fmla="*/ 624 h 756"/>
                  <a:gd name="T58" fmla="*/ 496 w 706"/>
                  <a:gd name="T59" fmla="*/ 588 h 756"/>
                  <a:gd name="T60" fmla="*/ 484 w 706"/>
                  <a:gd name="T61" fmla="*/ 524 h 756"/>
                  <a:gd name="T62" fmla="*/ 482 w 706"/>
                  <a:gd name="T63" fmla="*/ 471 h 756"/>
                  <a:gd name="T64" fmla="*/ 464 w 706"/>
                  <a:gd name="T65" fmla="*/ 474 h 756"/>
                  <a:gd name="T66" fmla="*/ 529 w 706"/>
                  <a:gd name="T67" fmla="*/ 452 h 756"/>
                  <a:gd name="T68" fmla="*/ 610 w 706"/>
                  <a:gd name="T69" fmla="*/ 431 h 756"/>
                  <a:gd name="T70" fmla="*/ 616 w 706"/>
                  <a:gd name="T71" fmla="*/ 371 h 756"/>
                  <a:gd name="T72" fmla="*/ 652 w 706"/>
                  <a:gd name="T73" fmla="*/ 356 h 756"/>
                  <a:gd name="T74" fmla="*/ 625 w 706"/>
                  <a:gd name="T75" fmla="*/ 273 h 756"/>
                  <a:gd name="T76" fmla="*/ 593 w 706"/>
                  <a:gd name="T77" fmla="*/ 231 h 756"/>
                  <a:gd name="T78" fmla="*/ 628 w 706"/>
                  <a:gd name="T79" fmla="*/ 215 h 756"/>
                  <a:gd name="T80" fmla="*/ 646 w 706"/>
                  <a:gd name="T81" fmla="*/ 242 h 756"/>
                  <a:gd name="T82" fmla="*/ 665 w 706"/>
                  <a:gd name="T83" fmla="*/ 197 h 756"/>
                  <a:gd name="T84" fmla="*/ 694 w 706"/>
                  <a:gd name="T85" fmla="*/ 39 h 75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706"/>
                  <a:gd name="T130" fmla="*/ 0 h 756"/>
                  <a:gd name="T131" fmla="*/ 706 w 706"/>
                  <a:gd name="T132" fmla="*/ 756 h 756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706" h="756">
                    <a:moveTo>
                      <a:pt x="694" y="39"/>
                    </a:moveTo>
                    <a:cubicBezTo>
                      <a:pt x="682" y="7"/>
                      <a:pt x="652" y="20"/>
                      <a:pt x="624" y="0"/>
                    </a:cubicBezTo>
                    <a:cubicBezTo>
                      <a:pt x="584" y="4"/>
                      <a:pt x="548" y="8"/>
                      <a:pt x="508" y="12"/>
                    </a:cubicBezTo>
                    <a:cubicBezTo>
                      <a:pt x="480" y="20"/>
                      <a:pt x="460" y="24"/>
                      <a:pt x="432" y="28"/>
                    </a:cubicBezTo>
                    <a:cubicBezTo>
                      <a:pt x="412" y="36"/>
                      <a:pt x="376" y="60"/>
                      <a:pt x="376" y="60"/>
                    </a:cubicBezTo>
                    <a:cubicBezTo>
                      <a:pt x="364" y="76"/>
                      <a:pt x="344" y="80"/>
                      <a:pt x="328" y="92"/>
                    </a:cubicBezTo>
                    <a:cubicBezTo>
                      <a:pt x="320" y="96"/>
                      <a:pt x="304" y="100"/>
                      <a:pt x="304" y="100"/>
                    </a:cubicBezTo>
                    <a:cubicBezTo>
                      <a:pt x="284" y="124"/>
                      <a:pt x="268" y="140"/>
                      <a:pt x="244" y="156"/>
                    </a:cubicBezTo>
                    <a:cubicBezTo>
                      <a:pt x="252" y="228"/>
                      <a:pt x="300" y="228"/>
                      <a:pt x="364" y="240"/>
                    </a:cubicBezTo>
                    <a:cubicBezTo>
                      <a:pt x="356" y="260"/>
                      <a:pt x="340" y="268"/>
                      <a:pt x="324" y="272"/>
                    </a:cubicBezTo>
                    <a:cubicBezTo>
                      <a:pt x="280" y="268"/>
                      <a:pt x="264" y="264"/>
                      <a:pt x="220" y="268"/>
                    </a:cubicBezTo>
                    <a:cubicBezTo>
                      <a:pt x="200" y="276"/>
                      <a:pt x="176" y="296"/>
                      <a:pt x="168" y="316"/>
                    </a:cubicBezTo>
                    <a:cubicBezTo>
                      <a:pt x="164" y="332"/>
                      <a:pt x="132" y="384"/>
                      <a:pt x="112" y="392"/>
                    </a:cubicBezTo>
                    <a:cubicBezTo>
                      <a:pt x="104" y="408"/>
                      <a:pt x="92" y="412"/>
                      <a:pt x="76" y="420"/>
                    </a:cubicBezTo>
                    <a:cubicBezTo>
                      <a:pt x="68" y="440"/>
                      <a:pt x="32" y="496"/>
                      <a:pt x="12" y="504"/>
                    </a:cubicBezTo>
                    <a:cubicBezTo>
                      <a:pt x="0" y="540"/>
                      <a:pt x="12" y="544"/>
                      <a:pt x="36" y="560"/>
                    </a:cubicBezTo>
                    <a:cubicBezTo>
                      <a:pt x="44" y="580"/>
                      <a:pt x="56" y="576"/>
                      <a:pt x="76" y="580"/>
                    </a:cubicBezTo>
                    <a:cubicBezTo>
                      <a:pt x="128" y="572"/>
                      <a:pt x="148" y="540"/>
                      <a:pt x="196" y="536"/>
                    </a:cubicBezTo>
                    <a:cubicBezTo>
                      <a:pt x="228" y="548"/>
                      <a:pt x="264" y="556"/>
                      <a:pt x="300" y="564"/>
                    </a:cubicBezTo>
                    <a:cubicBezTo>
                      <a:pt x="312" y="600"/>
                      <a:pt x="324" y="608"/>
                      <a:pt x="364" y="612"/>
                    </a:cubicBezTo>
                    <a:cubicBezTo>
                      <a:pt x="376" y="620"/>
                      <a:pt x="388" y="620"/>
                      <a:pt x="400" y="628"/>
                    </a:cubicBezTo>
                    <a:cubicBezTo>
                      <a:pt x="408" y="632"/>
                      <a:pt x="424" y="644"/>
                      <a:pt x="424" y="644"/>
                    </a:cubicBezTo>
                    <a:cubicBezTo>
                      <a:pt x="416" y="668"/>
                      <a:pt x="412" y="688"/>
                      <a:pt x="392" y="704"/>
                    </a:cubicBezTo>
                    <a:cubicBezTo>
                      <a:pt x="384" y="728"/>
                      <a:pt x="380" y="748"/>
                      <a:pt x="408" y="756"/>
                    </a:cubicBezTo>
                    <a:cubicBezTo>
                      <a:pt x="436" y="752"/>
                      <a:pt x="452" y="756"/>
                      <a:pt x="464" y="732"/>
                    </a:cubicBezTo>
                    <a:cubicBezTo>
                      <a:pt x="464" y="728"/>
                      <a:pt x="464" y="724"/>
                      <a:pt x="460" y="720"/>
                    </a:cubicBezTo>
                    <a:cubicBezTo>
                      <a:pt x="456" y="713"/>
                      <a:pt x="439" y="700"/>
                      <a:pt x="440" y="692"/>
                    </a:cubicBezTo>
                    <a:cubicBezTo>
                      <a:pt x="452" y="683"/>
                      <a:pt x="454" y="681"/>
                      <a:pt x="466" y="669"/>
                    </a:cubicBezTo>
                    <a:cubicBezTo>
                      <a:pt x="470" y="653"/>
                      <a:pt x="481" y="645"/>
                      <a:pt x="484" y="624"/>
                    </a:cubicBezTo>
                    <a:cubicBezTo>
                      <a:pt x="488" y="612"/>
                      <a:pt x="490" y="597"/>
                      <a:pt x="496" y="588"/>
                    </a:cubicBezTo>
                    <a:cubicBezTo>
                      <a:pt x="497" y="570"/>
                      <a:pt x="486" y="543"/>
                      <a:pt x="484" y="524"/>
                    </a:cubicBezTo>
                    <a:cubicBezTo>
                      <a:pt x="482" y="505"/>
                      <a:pt x="485" y="479"/>
                      <a:pt x="482" y="471"/>
                    </a:cubicBezTo>
                    <a:cubicBezTo>
                      <a:pt x="479" y="463"/>
                      <a:pt x="456" y="477"/>
                      <a:pt x="464" y="474"/>
                    </a:cubicBezTo>
                    <a:cubicBezTo>
                      <a:pt x="473" y="440"/>
                      <a:pt x="485" y="453"/>
                      <a:pt x="529" y="452"/>
                    </a:cubicBezTo>
                    <a:cubicBezTo>
                      <a:pt x="569" y="446"/>
                      <a:pt x="583" y="443"/>
                      <a:pt x="610" y="431"/>
                    </a:cubicBezTo>
                    <a:cubicBezTo>
                      <a:pt x="622" y="395"/>
                      <a:pt x="577" y="395"/>
                      <a:pt x="616" y="371"/>
                    </a:cubicBezTo>
                    <a:cubicBezTo>
                      <a:pt x="628" y="363"/>
                      <a:pt x="640" y="368"/>
                      <a:pt x="652" y="356"/>
                    </a:cubicBezTo>
                    <a:cubicBezTo>
                      <a:pt x="685" y="318"/>
                      <a:pt x="654" y="255"/>
                      <a:pt x="625" y="273"/>
                    </a:cubicBezTo>
                    <a:cubicBezTo>
                      <a:pt x="603" y="263"/>
                      <a:pt x="593" y="241"/>
                      <a:pt x="593" y="231"/>
                    </a:cubicBezTo>
                    <a:cubicBezTo>
                      <a:pt x="593" y="221"/>
                      <a:pt x="619" y="213"/>
                      <a:pt x="628" y="215"/>
                    </a:cubicBezTo>
                    <a:cubicBezTo>
                      <a:pt x="638" y="230"/>
                      <a:pt x="634" y="230"/>
                      <a:pt x="646" y="242"/>
                    </a:cubicBezTo>
                    <a:cubicBezTo>
                      <a:pt x="653" y="239"/>
                      <a:pt x="657" y="231"/>
                      <a:pt x="665" y="197"/>
                    </a:cubicBezTo>
                    <a:cubicBezTo>
                      <a:pt x="673" y="163"/>
                      <a:pt x="706" y="167"/>
                      <a:pt x="694" y="39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</p:grpSp>
        <p:grpSp>
          <p:nvGrpSpPr>
            <p:cNvPr id="295" name="Group 115"/>
            <p:cNvGrpSpPr>
              <a:grpSpLocks/>
            </p:cNvGrpSpPr>
            <p:nvPr/>
          </p:nvGrpSpPr>
          <p:grpSpPr bwMode="auto">
            <a:xfrm>
              <a:off x="1776" y="2141"/>
              <a:ext cx="402" cy="752"/>
              <a:chOff x="-347" y="2747"/>
              <a:chExt cx="1590" cy="2976"/>
            </a:xfrm>
            <a:grpFill/>
          </p:grpSpPr>
          <p:sp>
            <p:nvSpPr>
              <p:cNvPr id="297" name="Freeform 116"/>
              <p:cNvSpPr>
                <a:spLocks noChangeAspect="1"/>
              </p:cNvSpPr>
              <p:nvPr/>
            </p:nvSpPr>
            <p:spPr bwMode="auto">
              <a:xfrm>
                <a:off x="1007" y="2747"/>
                <a:ext cx="144" cy="288"/>
              </a:xfrm>
              <a:custGeom>
                <a:avLst/>
                <a:gdLst>
                  <a:gd name="T0" fmla="*/ 2147483647 w 36"/>
                  <a:gd name="T1" fmla="*/ 2147483647 h 72"/>
                  <a:gd name="T2" fmla="*/ 2147483647 w 36"/>
                  <a:gd name="T3" fmla="*/ 2147483647 h 72"/>
                  <a:gd name="T4" fmla="*/ 2147483647 w 36"/>
                  <a:gd name="T5" fmla="*/ 2147483647 h 72"/>
                  <a:gd name="T6" fmla="*/ 2147483647 w 36"/>
                  <a:gd name="T7" fmla="*/ 2147483647 h 72"/>
                  <a:gd name="T8" fmla="*/ 0 w 36"/>
                  <a:gd name="T9" fmla="*/ 2147483647 h 72"/>
                  <a:gd name="T10" fmla="*/ 2147483647 w 36"/>
                  <a:gd name="T11" fmla="*/ 2147483647 h 72"/>
                  <a:gd name="T12" fmla="*/ 2147483647 w 36"/>
                  <a:gd name="T13" fmla="*/ 2147483647 h 72"/>
                  <a:gd name="T14" fmla="*/ 2147483647 w 36"/>
                  <a:gd name="T15" fmla="*/ 2147483647 h 72"/>
                  <a:gd name="T16" fmla="*/ 2147483647 w 36"/>
                  <a:gd name="T17" fmla="*/ 2147483647 h 72"/>
                  <a:gd name="T18" fmla="*/ 2147483647 w 36"/>
                  <a:gd name="T19" fmla="*/ 2147483647 h 72"/>
                  <a:gd name="T20" fmla="*/ 2147483647 w 36"/>
                  <a:gd name="T21" fmla="*/ 2147483647 h 72"/>
                  <a:gd name="T22" fmla="*/ 2147483647 w 36"/>
                  <a:gd name="T23" fmla="*/ 2147483647 h 72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36"/>
                  <a:gd name="T37" fmla="*/ 0 h 72"/>
                  <a:gd name="T38" fmla="*/ 36 w 36"/>
                  <a:gd name="T39" fmla="*/ 72 h 72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36" h="72">
                    <a:moveTo>
                      <a:pt x="32" y="4"/>
                    </a:moveTo>
                    <a:cubicBezTo>
                      <a:pt x="24" y="5"/>
                      <a:pt x="26" y="8"/>
                      <a:pt x="20" y="11"/>
                    </a:cubicBezTo>
                    <a:cubicBezTo>
                      <a:pt x="16" y="16"/>
                      <a:pt x="11" y="17"/>
                      <a:pt x="7" y="22"/>
                    </a:cubicBezTo>
                    <a:cubicBezTo>
                      <a:pt x="5" y="24"/>
                      <a:pt x="3" y="28"/>
                      <a:pt x="3" y="28"/>
                    </a:cubicBezTo>
                    <a:cubicBezTo>
                      <a:pt x="2" y="33"/>
                      <a:pt x="2" y="38"/>
                      <a:pt x="0" y="43"/>
                    </a:cubicBezTo>
                    <a:cubicBezTo>
                      <a:pt x="2" y="53"/>
                      <a:pt x="1" y="63"/>
                      <a:pt x="7" y="72"/>
                    </a:cubicBezTo>
                    <a:cubicBezTo>
                      <a:pt x="10" y="68"/>
                      <a:pt x="12" y="66"/>
                      <a:pt x="17" y="63"/>
                    </a:cubicBezTo>
                    <a:cubicBezTo>
                      <a:pt x="18" y="60"/>
                      <a:pt x="20" y="57"/>
                      <a:pt x="21" y="54"/>
                    </a:cubicBezTo>
                    <a:cubicBezTo>
                      <a:pt x="22" y="42"/>
                      <a:pt x="20" y="30"/>
                      <a:pt x="30" y="23"/>
                    </a:cubicBezTo>
                    <a:cubicBezTo>
                      <a:pt x="32" y="19"/>
                      <a:pt x="34" y="14"/>
                      <a:pt x="36" y="9"/>
                    </a:cubicBezTo>
                    <a:cubicBezTo>
                      <a:pt x="33" y="0"/>
                      <a:pt x="30" y="7"/>
                      <a:pt x="26" y="11"/>
                    </a:cubicBezTo>
                    <a:lnTo>
                      <a:pt x="32" y="4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298" name="Freeform 117"/>
              <p:cNvSpPr>
                <a:spLocks noChangeAspect="1"/>
              </p:cNvSpPr>
              <p:nvPr/>
            </p:nvSpPr>
            <p:spPr bwMode="auto">
              <a:xfrm>
                <a:off x="715" y="3135"/>
                <a:ext cx="120" cy="132"/>
              </a:xfrm>
              <a:custGeom>
                <a:avLst/>
                <a:gdLst>
                  <a:gd name="T0" fmla="*/ 2147483647 w 30"/>
                  <a:gd name="T1" fmla="*/ 0 h 33"/>
                  <a:gd name="T2" fmla="*/ 2147483647 w 30"/>
                  <a:gd name="T3" fmla="*/ 2147483647 h 33"/>
                  <a:gd name="T4" fmla="*/ 0 w 30"/>
                  <a:gd name="T5" fmla="*/ 2147483647 h 33"/>
                  <a:gd name="T6" fmla="*/ 2147483647 w 30"/>
                  <a:gd name="T7" fmla="*/ 2147483647 h 33"/>
                  <a:gd name="T8" fmla="*/ 2147483647 w 30"/>
                  <a:gd name="T9" fmla="*/ 2147483647 h 33"/>
                  <a:gd name="T10" fmla="*/ 2147483647 w 30"/>
                  <a:gd name="T11" fmla="*/ 2147483647 h 33"/>
                  <a:gd name="T12" fmla="*/ 2147483647 w 30"/>
                  <a:gd name="T13" fmla="*/ 0 h 3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0"/>
                  <a:gd name="T22" fmla="*/ 0 h 33"/>
                  <a:gd name="T23" fmla="*/ 30 w 30"/>
                  <a:gd name="T24" fmla="*/ 33 h 3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0" h="33">
                    <a:moveTo>
                      <a:pt x="16" y="0"/>
                    </a:moveTo>
                    <a:cubicBezTo>
                      <a:pt x="7" y="3"/>
                      <a:pt x="9" y="3"/>
                      <a:pt x="3" y="9"/>
                    </a:cubicBezTo>
                    <a:cubicBezTo>
                      <a:pt x="0" y="17"/>
                      <a:pt x="1" y="13"/>
                      <a:pt x="0" y="21"/>
                    </a:cubicBezTo>
                    <a:cubicBezTo>
                      <a:pt x="1" y="29"/>
                      <a:pt x="3" y="31"/>
                      <a:pt x="10" y="33"/>
                    </a:cubicBezTo>
                    <a:cubicBezTo>
                      <a:pt x="25" y="32"/>
                      <a:pt x="18" y="33"/>
                      <a:pt x="25" y="26"/>
                    </a:cubicBezTo>
                    <a:cubicBezTo>
                      <a:pt x="26" y="20"/>
                      <a:pt x="27" y="17"/>
                      <a:pt x="30" y="12"/>
                    </a:cubicBezTo>
                    <a:cubicBezTo>
                      <a:pt x="27" y="0"/>
                      <a:pt x="24" y="5"/>
                      <a:pt x="16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299" name="Freeform 118"/>
              <p:cNvSpPr>
                <a:spLocks noChangeAspect="1"/>
              </p:cNvSpPr>
              <p:nvPr/>
            </p:nvSpPr>
            <p:spPr bwMode="auto">
              <a:xfrm>
                <a:off x="-88" y="3271"/>
                <a:ext cx="340" cy="432"/>
              </a:xfrm>
              <a:custGeom>
                <a:avLst/>
                <a:gdLst>
                  <a:gd name="T0" fmla="*/ 2147483647 w 85"/>
                  <a:gd name="T1" fmla="*/ 0 h 108"/>
                  <a:gd name="T2" fmla="*/ 2147483647 w 85"/>
                  <a:gd name="T3" fmla="*/ 2147483647 h 108"/>
                  <a:gd name="T4" fmla="*/ 2147483647 w 85"/>
                  <a:gd name="T5" fmla="*/ 2147483647 h 108"/>
                  <a:gd name="T6" fmla="*/ 2147483647 w 85"/>
                  <a:gd name="T7" fmla="*/ 2147483647 h 108"/>
                  <a:gd name="T8" fmla="*/ 2147483647 w 85"/>
                  <a:gd name="T9" fmla="*/ 2147483647 h 108"/>
                  <a:gd name="T10" fmla="*/ 0 w 85"/>
                  <a:gd name="T11" fmla="*/ 2147483647 h 108"/>
                  <a:gd name="T12" fmla="*/ 2147483647 w 85"/>
                  <a:gd name="T13" fmla="*/ 2147483647 h 108"/>
                  <a:gd name="T14" fmla="*/ 2147483647 w 85"/>
                  <a:gd name="T15" fmla="*/ 2147483647 h 108"/>
                  <a:gd name="T16" fmla="*/ 2147483647 w 85"/>
                  <a:gd name="T17" fmla="*/ 2147483647 h 108"/>
                  <a:gd name="T18" fmla="*/ 2147483647 w 85"/>
                  <a:gd name="T19" fmla="*/ 2147483647 h 108"/>
                  <a:gd name="T20" fmla="*/ 2147483647 w 85"/>
                  <a:gd name="T21" fmla="*/ 2147483647 h 108"/>
                  <a:gd name="T22" fmla="*/ 2147483647 w 85"/>
                  <a:gd name="T23" fmla="*/ 2147483647 h 108"/>
                  <a:gd name="T24" fmla="*/ 2147483647 w 85"/>
                  <a:gd name="T25" fmla="*/ 2147483647 h 108"/>
                  <a:gd name="T26" fmla="*/ 2147483647 w 85"/>
                  <a:gd name="T27" fmla="*/ 2147483647 h 108"/>
                  <a:gd name="T28" fmla="*/ 2147483647 w 85"/>
                  <a:gd name="T29" fmla="*/ 0 h 108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85"/>
                  <a:gd name="T46" fmla="*/ 0 h 108"/>
                  <a:gd name="T47" fmla="*/ 85 w 85"/>
                  <a:gd name="T48" fmla="*/ 108 h 108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85" h="108">
                    <a:moveTo>
                      <a:pt x="81" y="0"/>
                    </a:moveTo>
                    <a:cubicBezTo>
                      <a:pt x="69" y="1"/>
                      <a:pt x="55" y="0"/>
                      <a:pt x="45" y="7"/>
                    </a:cubicBezTo>
                    <a:cubicBezTo>
                      <a:pt x="38" y="18"/>
                      <a:pt x="41" y="31"/>
                      <a:pt x="36" y="42"/>
                    </a:cubicBezTo>
                    <a:cubicBezTo>
                      <a:pt x="33" y="48"/>
                      <a:pt x="26" y="52"/>
                      <a:pt x="21" y="55"/>
                    </a:cubicBezTo>
                    <a:cubicBezTo>
                      <a:pt x="14" y="65"/>
                      <a:pt x="17" y="83"/>
                      <a:pt x="6" y="90"/>
                    </a:cubicBezTo>
                    <a:cubicBezTo>
                      <a:pt x="5" y="96"/>
                      <a:pt x="4" y="99"/>
                      <a:pt x="0" y="103"/>
                    </a:cubicBezTo>
                    <a:cubicBezTo>
                      <a:pt x="1" y="106"/>
                      <a:pt x="7" y="108"/>
                      <a:pt x="7" y="108"/>
                    </a:cubicBezTo>
                    <a:cubicBezTo>
                      <a:pt x="12" y="99"/>
                      <a:pt x="15" y="88"/>
                      <a:pt x="23" y="82"/>
                    </a:cubicBezTo>
                    <a:cubicBezTo>
                      <a:pt x="25" y="77"/>
                      <a:pt x="30" y="68"/>
                      <a:pt x="34" y="64"/>
                    </a:cubicBezTo>
                    <a:cubicBezTo>
                      <a:pt x="35" y="60"/>
                      <a:pt x="35" y="57"/>
                      <a:pt x="40" y="55"/>
                    </a:cubicBezTo>
                    <a:cubicBezTo>
                      <a:pt x="45" y="50"/>
                      <a:pt x="51" y="49"/>
                      <a:pt x="58" y="48"/>
                    </a:cubicBezTo>
                    <a:cubicBezTo>
                      <a:pt x="61" y="46"/>
                      <a:pt x="66" y="41"/>
                      <a:pt x="69" y="40"/>
                    </a:cubicBezTo>
                    <a:cubicBezTo>
                      <a:pt x="72" y="34"/>
                      <a:pt x="77" y="26"/>
                      <a:pt x="81" y="22"/>
                    </a:cubicBezTo>
                    <a:cubicBezTo>
                      <a:pt x="82" y="18"/>
                      <a:pt x="83" y="14"/>
                      <a:pt x="84" y="10"/>
                    </a:cubicBezTo>
                    <a:cubicBezTo>
                      <a:pt x="83" y="1"/>
                      <a:pt x="85" y="4"/>
                      <a:pt x="81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00" name="Freeform 119"/>
              <p:cNvSpPr>
                <a:spLocks noChangeAspect="1"/>
              </p:cNvSpPr>
              <p:nvPr/>
            </p:nvSpPr>
            <p:spPr bwMode="auto">
              <a:xfrm>
                <a:off x="76" y="3503"/>
                <a:ext cx="176" cy="200"/>
              </a:xfrm>
              <a:custGeom>
                <a:avLst/>
                <a:gdLst>
                  <a:gd name="T0" fmla="*/ 2147483647 w 44"/>
                  <a:gd name="T1" fmla="*/ 0 h 50"/>
                  <a:gd name="T2" fmla="*/ 2147483647 w 44"/>
                  <a:gd name="T3" fmla="*/ 2147483647 h 50"/>
                  <a:gd name="T4" fmla="*/ 2147483647 w 44"/>
                  <a:gd name="T5" fmla="*/ 2147483647 h 50"/>
                  <a:gd name="T6" fmla="*/ 2147483647 w 44"/>
                  <a:gd name="T7" fmla="*/ 2147483647 h 50"/>
                  <a:gd name="T8" fmla="*/ 2147483647 w 44"/>
                  <a:gd name="T9" fmla="*/ 2147483647 h 50"/>
                  <a:gd name="T10" fmla="*/ 2147483647 w 44"/>
                  <a:gd name="T11" fmla="*/ 2147483647 h 50"/>
                  <a:gd name="T12" fmla="*/ 2147483647 w 44"/>
                  <a:gd name="T13" fmla="*/ 2147483647 h 50"/>
                  <a:gd name="T14" fmla="*/ 2147483647 w 44"/>
                  <a:gd name="T15" fmla="*/ 2147483647 h 50"/>
                  <a:gd name="T16" fmla="*/ 2147483647 w 44"/>
                  <a:gd name="T17" fmla="*/ 2147483647 h 50"/>
                  <a:gd name="T18" fmla="*/ 2147483647 w 44"/>
                  <a:gd name="T19" fmla="*/ 0 h 50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44"/>
                  <a:gd name="T31" fmla="*/ 0 h 50"/>
                  <a:gd name="T32" fmla="*/ 44 w 44"/>
                  <a:gd name="T33" fmla="*/ 50 h 50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44" h="50">
                    <a:moveTo>
                      <a:pt x="23" y="0"/>
                    </a:moveTo>
                    <a:cubicBezTo>
                      <a:pt x="38" y="10"/>
                      <a:pt x="20" y="24"/>
                      <a:pt x="41" y="31"/>
                    </a:cubicBezTo>
                    <a:cubicBezTo>
                      <a:pt x="44" y="39"/>
                      <a:pt x="38" y="45"/>
                      <a:pt x="31" y="46"/>
                    </a:cubicBezTo>
                    <a:cubicBezTo>
                      <a:pt x="30" y="46"/>
                      <a:pt x="26" y="50"/>
                      <a:pt x="25" y="49"/>
                    </a:cubicBezTo>
                    <a:cubicBezTo>
                      <a:pt x="18" y="46"/>
                      <a:pt x="19" y="35"/>
                      <a:pt x="16" y="30"/>
                    </a:cubicBezTo>
                    <a:cubicBezTo>
                      <a:pt x="11" y="22"/>
                      <a:pt x="11" y="22"/>
                      <a:pt x="4" y="18"/>
                    </a:cubicBezTo>
                    <a:cubicBezTo>
                      <a:pt x="0" y="10"/>
                      <a:pt x="4" y="9"/>
                      <a:pt x="12" y="7"/>
                    </a:cubicBezTo>
                    <a:cubicBezTo>
                      <a:pt x="14" y="7"/>
                      <a:pt x="16" y="7"/>
                      <a:pt x="17" y="8"/>
                    </a:cubicBezTo>
                    <a:cubicBezTo>
                      <a:pt x="18" y="9"/>
                      <a:pt x="19" y="12"/>
                      <a:pt x="19" y="12"/>
                    </a:cubicBezTo>
                    <a:lnTo>
                      <a:pt x="23" y="0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01" name="Freeform 120"/>
              <p:cNvSpPr>
                <a:spLocks noChangeAspect="1"/>
              </p:cNvSpPr>
              <p:nvPr/>
            </p:nvSpPr>
            <p:spPr bwMode="auto">
              <a:xfrm>
                <a:off x="12" y="3987"/>
                <a:ext cx="108" cy="128"/>
              </a:xfrm>
              <a:custGeom>
                <a:avLst/>
                <a:gdLst>
                  <a:gd name="T0" fmla="*/ 2147483647 w 27"/>
                  <a:gd name="T1" fmla="*/ 2147483647 h 32"/>
                  <a:gd name="T2" fmla="*/ 2147483647 w 27"/>
                  <a:gd name="T3" fmla="*/ 2147483647 h 32"/>
                  <a:gd name="T4" fmla="*/ 2147483647 w 27"/>
                  <a:gd name="T5" fmla="*/ 2147483647 h 32"/>
                  <a:gd name="T6" fmla="*/ 2147483647 w 27"/>
                  <a:gd name="T7" fmla="*/ 2147483647 h 32"/>
                  <a:gd name="T8" fmla="*/ 2147483647 w 27"/>
                  <a:gd name="T9" fmla="*/ 2147483647 h 32"/>
                  <a:gd name="T10" fmla="*/ 2147483647 w 27"/>
                  <a:gd name="T11" fmla="*/ 2147483647 h 32"/>
                  <a:gd name="T12" fmla="*/ 2147483647 w 27"/>
                  <a:gd name="T13" fmla="*/ 2147483647 h 32"/>
                  <a:gd name="T14" fmla="*/ 2147483647 w 27"/>
                  <a:gd name="T15" fmla="*/ 2147483647 h 3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7"/>
                  <a:gd name="T25" fmla="*/ 0 h 32"/>
                  <a:gd name="T26" fmla="*/ 27 w 27"/>
                  <a:gd name="T27" fmla="*/ 32 h 3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7" h="32">
                    <a:moveTo>
                      <a:pt x="8" y="7"/>
                    </a:moveTo>
                    <a:cubicBezTo>
                      <a:pt x="0" y="11"/>
                      <a:pt x="1" y="18"/>
                      <a:pt x="8" y="23"/>
                    </a:cubicBezTo>
                    <a:cubicBezTo>
                      <a:pt x="9" y="24"/>
                      <a:pt x="10" y="25"/>
                      <a:pt x="10" y="26"/>
                    </a:cubicBezTo>
                    <a:cubicBezTo>
                      <a:pt x="10" y="27"/>
                      <a:pt x="10" y="29"/>
                      <a:pt x="9" y="30"/>
                    </a:cubicBezTo>
                    <a:cubicBezTo>
                      <a:pt x="8" y="31"/>
                      <a:pt x="5" y="32"/>
                      <a:pt x="6" y="32"/>
                    </a:cubicBezTo>
                    <a:cubicBezTo>
                      <a:pt x="10" y="32"/>
                      <a:pt x="13" y="31"/>
                      <a:pt x="17" y="31"/>
                    </a:cubicBezTo>
                    <a:cubicBezTo>
                      <a:pt x="25" y="25"/>
                      <a:pt x="16" y="19"/>
                      <a:pt x="27" y="12"/>
                    </a:cubicBezTo>
                    <a:cubicBezTo>
                      <a:pt x="24" y="0"/>
                      <a:pt x="0" y="18"/>
                      <a:pt x="8" y="7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02" name="Freeform 121"/>
              <p:cNvSpPr>
                <a:spLocks noChangeAspect="1"/>
              </p:cNvSpPr>
              <p:nvPr/>
            </p:nvSpPr>
            <p:spPr bwMode="auto">
              <a:xfrm>
                <a:off x="172" y="4495"/>
                <a:ext cx="128" cy="100"/>
              </a:xfrm>
              <a:custGeom>
                <a:avLst/>
                <a:gdLst>
                  <a:gd name="T0" fmla="*/ 2147483647 w 32"/>
                  <a:gd name="T1" fmla="*/ 0 h 25"/>
                  <a:gd name="T2" fmla="*/ 2147483647 w 32"/>
                  <a:gd name="T3" fmla="*/ 2147483647 h 25"/>
                  <a:gd name="T4" fmla="*/ 2147483647 w 32"/>
                  <a:gd name="T5" fmla="*/ 2147483647 h 25"/>
                  <a:gd name="T6" fmla="*/ 0 w 32"/>
                  <a:gd name="T7" fmla="*/ 2147483647 h 25"/>
                  <a:gd name="T8" fmla="*/ 2147483647 w 32"/>
                  <a:gd name="T9" fmla="*/ 2147483647 h 25"/>
                  <a:gd name="T10" fmla="*/ 2147483647 w 32"/>
                  <a:gd name="T11" fmla="*/ 2147483647 h 25"/>
                  <a:gd name="T12" fmla="*/ 2147483647 w 32"/>
                  <a:gd name="T13" fmla="*/ 2147483647 h 25"/>
                  <a:gd name="T14" fmla="*/ 2147483647 w 32"/>
                  <a:gd name="T15" fmla="*/ 0 h 25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2"/>
                  <a:gd name="T25" fmla="*/ 0 h 25"/>
                  <a:gd name="T26" fmla="*/ 32 w 32"/>
                  <a:gd name="T27" fmla="*/ 25 h 25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2" h="25">
                    <a:moveTo>
                      <a:pt x="19" y="0"/>
                    </a:moveTo>
                    <a:cubicBezTo>
                      <a:pt x="18" y="3"/>
                      <a:pt x="15" y="8"/>
                      <a:pt x="13" y="10"/>
                    </a:cubicBezTo>
                    <a:cubicBezTo>
                      <a:pt x="11" y="12"/>
                      <a:pt x="7" y="14"/>
                      <a:pt x="7" y="14"/>
                    </a:cubicBezTo>
                    <a:cubicBezTo>
                      <a:pt x="5" y="17"/>
                      <a:pt x="2" y="20"/>
                      <a:pt x="0" y="23"/>
                    </a:cubicBezTo>
                    <a:cubicBezTo>
                      <a:pt x="7" y="25"/>
                      <a:pt x="12" y="25"/>
                      <a:pt x="19" y="24"/>
                    </a:cubicBezTo>
                    <a:cubicBezTo>
                      <a:pt x="22" y="22"/>
                      <a:pt x="24" y="19"/>
                      <a:pt x="28" y="18"/>
                    </a:cubicBezTo>
                    <a:cubicBezTo>
                      <a:pt x="30" y="10"/>
                      <a:pt x="32" y="4"/>
                      <a:pt x="23" y="1"/>
                    </a:cubicBezTo>
                    <a:cubicBezTo>
                      <a:pt x="17" y="2"/>
                      <a:pt x="14" y="9"/>
                      <a:pt x="19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03" name="Freeform 122"/>
              <p:cNvSpPr>
                <a:spLocks noChangeAspect="1"/>
              </p:cNvSpPr>
              <p:nvPr/>
            </p:nvSpPr>
            <p:spPr bwMode="auto">
              <a:xfrm>
                <a:off x="152" y="4783"/>
                <a:ext cx="112" cy="100"/>
              </a:xfrm>
              <a:custGeom>
                <a:avLst/>
                <a:gdLst>
                  <a:gd name="T0" fmla="*/ 2147483647 w 28"/>
                  <a:gd name="T1" fmla="*/ 0 h 25"/>
                  <a:gd name="T2" fmla="*/ 2147483647 w 28"/>
                  <a:gd name="T3" fmla="*/ 2147483647 h 25"/>
                  <a:gd name="T4" fmla="*/ 2147483647 w 28"/>
                  <a:gd name="T5" fmla="*/ 2147483647 h 25"/>
                  <a:gd name="T6" fmla="*/ 2147483647 w 28"/>
                  <a:gd name="T7" fmla="*/ 2147483647 h 25"/>
                  <a:gd name="T8" fmla="*/ 2147483647 w 28"/>
                  <a:gd name="T9" fmla="*/ 2147483647 h 25"/>
                  <a:gd name="T10" fmla="*/ 2147483647 w 28"/>
                  <a:gd name="T11" fmla="*/ 0 h 2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8"/>
                  <a:gd name="T19" fmla="*/ 0 h 25"/>
                  <a:gd name="T20" fmla="*/ 28 w 28"/>
                  <a:gd name="T21" fmla="*/ 25 h 2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8" h="25">
                    <a:moveTo>
                      <a:pt x="11" y="0"/>
                    </a:moveTo>
                    <a:cubicBezTo>
                      <a:pt x="19" y="2"/>
                      <a:pt x="23" y="4"/>
                      <a:pt x="28" y="10"/>
                    </a:cubicBezTo>
                    <a:cubicBezTo>
                      <a:pt x="26" y="15"/>
                      <a:pt x="21" y="15"/>
                      <a:pt x="16" y="17"/>
                    </a:cubicBezTo>
                    <a:cubicBezTo>
                      <a:pt x="8" y="25"/>
                      <a:pt x="9" y="14"/>
                      <a:pt x="3" y="12"/>
                    </a:cubicBezTo>
                    <a:cubicBezTo>
                      <a:pt x="0" y="5"/>
                      <a:pt x="2" y="5"/>
                      <a:pt x="9" y="4"/>
                    </a:cubicBezTo>
                    <a:cubicBezTo>
                      <a:pt x="13" y="2"/>
                      <a:pt x="18" y="2"/>
                      <a:pt x="11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04" name="Freeform 123"/>
              <p:cNvSpPr>
                <a:spLocks noChangeAspect="1"/>
              </p:cNvSpPr>
              <p:nvPr/>
            </p:nvSpPr>
            <p:spPr bwMode="auto">
              <a:xfrm>
                <a:off x="-236" y="3311"/>
                <a:ext cx="1479" cy="2412"/>
              </a:xfrm>
              <a:custGeom>
                <a:avLst/>
                <a:gdLst>
                  <a:gd name="T0" fmla="*/ 2147483647 w 370"/>
                  <a:gd name="T1" fmla="*/ 2147483647 h 603"/>
                  <a:gd name="T2" fmla="*/ 2147483647 w 370"/>
                  <a:gd name="T3" fmla="*/ 2147483647 h 603"/>
                  <a:gd name="T4" fmla="*/ 2147483647 w 370"/>
                  <a:gd name="T5" fmla="*/ 2147483647 h 603"/>
                  <a:gd name="T6" fmla="*/ 2147483647 w 370"/>
                  <a:gd name="T7" fmla="*/ 2147483647 h 603"/>
                  <a:gd name="T8" fmla="*/ 2147483647 w 370"/>
                  <a:gd name="T9" fmla="*/ 2147483647 h 603"/>
                  <a:gd name="T10" fmla="*/ 2147483647 w 370"/>
                  <a:gd name="T11" fmla="*/ 2147483647 h 603"/>
                  <a:gd name="T12" fmla="*/ 2147483647 w 370"/>
                  <a:gd name="T13" fmla="*/ 2147483647 h 603"/>
                  <a:gd name="T14" fmla="*/ 2147483647 w 370"/>
                  <a:gd name="T15" fmla="*/ 2147483647 h 603"/>
                  <a:gd name="T16" fmla="*/ 2147483647 w 370"/>
                  <a:gd name="T17" fmla="*/ 2147483647 h 603"/>
                  <a:gd name="T18" fmla="*/ 2147483647 w 370"/>
                  <a:gd name="T19" fmla="*/ 2147483647 h 603"/>
                  <a:gd name="T20" fmla="*/ 2147483647 w 370"/>
                  <a:gd name="T21" fmla="*/ 2147483647 h 603"/>
                  <a:gd name="T22" fmla="*/ 2147483647 w 370"/>
                  <a:gd name="T23" fmla="*/ 2147483647 h 603"/>
                  <a:gd name="T24" fmla="*/ 2147483647 w 370"/>
                  <a:gd name="T25" fmla="*/ 2147483647 h 603"/>
                  <a:gd name="T26" fmla="*/ 2147483647 w 370"/>
                  <a:gd name="T27" fmla="*/ 2147483647 h 603"/>
                  <a:gd name="T28" fmla="*/ 2147483647 w 370"/>
                  <a:gd name="T29" fmla="*/ 2147483647 h 603"/>
                  <a:gd name="T30" fmla="*/ 2147483647 w 370"/>
                  <a:gd name="T31" fmla="*/ 2147483647 h 603"/>
                  <a:gd name="T32" fmla="*/ 2147483647 w 370"/>
                  <a:gd name="T33" fmla="*/ 2147483647 h 603"/>
                  <a:gd name="T34" fmla="*/ 2147483647 w 370"/>
                  <a:gd name="T35" fmla="*/ 2147483647 h 603"/>
                  <a:gd name="T36" fmla="*/ 2147483647 w 370"/>
                  <a:gd name="T37" fmla="*/ 2147483647 h 603"/>
                  <a:gd name="T38" fmla="*/ 2147483647 w 370"/>
                  <a:gd name="T39" fmla="*/ 2147483647 h 603"/>
                  <a:gd name="T40" fmla="*/ 2147483647 w 370"/>
                  <a:gd name="T41" fmla="*/ 2147483647 h 603"/>
                  <a:gd name="T42" fmla="*/ 2147483647 w 370"/>
                  <a:gd name="T43" fmla="*/ 2147483647 h 603"/>
                  <a:gd name="T44" fmla="*/ 2147483647 w 370"/>
                  <a:gd name="T45" fmla="*/ 2147483647 h 603"/>
                  <a:gd name="T46" fmla="*/ 2147483647 w 370"/>
                  <a:gd name="T47" fmla="*/ 2147483647 h 603"/>
                  <a:gd name="T48" fmla="*/ 2147483647 w 370"/>
                  <a:gd name="T49" fmla="*/ 2147483647 h 603"/>
                  <a:gd name="T50" fmla="*/ 2147483647 w 370"/>
                  <a:gd name="T51" fmla="*/ 2147483647 h 603"/>
                  <a:gd name="T52" fmla="*/ 2147483647 w 370"/>
                  <a:gd name="T53" fmla="*/ 2147483647 h 603"/>
                  <a:gd name="T54" fmla="*/ 2147483647 w 370"/>
                  <a:gd name="T55" fmla="*/ 2147483647 h 603"/>
                  <a:gd name="T56" fmla="*/ 2147483647 w 370"/>
                  <a:gd name="T57" fmla="*/ 2147483647 h 603"/>
                  <a:gd name="T58" fmla="*/ 2147483647 w 370"/>
                  <a:gd name="T59" fmla="*/ 2147483647 h 603"/>
                  <a:gd name="T60" fmla="*/ 2147483647 w 370"/>
                  <a:gd name="T61" fmla="*/ 2147483647 h 603"/>
                  <a:gd name="T62" fmla="*/ 2147483647 w 370"/>
                  <a:gd name="T63" fmla="*/ 2147483647 h 603"/>
                  <a:gd name="T64" fmla="*/ 2147483647 w 370"/>
                  <a:gd name="T65" fmla="*/ 2147483647 h 603"/>
                  <a:gd name="T66" fmla="*/ 2147483647 w 370"/>
                  <a:gd name="T67" fmla="*/ 2147483647 h 603"/>
                  <a:gd name="T68" fmla="*/ 2147483647 w 370"/>
                  <a:gd name="T69" fmla="*/ 2147483647 h 603"/>
                  <a:gd name="T70" fmla="*/ 2147483647 w 370"/>
                  <a:gd name="T71" fmla="*/ 2147483647 h 603"/>
                  <a:gd name="T72" fmla="*/ 2147483647 w 370"/>
                  <a:gd name="T73" fmla="*/ 2147483647 h 603"/>
                  <a:gd name="T74" fmla="*/ 2147483647 w 370"/>
                  <a:gd name="T75" fmla="*/ 2147483647 h 603"/>
                  <a:gd name="T76" fmla="*/ 2147483647 w 370"/>
                  <a:gd name="T77" fmla="*/ 2147483647 h 603"/>
                  <a:gd name="T78" fmla="*/ 2147483647 w 370"/>
                  <a:gd name="T79" fmla="*/ 2147483647 h 603"/>
                  <a:gd name="T80" fmla="*/ 2147483647 w 370"/>
                  <a:gd name="T81" fmla="*/ 2147483647 h 603"/>
                  <a:gd name="T82" fmla="*/ 2147483647 w 370"/>
                  <a:gd name="T83" fmla="*/ 2147483647 h 603"/>
                  <a:gd name="T84" fmla="*/ 2147483647 w 370"/>
                  <a:gd name="T85" fmla="*/ 2147483647 h 603"/>
                  <a:gd name="T86" fmla="*/ 2147483647 w 370"/>
                  <a:gd name="T87" fmla="*/ 2147483647 h 603"/>
                  <a:gd name="T88" fmla="*/ 2147483647 w 370"/>
                  <a:gd name="T89" fmla="*/ 2147483647 h 603"/>
                  <a:gd name="T90" fmla="*/ 2147483647 w 370"/>
                  <a:gd name="T91" fmla="*/ 2147483647 h 603"/>
                  <a:gd name="T92" fmla="*/ 2147483647 w 370"/>
                  <a:gd name="T93" fmla="*/ 2147483647 h 603"/>
                  <a:gd name="T94" fmla="*/ 2147483647 w 370"/>
                  <a:gd name="T95" fmla="*/ 2147483647 h 603"/>
                  <a:gd name="T96" fmla="*/ 2147483647 w 370"/>
                  <a:gd name="T97" fmla="*/ 2147483647 h 603"/>
                  <a:gd name="T98" fmla="*/ 2147483647 w 370"/>
                  <a:gd name="T99" fmla="*/ 2147483647 h 603"/>
                  <a:gd name="T100" fmla="*/ 2147483647 w 370"/>
                  <a:gd name="T101" fmla="*/ 2147483647 h 603"/>
                  <a:gd name="T102" fmla="*/ 2147483647 w 370"/>
                  <a:gd name="T103" fmla="*/ 2147483647 h 603"/>
                  <a:gd name="T104" fmla="*/ 2147483647 w 370"/>
                  <a:gd name="T105" fmla="*/ 2147483647 h 603"/>
                  <a:gd name="T106" fmla="*/ 2147483647 w 370"/>
                  <a:gd name="T107" fmla="*/ 2147483647 h 603"/>
                  <a:gd name="T108" fmla="*/ 2147483647 w 370"/>
                  <a:gd name="T109" fmla="*/ 2147483647 h 603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370"/>
                  <a:gd name="T166" fmla="*/ 0 h 603"/>
                  <a:gd name="T167" fmla="*/ 370 w 370"/>
                  <a:gd name="T168" fmla="*/ 603 h 603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370" h="603">
                    <a:moveTo>
                      <a:pt x="174" y="3"/>
                    </a:moveTo>
                    <a:cubicBezTo>
                      <a:pt x="184" y="2"/>
                      <a:pt x="190" y="6"/>
                      <a:pt x="199" y="7"/>
                    </a:cubicBezTo>
                    <a:cubicBezTo>
                      <a:pt x="217" y="6"/>
                      <a:pt x="224" y="4"/>
                      <a:pt x="240" y="6"/>
                    </a:cubicBezTo>
                    <a:cubicBezTo>
                      <a:pt x="237" y="29"/>
                      <a:pt x="221" y="37"/>
                      <a:pt x="199" y="40"/>
                    </a:cubicBezTo>
                    <a:cubicBezTo>
                      <a:pt x="193" y="44"/>
                      <a:pt x="192" y="44"/>
                      <a:pt x="190" y="51"/>
                    </a:cubicBezTo>
                    <a:cubicBezTo>
                      <a:pt x="192" y="60"/>
                      <a:pt x="193" y="64"/>
                      <a:pt x="185" y="69"/>
                    </a:cubicBezTo>
                    <a:cubicBezTo>
                      <a:pt x="183" y="75"/>
                      <a:pt x="182" y="78"/>
                      <a:pt x="176" y="79"/>
                    </a:cubicBezTo>
                    <a:cubicBezTo>
                      <a:pt x="173" y="80"/>
                      <a:pt x="165" y="82"/>
                      <a:pt x="168" y="81"/>
                    </a:cubicBezTo>
                    <a:cubicBezTo>
                      <a:pt x="172" y="80"/>
                      <a:pt x="177" y="79"/>
                      <a:pt x="181" y="78"/>
                    </a:cubicBezTo>
                    <a:cubicBezTo>
                      <a:pt x="188" y="73"/>
                      <a:pt x="195" y="75"/>
                      <a:pt x="204" y="74"/>
                    </a:cubicBezTo>
                    <a:cubicBezTo>
                      <a:pt x="224" y="70"/>
                      <a:pt x="243" y="79"/>
                      <a:pt x="263" y="82"/>
                    </a:cubicBezTo>
                    <a:cubicBezTo>
                      <a:pt x="268" y="85"/>
                      <a:pt x="269" y="83"/>
                      <a:pt x="270" y="90"/>
                    </a:cubicBezTo>
                    <a:cubicBezTo>
                      <a:pt x="269" y="97"/>
                      <a:pt x="272" y="104"/>
                      <a:pt x="265" y="106"/>
                    </a:cubicBezTo>
                    <a:cubicBezTo>
                      <a:pt x="260" y="114"/>
                      <a:pt x="254" y="126"/>
                      <a:pt x="248" y="132"/>
                    </a:cubicBezTo>
                    <a:cubicBezTo>
                      <a:pt x="245" y="141"/>
                      <a:pt x="243" y="146"/>
                      <a:pt x="235" y="152"/>
                    </a:cubicBezTo>
                    <a:cubicBezTo>
                      <a:pt x="233" y="157"/>
                      <a:pt x="230" y="161"/>
                      <a:pt x="227" y="165"/>
                    </a:cubicBezTo>
                    <a:cubicBezTo>
                      <a:pt x="222" y="164"/>
                      <a:pt x="217" y="163"/>
                      <a:pt x="212" y="160"/>
                    </a:cubicBezTo>
                    <a:cubicBezTo>
                      <a:pt x="209" y="161"/>
                      <a:pt x="205" y="160"/>
                      <a:pt x="202" y="162"/>
                    </a:cubicBezTo>
                    <a:cubicBezTo>
                      <a:pt x="202" y="162"/>
                      <a:pt x="208" y="165"/>
                      <a:pt x="212" y="166"/>
                    </a:cubicBezTo>
                    <a:cubicBezTo>
                      <a:pt x="217" y="168"/>
                      <a:pt x="222" y="169"/>
                      <a:pt x="226" y="172"/>
                    </a:cubicBezTo>
                    <a:cubicBezTo>
                      <a:pt x="223" y="175"/>
                      <a:pt x="221" y="177"/>
                      <a:pt x="217" y="178"/>
                    </a:cubicBezTo>
                    <a:cubicBezTo>
                      <a:pt x="212" y="185"/>
                      <a:pt x="201" y="183"/>
                      <a:pt x="194" y="184"/>
                    </a:cubicBezTo>
                    <a:cubicBezTo>
                      <a:pt x="191" y="186"/>
                      <a:pt x="188" y="187"/>
                      <a:pt x="184" y="188"/>
                    </a:cubicBezTo>
                    <a:cubicBezTo>
                      <a:pt x="180" y="195"/>
                      <a:pt x="187" y="194"/>
                      <a:pt x="193" y="196"/>
                    </a:cubicBezTo>
                    <a:cubicBezTo>
                      <a:pt x="205" y="195"/>
                      <a:pt x="206" y="189"/>
                      <a:pt x="216" y="192"/>
                    </a:cubicBezTo>
                    <a:cubicBezTo>
                      <a:pt x="219" y="194"/>
                      <a:pt x="230" y="198"/>
                      <a:pt x="233" y="200"/>
                    </a:cubicBezTo>
                    <a:cubicBezTo>
                      <a:pt x="236" y="204"/>
                      <a:pt x="238" y="209"/>
                      <a:pt x="242" y="212"/>
                    </a:cubicBezTo>
                    <a:cubicBezTo>
                      <a:pt x="243" y="216"/>
                      <a:pt x="241" y="221"/>
                      <a:pt x="245" y="224"/>
                    </a:cubicBezTo>
                    <a:cubicBezTo>
                      <a:pt x="248" y="235"/>
                      <a:pt x="243" y="233"/>
                      <a:pt x="254" y="237"/>
                    </a:cubicBezTo>
                    <a:cubicBezTo>
                      <a:pt x="253" y="242"/>
                      <a:pt x="262" y="263"/>
                      <a:pt x="260" y="268"/>
                    </a:cubicBezTo>
                    <a:cubicBezTo>
                      <a:pt x="259" y="270"/>
                      <a:pt x="258" y="274"/>
                      <a:pt x="258" y="274"/>
                    </a:cubicBezTo>
                    <a:cubicBezTo>
                      <a:pt x="259" y="296"/>
                      <a:pt x="255" y="289"/>
                      <a:pt x="266" y="296"/>
                    </a:cubicBezTo>
                    <a:cubicBezTo>
                      <a:pt x="269" y="302"/>
                      <a:pt x="268" y="299"/>
                      <a:pt x="270" y="306"/>
                    </a:cubicBezTo>
                    <a:cubicBezTo>
                      <a:pt x="271" y="308"/>
                      <a:pt x="272" y="312"/>
                      <a:pt x="272" y="312"/>
                    </a:cubicBezTo>
                    <a:cubicBezTo>
                      <a:pt x="275" y="310"/>
                      <a:pt x="289" y="311"/>
                      <a:pt x="270" y="315"/>
                    </a:cubicBezTo>
                    <a:cubicBezTo>
                      <a:pt x="272" y="316"/>
                      <a:pt x="283" y="316"/>
                      <a:pt x="287" y="319"/>
                    </a:cubicBezTo>
                    <a:cubicBezTo>
                      <a:pt x="290" y="311"/>
                      <a:pt x="278" y="330"/>
                      <a:pt x="296" y="333"/>
                    </a:cubicBezTo>
                    <a:cubicBezTo>
                      <a:pt x="300" y="339"/>
                      <a:pt x="303" y="345"/>
                      <a:pt x="305" y="352"/>
                    </a:cubicBezTo>
                    <a:cubicBezTo>
                      <a:pt x="304" y="364"/>
                      <a:pt x="301" y="372"/>
                      <a:pt x="305" y="385"/>
                    </a:cubicBezTo>
                    <a:cubicBezTo>
                      <a:pt x="298" y="387"/>
                      <a:pt x="299" y="379"/>
                      <a:pt x="294" y="376"/>
                    </a:cubicBezTo>
                    <a:cubicBezTo>
                      <a:pt x="289" y="373"/>
                      <a:pt x="281" y="374"/>
                      <a:pt x="275" y="372"/>
                    </a:cubicBezTo>
                    <a:cubicBezTo>
                      <a:pt x="275" y="372"/>
                      <a:pt x="267" y="373"/>
                      <a:pt x="269" y="376"/>
                    </a:cubicBezTo>
                    <a:cubicBezTo>
                      <a:pt x="271" y="380"/>
                      <a:pt x="284" y="386"/>
                      <a:pt x="288" y="387"/>
                    </a:cubicBezTo>
                    <a:cubicBezTo>
                      <a:pt x="291" y="389"/>
                      <a:pt x="299" y="392"/>
                      <a:pt x="299" y="392"/>
                    </a:cubicBezTo>
                    <a:cubicBezTo>
                      <a:pt x="302" y="396"/>
                      <a:pt x="306" y="398"/>
                      <a:pt x="310" y="402"/>
                    </a:cubicBezTo>
                    <a:cubicBezTo>
                      <a:pt x="312" y="409"/>
                      <a:pt x="315" y="419"/>
                      <a:pt x="308" y="424"/>
                    </a:cubicBezTo>
                    <a:cubicBezTo>
                      <a:pt x="305" y="428"/>
                      <a:pt x="302" y="429"/>
                      <a:pt x="301" y="434"/>
                    </a:cubicBezTo>
                    <a:cubicBezTo>
                      <a:pt x="301" y="438"/>
                      <a:pt x="301" y="442"/>
                      <a:pt x="302" y="445"/>
                    </a:cubicBezTo>
                    <a:cubicBezTo>
                      <a:pt x="303" y="448"/>
                      <a:pt x="311" y="444"/>
                      <a:pt x="311" y="444"/>
                    </a:cubicBezTo>
                    <a:cubicBezTo>
                      <a:pt x="314" y="440"/>
                      <a:pt x="315" y="440"/>
                      <a:pt x="320" y="439"/>
                    </a:cubicBezTo>
                    <a:cubicBezTo>
                      <a:pt x="338" y="440"/>
                      <a:pt x="332" y="431"/>
                      <a:pt x="342" y="436"/>
                    </a:cubicBezTo>
                    <a:cubicBezTo>
                      <a:pt x="345" y="438"/>
                      <a:pt x="354" y="440"/>
                      <a:pt x="354" y="440"/>
                    </a:cubicBezTo>
                    <a:cubicBezTo>
                      <a:pt x="357" y="443"/>
                      <a:pt x="360" y="450"/>
                      <a:pt x="364" y="451"/>
                    </a:cubicBezTo>
                    <a:cubicBezTo>
                      <a:pt x="366" y="453"/>
                      <a:pt x="364" y="457"/>
                      <a:pt x="365" y="459"/>
                    </a:cubicBezTo>
                    <a:cubicBezTo>
                      <a:pt x="366" y="461"/>
                      <a:pt x="367" y="465"/>
                      <a:pt x="367" y="465"/>
                    </a:cubicBezTo>
                    <a:cubicBezTo>
                      <a:pt x="368" y="475"/>
                      <a:pt x="370" y="488"/>
                      <a:pt x="361" y="494"/>
                    </a:cubicBezTo>
                    <a:cubicBezTo>
                      <a:pt x="358" y="501"/>
                      <a:pt x="354" y="505"/>
                      <a:pt x="351" y="510"/>
                    </a:cubicBezTo>
                    <a:cubicBezTo>
                      <a:pt x="347" y="512"/>
                      <a:pt x="338" y="506"/>
                      <a:pt x="336" y="508"/>
                    </a:cubicBezTo>
                    <a:cubicBezTo>
                      <a:pt x="334" y="510"/>
                      <a:pt x="343" y="520"/>
                      <a:pt x="341" y="522"/>
                    </a:cubicBezTo>
                    <a:cubicBezTo>
                      <a:pt x="340" y="525"/>
                      <a:pt x="327" y="521"/>
                      <a:pt x="324" y="522"/>
                    </a:cubicBezTo>
                    <a:cubicBezTo>
                      <a:pt x="321" y="523"/>
                      <a:pt x="327" y="527"/>
                      <a:pt x="325" y="530"/>
                    </a:cubicBezTo>
                    <a:cubicBezTo>
                      <a:pt x="323" y="533"/>
                      <a:pt x="315" y="536"/>
                      <a:pt x="311" y="538"/>
                    </a:cubicBezTo>
                    <a:cubicBezTo>
                      <a:pt x="310" y="541"/>
                      <a:pt x="304" y="544"/>
                      <a:pt x="304" y="544"/>
                    </a:cubicBezTo>
                    <a:cubicBezTo>
                      <a:pt x="307" y="552"/>
                      <a:pt x="307" y="552"/>
                      <a:pt x="316" y="553"/>
                    </a:cubicBezTo>
                    <a:cubicBezTo>
                      <a:pt x="320" y="552"/>
                      <a:pt x="324" y="549"/>
                      <a:pt x="328" y="549"/>
                    </a:cubicBezTo>
                    <a:cubicBezTo>
                      <a:pt x="329" y="549"/>
                      <a:pt x="330" y="551"/>
                      <a:pt x="331" y="552"/>
                    </a:cubicBezTo>
                    <a:cubicBezTo>
                      <a:pt x="335" y="554"/>
                      <a:pt x="340" y="554"/>
                      <a:pt x="344" y="554"/>
                    </a:cubicBezTo>
                    <a:cubicBezTo>
                      <a:pt x="343" y="561"/>
                      <a:pt x="343" y="568"/>
                      <a:pt x="338" y="573"/>
                    </a:cubicBezTo>
                    <a:cubicBezTo>
                      <a:pt x="335" y="582"/>
                      <a:pt x="325" y="583"/>
                      <a:pt x="317" y="584"/>
                    </a:cubicBezTo>
                    <a:cubicBezTo>
                      <a:pt x="311" y="586"/>
                      <a:pt x="305" y="588"/>
                      <a:pt x="300" y="591"/>
                    </a:cubicBezTo>
                    <a:cubicBezTo>
                      <a:pt x="297" y="593"/>
                      <a:pt x="290" y="596"/>
                      <a:pt x="290" y="596"/>
                    </a:cubicBezTo>
                    <a:cubicBezTo>
                      <a:pt x="288" y="596"/>
                      <a:pt x="286" y="596"/>
                      <a:pt x="284" y="595"/>
                    </a:cubicBezTo>
                    <a:cubicBezTo>
                      <a:pt x="283" y="594"/>
                      <a:pt x="284" y="593"/>
                      <a:pt x="283" y="592"/>
                    </a:cubicBezTo>
                    <a:cubicBezTo>
                      <a:pt x="281" y="591"/>
                      <a:pt x="277" y="590"/>
                      <a:pt x="277" y="590"/>
                    </a:cubicBezTo>
                    <a:cubicBezTo>
                      <a:pt x="272" y="589"/>
                      <a:pt x="256" y="586"/>
                      <a:pt x="251" y="585"/>
                    </a:cubicBezTo>
                    <a:cubicBezTo>
                      <a:pt x="249" y="584"/>
                      <a:pt x="245" y="583"/>
                      <a:pt x="245" y="583"/>
                    </a:cubicBezTo>
                    <a:cubicBezTo>
                      <a:pt x="235" y="585"/>
                      <a:pt x="228" y="580"/>
                      <a:pt x="218" y="579"/>
                    </a:cubicBezTo>
                    <a:cubicBezTo>
                      <a:pt x="219" y="579"/>
                      <a:pt x="220" y="577"/>
                      <a:pt x="221" y="578"/>
                    </a:cubicBezTo>
                    <a:cubicBezTo>
                      <a:pt x="222" y="579"/>
                      <a:pt x="221" y="582"/>
                      <a:pt x="220" y="582"/>
                    </a:cubicBezTo>
                    <a:cubicBezTo>
                      <a:pt x="215" y="582"/>
                      <a:pt x="206" y="579"/>
                      <a:pt x="206" y="579"/>
                    </a:cubicBezTo>
                    <a:cubicBezTo>
                      <a:pt x="201" y="581"/>
                      <a:pt x="201" y="585"/>
                      <a:pt x="198" y="580"/>
                    </a:cubicBezTo>
                    <a:cubicBezTo>
                      <a:pt x="196" y="580"/>
                      <a:pt x="195" y="580"/>
                      <a:pt x="193" y="580"/>
                    </a:cubicBezTo>
                    <a:cubicBezTo>
                      <a:pt x="195" y="579"/>
                      <a:pt x="189" y="583"/>
                      <a:pt x="187" y="583"/>
                    </a:cubicBezTo>
                    <a:cubicBezTo>
                      <a:pt x="183" y="584"/>
                      <a:pt x="178" y="584"/>
                      <a:pt x="174" y="584"/>
                    </a:cubicBezTo>
                    <a:cubicBezTo>
                      <a:pt x="171" y="595"/>
                      <a:pt x="155" y="577"/>
                      <a:pt x="148" y="574"/>
                    </a:cubicBezTo>
                    <a:cubicBezTo>
                      <a:pt x="145" y="573"/>
                      <a:pt x="140" y="572"/>
                      <a:pt x="140" y="572"/>
                    </a:cubicBezTo>
                    <a:cubicBezTo>
                      <a:pt x="133" y="573"/>
                      <a:pt x="126" y="571"/>
                      <a:pt x="120" y="574"/>
                    </a:cubicBezTo>
                    <a:cubicBezTo>
                      <a:pt x="118" y="575"/>
                      <a:pt x="116" y="580"/>
                      <a:pt x="116" y="580"/>
                    </a:cubicBezTo>
                    <a:cubicBezTo>
                      <a:pt x="114" y="589"/>
                      <a:pt x="117" y="579"/>
                      <a:pt x="106" y="586"/>
                    </a:cubicBezTo>
                    <a:cubicBezTo>
                      <a:pt x="103" y="589"/>
                      <a:pt x="99" y="595"/>
                      <a:pt x="97" y="596"/>
                    </a:cubicBezTo>
                    <a:cubicBezTo>
                      <a:pt x="104" y="591"/>
                      <a:pt x="100" y="591"/>
                      <a:pt x="92" y="590"/>
                    </a:cubicBezTo>
                    <a:cubicBezTo>
                      <a:pt x="83" y="587"/>
                      <a:pt x="75" y="586"/>
                      <a:pt x="66" y="585"/>
                    </a:cubicBezTo>
                    <a:cubicBezTo>
                      <a:pt x="59" y="586"/>
                      <a:pt x="56" y="588"/>
                      <a:pt x="49" y="590"/>
                    </a:cubicBezTo>
                    <a:cubicBezTo>
                      <a:pt x="47" y="591"/>
                      <a:pt x="43" y="592"/>
                      <a:pt x="43" y="592"/>
                    </a:cubicBezTo>
                    <a:cubicBezTo>
                      <a:pt x="39" y="596"/>
                      <a:pt x="37" y="598"/>
                      <a:pt x="34" y="603"/>
                    </a:cubicBezTo>
                    <a:cubicBezTo>
                      <a:pt x="19" y="601"/>
                      <a:pt x="22" y="595"/>
                      <a:pt x="8" y="594"/>
                    </a:cubicBezTo>
                    <a:cubicBezTo>
                      <a:pt x="2" y="596"/>
                      <a:pt x="3" y="600"/>
                      <a:pt x="0" y="592"/>
                    </a:cubicBezTo>
                    <a:cubicBezTo>
                      <a:pt x="4" y="590"/>
                      <a:pt x="7" y="589"/>
                      <a:pt x="12" y="588"/>
                    </a:cubicBezTo>
                    <a:cubicBezTo>
                      <a:pt x="24" y="582"/>
                      <a:pt x="18" y="584"/>
                      <a:pt x="40" y="583"/>
                    </a:cubicBezTo>
                    <a:cubicBezTo>
                      <a:pt x="45" y="564"/>
                      <a:pt x="44" y="571"/>
                      <a:pt x="58" y="562"/>
                    </a:cubicBezTo>
                    <a:cubicBezTo>
                      <a:pt x="63" y="555"/>
                      <a:pt x="60" y="557"/>
                      <a:pt x="65" y="554"/>
                    </a:cubicBezTo>
                    <a:cubicBezTo>
                      <a:pt x="68" y="548"/>
                      <a:pt x="76" y="545"/>
                      <a:pt x="82" y="543"/>
                    </a:cubicBezTo>
                    <a:cubicBezTo>
                      <a:pt x="85" y="540"/>
                      <a:pt x="86" y="537"/>
                      <a:pt x="89" y="534"/>
                    </a:cubicBezTo>
                    <a:cubicBezTo>
                      <a:pt x="91" y="525"/>
                      <a:pt x="107" y="530"/>
                      <a:pt x="114" y="530"/>
                    </a:cubicBezTo>
                    <a:cubicBezTo>
                      <a:pt x="116" y="531"/>
                      <a:pt x="118" y="534"/>
                      <a:pt x="120" y="535"/>
                    </a:cubicBezTo>
                    <a:cubicBezTo>
                      <a:pt x="122" y="536"/>
                      <a:pt x="128" y="537"/>
                      <a:pt x="128" y="537"/>
                    </a:cubicBezTo>
                    <a:cubicBezTo>
                      <a:pt x="155" y="535"/>
                      <a:pt x="148" y="523"/>
                      <a:pt x="162" y="518"/>
                    </a:cubicBezTo>
                    <a:cubicBezTo>
                      <a:pt x="165" y="514"/>
                      <a:pt x="168" y="511"/>
                      <a:pt x="172" y="508"/>
                    </a:cubicBezTo>
                    <a:cubicBezTo>
                      <a:pt x="174" y="507"/>
                      <a:pt x="178" y="504"/>
                      <a:pt x="178" y="504"/>
                    </a:cubicBezTo>
                    <a:cubicBezTo>
                      <a:pt x="179" y="503"/>
                      <a:pt x="181" y="502"/>
                      <a:pt x="180" y="501"/>
                    </a:cubicBezTo>
                    <a:cubicBezTo>
                      <a:pt x="175" y="498"/>
                      <a:pt x="164" y="507"/>
                      <a:pt x="164" y="507"/>
                    </a:cubicBezTo>
                    <a:cubicBezTo>
                      <a:pt x="159" y="512"/>
                      <a:pt x="157" y="511"/>
                      <a:pt x="149" y="512"/>
                    </a:cubicBezTo>
                    <a:cubicBezTo>
                      <a:pt x="146" y="513"/>
                      <a:pt x="140" y="516"/>
                      <a:pt x="140" y="516"/>
                    </a:cubicBezTo>
                    <a:cubicBezTo>
                      <a:pt x="136" y="518"/>
                      <a:pt x="127" y="519"/>
                      <a:pt x="127" y="519"/>
                    </a:cubicBezTo>
                    <a:cubicBezTo>
                      <a:pt x="121" y="517"/>
                      <a:pt x="122" y="512"/>
                      <a:pt x="118" y="508"/>
                    </a:cubicBezTo>
                    <a:cubicBezTo>
                      <a:pt x="108" y="498"/>
                      <a:pt x="97" y="502"/>
                      <a:pt x="91" y="501"/>
                    </a:cubicBezTo>
                    <a:cubicBezTo>
                      <a:pt x="86" y="498"/>
                      <a:pt x="95" y="490"/>
                      <a:pt x="90" y="487"/>
                    </a:cubicBezTo>
                    <a:cubicBezTo>
                      <a:pt x="86" y="484"/>
                      <a:pt x="75" y="483"/>
                      <a:pt x="70" y="484"/>
                    </a:cubicBezTo>
                    <a:cubicBezTo>
                      <a:pt x="63" y="489"/>
                      <a:pt x="60" y="491"/>
                      <a:pt x="58" y="482"/>
                    </a:cubicBezTo>
                    <a:cubicBezTo>
                      <a:pt x="52" y="458"/>
                      <a:pt x="55" y="464"/>
                      <a:pt x="88" y="460"/>
                    </a:cubicBezTo>
                    <a:cubicBezTo>
                      <a:pt x="94" y="458"/>
                      <a:pt x="96" y="449"/>
                      <a:pt x="101" y="448"/>
                    </a:cubicBezTo>
                    <a:cubicBezTo>
                      <a:pt x="105" y="447"/>
                      <a:pt x="112" y="445"/>
                      <a:pt x="112" y="445"/>
                    </a:cubicBezTo>
                    <a:cubicBezTo>
                      <a:pt x="115" y="441"/>
                      <a:pt x="115" y="436"/>
                      <a:pt x="118" y="432"/>
                    </a:cubicBezTo>
                    <a:cubicBezTo>
                      <a:pt x="120" y="423"/>
                      <a:pt x="121" y="417"/>
                      <a:pt x="118" y="406"/>
                    </a:cubicBezTo>
                    <a:cubicBezTo>
                      <a:pt x="117" y="404"/>
                      <a:pt x="112" y="404"/>
                      <a:pt x="112" y="404"/>
                    </a:cubicBezTo>
                    <a:cubicBezTo>
                      <a:pt x="105" y="406"/>
                      <a:pt x="99" y="409"/>
                      <a:pt x="92" y="410"/>
                    </a:cubicBezTo>
                    <a:cubicBezTo>
                      <a:pt x="91" y="405"/>
                      <a:pt x="90" y="404"/>
                      <a:pt x="95" y="402"/>
                    </a:cubicBezTo>
                    <a:cubicBezTo>
                      <a:pt x="99" y="398"/>
                      <a:pt x="115" y="392"/>
                      <a:pt x="122" y="390"/>
                    </a:cubicBezTo>
                    <a:cubicBezTo>
                      <a:pt x="129" y="385"/>
                      <a:pt x="126" y="387"/>
                      <a:pt x="131" y="385"/>
                    </a:cubicBezTo>
                    <a:cubicBezTo>
                      <a:pt x="144" y="385"/>
                      <a:pt x="148" y="385"/>
                      <a:pt x="161" y="381"/>
                    </a:cubicBezTo>
                    <a:cubicBezTo>
                      <a:pt x="167" y="380"/>
                      <a:pt x="172" y="390"/>
                      <a:pt x="174" y="388"/>
                    </a:cubicBezTo>
                    <a:cubicBezTo>
                      <a:pt x="176" y="386"/>
                      <a:pt x="173" y="375"/>
                      <a:pt x="174" y="369"/>
                    </a:cubicBezTo>
                    <a:cubicBezTo>
                      <a:pt x="175" y="363"/>
                      <a:pt x="176" y="357"/>
                      <a:pt x="179" y="352"/>
                    </a:cubicBezTo>
                    <a:cubicBezTo>
                      <a:pt x="180" y="345"/>
                      <a:pt x="193" y="336"/>
                      <a:pt x="193" y="336"/>
                    </a:cubicBezTo>
                    <a:cubicBezTo>
                      <a:pt x="194" y="332"/>
                      <a:pt x="196" y="329"/>
                      <a:pt x="197" y="325"/>
                    </a:cubicBezTo>
                    <a:cubicBezTo>
                      <a:pt x="195" y="307"/>
                      <a:pt x="189" y="323"/>
                      <a:pt x="170" y="322"/>
                    </a:cubicBezTo>
                    <a:cubicBezTo>
                      <a:pt x="164" y="318"/>
                      <a:pt x="160" y="308"/>
                      <a:pt x="158" y="301"/>
                    </a:cubicBezTo>
                    <a:cubicBezTo>
                      <a:pt x="162" y="290"/>
                      <a:pt x="167" y="280"/>
                      <a:pt x="179" y="276"/>
                    </a:cubicBezTo>
                    <a:cubicBezTo>
                      <a:pt x="187" y="268"/>
                      <a:pt x="186" y="270"/>
                      <a:pt x="170" y="266"/>
                    </a:cubicBezTo>
                    <a:cubicBezTo>
                      <a:pt x="157" y="267"/>
                      <a:pt x="147" y="271"/>
                      <a:pt x="134" y="272"/>
                    </a:cubicBezTo>
                    <a:cubicBezTo>
                      <a:pt x="128" y="272"/>
                      <a:pt x="120" y="274"/>
                      <a:pt x="115" y="270"/>
                    </a:cubicBezTo>
                    <a:cubicBezTo>
                      <a:pt x="109" y="266"/>
                      <a:pt x="108" y="258"/>
                      <a:pt x="103" y="254"/>
                    </a:cubicBezTo>
                    <a:cubicBezTo>
                      <a:pt x="107" y="246"/>
                      <a:pt x="113" y="243"/>
                      <a:pt x="122" y="240"/>
                    </a:cubicBezTo>
                    <a:cubicBezTo>
                      <a:pt x="125" y="236"/>
                      <a:pt x="126" y="233"/>
                      <a:pt x="130" y="230"/>
                    </a:cubicBezTo>
                    <a:cubicBezTo>
                      <a:pt x="134" y="222"/>
                      <a:pt x="133" y="202"/>
                      <a:pt x="127" y="194"/>
                    </a:cubicBezTo>
                    <a:cubicBezTo>
                      <a:pt x="124" y="190"/>
                      <a:pt x="124" y="201"/>
                      <a:pt x="120" y="198"/>
                    </a:cubicBezTo>
                    <a:cubicBezTo>
                      <a:pt x="118" y="197"/>
                      <a:pt x="124" y="177"/>
                      <a:pt x="124" y="177"/>
                    </a:cubicBezTo>
                    <a:cubicBezTo>
                      <a:pt x="123" y="173"/>
                      <a:pt x="85" y="223"/>
                      <a:pt x="85" y="223"/>
                    </a:cubicBezTo>
                    <a:cubicBezTo>
                      <a:pt x="87" y="212"/>
                      <a:pt x="101" y="156"/>
                      <a:pt x="110" y="153"/>
                    </a:cubicBezTo>
                    <a:cubicBezTo>
                      <a:pt x="117" y="146"/>
                      <a:pt x="115" y="152"/>
                      <a:pt x="118" y="145"/>
                    </a:cubicBezTo>
                    <a:cubicBezTo>
                      <a:pt x="119" y="138"/>
                      <a:pt x="125" y="137"/>
                      <a:pt x="127" y="130"/>
                    </a:cubicBezTo>
                    <a:cubicBezTo>
                      <a:pt x="122" y="121"/>
                      <a:pt x="106" y="142"/>
                      <a:pt x="97" y="145"/>
                    </a:cubicBezTo>
                    <a:cubicBezTo>
                      <a:pt x="94" y="148"/>
                      <a:pt x="81" y="142"/>
                      <a:pt x="78" y="146"/>
                    </a:cubicBezTo>
                    <a:cubicBezTo>
                      <a:pt x="73" y="139"/>
                      <a:pt x="76" y="129"/>
                      <a:pt x="84" y="123"/>
                    </a:cubicBezTo>
                    <a:cubicBezTo>
                      <a:pt x="88" y="120"/>
                      <a:pt x="92" y="118"/>
                      <a:pt x="97" y="116"/>
                    </a:cubicBezTo>
                    <a:cubicBezTo>
                      <a:pt x="98" y="116"/>
                      <a:pt x="100" y="115"/>
                      <a:pt x="100" y="115"/>
                    </a:cubicBezTo>
                    <a:cubicBezTo>
                      <a:pt x="103" y="110"/>
                      <a:pt x="110" y="109"/>
                      <a:pt x="115" y="105"/>
                    </a:cubicBezTo>
                    <a:cubicBezTo>
                      <a:pt x="118" y="102"/>
                      <a:pt x="124" y="97"/>
                      <a:pt x="124" y="97"/>
                    </a:cubicBezTo>
                    <a:cubicBezTo>
                      <a:pt x="127" y="87"/>
                      <a:pt x="129" y="77"/>
                      <a:pt x="122" y="67"/>
                    </a:cubicBezTo>
                    <a:cubicBezTo>
                      <a:pt x="120" y="60"/>
                      <a:pt x="124" y="62"/>
                      <a:pt x="127" y="56"/>
                    </a:cubicBezTo>
                    <a:cubicBezTo>
                      <a:pt x="136" y="38"/>
                      <a:pt x="125" y="46"/>
                      <a:pt x="152" y="36"/>
                    </a:cubicBezTo>
                    <a:cubicBezTo>
                      <a:pt x="154" y="24"/>
                      <a:pt x="155" y="21"/>
                      <a:pt x="160" y="12"/>
                    </a:cubicBezTo>
                    <a:cubicBezTo>
                      <a:pt x="163" y="8"/>
                      <a:pt x="170" y="0"/>
                      <a:pt x="170" y="0"/>
                    </a:cubicBezTo>
                    <a:cubicBezTo>
                      <a:pt x="176" y="2"/>
                      <a:pt x="180" y="2"/>
                      <a:pt x="185" y="7"/>
                    </a:cubicBezTo>
                    <a:lnTo>
                      <a:pt x="174" y="3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05" name="Freeform 124"/>
              <p:cNvSpPr>
                <a:spLocks noChangeAspect="1"/>
              </p:cNvSpPr>
              <p:nvPr/>
            </p:nvSpPr>
            <p:spPr bwMode="auto">
              <a:xfrm>
                <a:off x="164" y="4091"/>
                <a:ext cx="84" cy="108"/>
              </a:xfrm>
              <a:custGeom>
                <a:avLst/>
                <a:gdLst>
                  <a:gd name="T0" fmla="*/ 2147483647 w 21"/>
                  <a:gd name="T1" fmla="*/ 2147483647 h 27"/>
                  <a:gd name="T2" fmla="*/ 2147483647 w 21"/>
                  <a:gd name="T3" fmla="*/ 2147483647 h 27"/>
                  <a:gd name="T4" fmla="*/ 2147483647 w 21"/>
                  <a:gd name="T5" fmla="*/ 0 h 27"/>
                  <a:gd name="T6" fmla="*/ 2147483647 w 21"/>
                  <a:gd name="T7" fmla="*/ 2147483647 h 27"/>
                  <a:gd name="T8" fmla="*/ 2147483647 w 21"/>
                  <a:gd name="T9" fmla="*/ 2147483647 h 2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1"/>
                  <a:gd name="T16" fmla="*/ 0 h 27"/>
                  <a:gd name="T17" fmla="*/ 21 w 21"/>
                  <a:gd name="T18" fmla="*/ 27 h 2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1" h="27">
                    <a:moveTo>
                      <a:pt x="6" y="7"/>
                    </a:moveTo>
                    <a:cubicBezTo>
                      <a:pt x="4" y="18"/>
                      <a:pt x="0" y="21"/>
                      <a:pt x="9" y="27"/>
                    </a:cubicBezTo>
                    <a:cubicBezTo>
                      <a:pt x="21" y="23"/>
                      <a:pt x="18" y="12"/>
                      <a:pt x="14" y="0"/>
                    </a:cubicBezTo>
                    <a:cubicBezTo>
                      <a:pt x="12" y="0"/>
                      <a:pt x="10" y="0"/>
                      <a:pt x="9" y="1"/>
                    </a:cubicBezTo>
                    <a:cubicBezTo>
                      <a:pt x="7" y="2"/>
                      <a:pt x="6" y="7"/>
                      <a:pt x="6" y="7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06" name="Freeform 125"/>
              <p:cNvSpPr>
                <a:spLocks noChangeAspect="1"/>
              </p:cNvSpPr>
              <p:nvPr/>
            </p:nvSpPr>
            <p:spPr bwMode="auto">
              <a:xfrm>
                <a:off x="587" y="5655"/>
                <a:ext cx="96" cy="52"/>
              </a:xfrm>
              <a:custGeom>
                <a:avLst/>
                <a:gdLst>
                  <a:gd name="T0" fmla="*/ 0 w 24"/>
                  <a:gd name="T1" fmla="*/ 0 h 13"/>
                  <a:gd name="T2" fmla="*/ 2147483647 w 24"/>
                  <a:gd name="T3" fmla="*/ 2147483647 h 13"/>
                  <a:gd name="T4" fmla="*/ 2147483647 w 24"/>
                  <a:gd name="T5" fmla="*/ 2147483647 h 13"/>
                  <a:gd name="T6" fmla="*/ 0 w 24"/>
                  <a:gd name="T7" fmla="*/ 0 h 13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4"/>
                  <a:gd name="T13" fmla="*/ 0 h 13"/>
                  <a:gd name="T14" fmla="*/ 24 w 24"/>
                  <a:gd name="T15" fmla="*/ 13 h 13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4" h="13">
                    <a:moveTo>
                      <a:pt x="0" y="0"/>
                    </a:moveTo>
                    <a:cubicBezTo>
                      <a:pt x="7" y="4"/>
                      <a:pt x="24" y="0"/>
                      <a:pt x="12" y="8"/>
                    </a:cubicBezTo>
                    <a:cubicBezTo>
                      <a:pt x="9" y="12"/>
                      <a:pt x="8" y="13"/>
                      <a:pt x="3" y="11"/>
                    </a:cubicBezTo>
                    <a:cubicBezTo>
                      <a:pt x="2" y="3"/>
                      <a:pt x="3" y="6"/>
                      <a:pt x="0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07" name="Freeform 126"/>
              <p:cNvSpPr>
                <a:spLocks noChangeAspect="1"/>
              </p:cNvSpPr>
              <p:nvPr/>
            </p:nvSpPr>
            <p:spPr bwMode="auto">
              <a:xfrm>
                <a:off x="-347" y="4175"/>
                <a:ext cx="451" cy="376"/>
              </a:xfrm>
              <a:custGeom>
                <a:avLst/>
                <a:gdLst>
                  <a:gd name="T0" fmla="*/ 303 w 451"/>
                  <a:gd name="T1" fmla="*/ 376 h 376"/>
                  <a:gd name="T2" fmla="*/ 399 w 451"/>
                  <a:gd name="T3" fmla="*/ 352 h 376"/>
                  <a:gd name="T4" fmla="*/ 439 w 451"/>
                  <a:gd name="T5" fmla="*/ 340 h 376"/>
                  <a:gd name="T6" fmla="*/ 451 w 451"/>
                  <a:gd name="T7" fmla="*/ 280 h 376"/>
                  <a:gd name="T8" fmla="*/ 395 w 451"/>
                  <a:gd name="T9" fmla="*/ 216 h 376"/>
                  <a:gd name="T10" fmla="*/ 407 w 451"/>
                  <a:gd name="T11" fmla="*/ 196 h 376"/>
                  <a:gd name="T12" fmla="*/ 407 w 451"/>
                  <a:gd name="T13" fmla="*/ 96 h 376"/>
                  <a:gd name="T14" fmla="*/ 259 w 451"/>
                  <a:gd name="T15" fmla="*/ 24 h 376"/>
                  <a:gd name="T16" fmla="*/ 199 w 451"/>
                  <a:gd name="T17" fmla="*/ 48 h 376"/>
                  <a:gd name="T18" fmla="*/ 174 w 451"/>
                  <a:gd name="T19" fmla="*/ 54 h 376"/>
                  <a:gd name="T20" fmla="*/ 152 w 451"/>
                  <a:gd name="T21" fmla="*/ 90 h 376"/>
                  <a:gd name="T22" fmla="*/ 83 w 451"/>
                  <a:gd name="T23" fmla="*/ 124 h 376"/>
                  <a:gd name="T24" fmla="*/ 60 w 451"/>
                  <a:gd name="T25" fmla="*/ 165 h 376"/>
                  <a:gd name="T26" fmla="*/ 12 w 451"/>
                  <a:gd name="T27" fmla="*/ 178 h 376"/>
                  <a:gd name="T28" fmla="*/ 24 w 451"/>
                  <a:gd name="T29" fmla="*/ 219 h 376"/>
                  <a:gd name="T30" fmla="*/ 83 w 451"/>
                  <a:gd name="T31" fmla="*/ 268 h 376"/>
                  <a:gd name="T32" fmla="*/ 105 w 451"/>
                  <a:gd name="T33" fmla="*/ 298 h 376"/>
                  <a:gd name="T34" fmla="*/ 144 w 451"/>
                  <a:gd name="T35" fmla="*/ 298 h 376"/>
                  <a:gd name="T36" fmla="*/ 179 w 451"/>
                  <a:gd name="T37" fmla="*/ 248 h 376"/>
                  <a:gd name="T38" fmla="*/ 228 w 451"/>
                  <a:gd name="T39" fmla="*/ 322 h 376"/>
                  <a:gd name="T40" fmla="*/ 258 w 451"/>
                  <a:gd name="T41" fmla="*/ 351 h 376"/>
                  <a:gd name="T42" fmla="*/ 303 w 451"/>
                  <a:gd name="T43" fmla="*/ 376 h 37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451"/>
                  <a:gd name="T67" fmla="*/ 0 h 376"/>
                  <a:gd name="T68" fmla="*/ 451 w 451"/>
                  <a:gd name="T69" fmla="*/ 376 h 37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451" h="376">
                    <a:moveTo>
                      <a:pt x="303" y="376"/>
                    </a:moveTo>
                    <a:cubicBezTo>
                      <a:pt x="335" y="368"/>
                      <a:pt x="367" y="360"/>
                      <a:pt x="399" y="352"/>
                    </a:cubicBezTo>
                    <a:cubicBezTo>
                      <a:pt x="411" y="348"/>
                      <a:pt x="439" y="340"/>
                      <a:pt x="439" y="340"/>
                    </a:cubicBezTo>
                    <a:cubicBezTo>
                      <a:pt x="443" y="320"/>
                      <a:pt x="447" y="304"/>
                      <a:pt x="451" y="280"/>
                    </a:cubicBezTo>
                    <a:cubicBezTo>
                      <a:pt x="447" y="232"/>
                      <a:pt x="443" y="224"/>
                      <a:pt x="395" y="216"/>
                    </a:cubicBezTo>
                    <a:cubicBezTo>
                      <a:pt x="375" y="204"/>
                      <a:pt x="391" y="204"/>
                      <a:pt x="407" y="196"/>
                    </a:cubicBezTo>
                    <a:cubicBezTo>
                      <a:pt x="431" y="164"/>
                      <a:pt x="427" y="132"/>
                      <a:pt x="407" y="96"/>
                    </a:cubicBezTo>
                    <a:cubicBezTo>
                      <a:pt x="391" y="0"/>
                      <a:pt x="351" y="32"/>
                      <a:pt x="259" y="24"/>
                    </a:cubicBezTo>
                    <a:cubicBezTo>
                      <a:pt x="239" y="32"/>
                      <a:pt x="219" y="36"/>
                      <a:pt x="199" y="48"/>
                    </a:cubicBezTo>
                    <a:cubicBezTo>
                      <a:pt x="186" y="51"/>
                      <a:pt x="182" y="47"/>
                      <a:pt x="174" y="54"/>
                    </a:cubicBezTo>
                    <a:cubicBezTo>
                      <a:pt x="156" y="64"/>
                      <a:pt x="164" y="78"/>
                      <a:pt x="152" y="90"/>
                    </a:cubicBezTo>
                    <a:cubicBezTo>
                      <a:pt x="140" y="117"/>
                      <a:pt x="116" y="124"/>
                      <a:pt x="83" y="124"/>
                    </a:cubicBezTo>
                    <a:cubicBezTo>
                      <a:pt x="79" y="140"/>
                      <a:pt x="72" y="156"/>
                      <a:pt x="60" y="165"/>
                    </a:cubicBezTo>
                    <a:cubicBezTo>
                      <a:pt x="48" y="161"/>
                      <a:pt x="30" y="171"/>
                      <a:pt x="12" y="178"/>
                    </a:cubicBezTo>
                    <a:cubicBezTo>
                      <a:pt x="0" y="178"/>
                      <a:pt x="20" y="207"/>
                      <a:pt x="24" y="219"/>
                    </a:cubicBezTo>
                    <a:cubicBezTo>
                      <a:pt x="38" y="232"/>
                      <a:pt x="59" y="244"/>
                      <a:pt x="83" y="268"/>
                    </a:cubicBezTo>
                    <a:cubicBezTo>
                      <a:pt x="99" y="284"/>
                      <a:pt x="89" y="282"/>
                      <a:pt x="105" y="298"/>
                    </a:cubicBezTo>
                    <a:cubicBezTo>
                      <a:pt x="122" y="300"/>
                      <a:pt x="126" y="303"/>
                      <a:pt x="144" y="298"/>
                    </a:cubicBezTo>
                    <a:cubicBezTo>
                      <a:pt x="148" y="278"/>
                      <a:pt x="159" y="256"/>
                      <a:pt x="179" y="248"/>
                    </a:cubicBezTo>
                    <a:cubicBezTo>
                      <a:pt x="215" y="256"/>
                      <a:pt x="191" y="300"/>
                      <a:pt x="228" y="322"/>
                    </a:cubicBezTo>
                    <a:cubicBezTo>
                      <a:pt x="242" y="338"/>
                      <a:pt x="246" y="342"/>
                      <a:pt x="258" y="351"/>
                    </a:cubicBezTo>
                    <a:cubicBezTo>
                      <a:pt x="270" y="360"/>
                      <a:pt x="291" y="351"/>
                      <a:pt x="303" y="376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</p:grpSp>
        <p:sp>
          <p:nvSpPr>
            <p:cNvPr id="296" name="Freeform 127"/>
            <p:cNvSpPr>
              <a:spLocks noChangeAspect="1"/>
            </p:cNvSpPr>
            <p:nvPr/>
          </p:nvSpPr>
          <p:spPr bwMode="auto">
            <a:xfrm>
              <a:off x="1415" y="3425"/>
              <a:ext cx="230" cy="380"/>
            </a:xfrm>
            <a:custGeom>
              <a:avLst/>
              <a:gdLst>
                <a:gd name="T0" fmla="*/ 0 w 913"/>
                <a:gd name="T1" fmla="*/ 0 h 1504"/>
                <a:gd name="T2" fmla="*/ 0 w 913"/>
                <a:gd name="T3" fmla="*/ 0 h 1504"/>
                <a:gd name="T4" fmla="*/ 0 w 913"/>
                <a:gd name="T5" fmla="*/ 0 h 1504"/>
                <a:gd name="T6" fmla="*/ 0 w 913"/>
                <a:gd name="T7" fmla="*/ 0 h 1504"/>
                <a:gd name="T8" fmla="*/ 0 w 913"/>
                <a:gd name="T9" fmla="*/ 0 h 1504"/>
                <a:gd name="T10" fmla="*/ 0 w 913"/>
                <a:gd name="T11" fmla="*/ 0 h 1504"/>
                <a:gd name="T12" fmla="*/ 0 w 913"/>
                <a:gd name="T13" fmla="*/ 0 h 1504"/>
                <a:gd name="T14" fmla="*/ 0 w 913"/>
                <a:gd name="T15" fmla="*/ 0 h 1504"/>
                <a:gd name="T16" fmla="*/ 0 w 913"/>
                <a:gd name="T17" fmla="*/ 0 h 1504"/>
                <a:gd name="T18" fmla="*/ 0 w 913"/>
                <a:gd name="T19" fmla="*/ 0 h 1504"/>
                <a:gd name="T20" fmla="*/ 0 w 913"/>
                <a:gd name="T21" fmla="*/ 0 h 1504"/>
                <a:gd name="T22" fmla="*/ 0 w 913"/>
                <a:gd name="T23" fmla="*/ 0 h 1504"/>
                <a:gd name="T24" fmla="*/ 0 w 913"/>
                <a:gd name="T25" fmla="*/ 0 h 1504"/>
                <a:gd name="T26" fmla="*/ 0 w 913"/>
                <a:gd name="T27" fmla="*/ 0 h 1504"/>
                <a:gd name="T28" fmla="*/ 0 w 913"/>
                <a:gd name="T29" fmla="*/ 0 h 1504"/>
                <a:gd name="T30" fmla="*/ 0 w 913"/>
                <a:gd name="T31" fmla="*/ 0 h 1504"/>
                <a:gd name="T32" fmla="*/ 0 w 913"/>
                <a:gd name="T33" fmla="*/ 0 h 1504"/>
                <a:gd name="T34" fmla="*/ 0 w 913"/>
                <a:gd name="T35" fmla="*/ 0 h 1504"/>
                <a:gd name="T36" fmla="*/ 0 w 913"/>
                <a:gd name="T37" fmla="*/ 0 h 1504"/>
                <a:gd name="T38" fmla="*/ 0 w 913"/>
                <a:gd name="T39" fmla="*/ 0 h 1504"/>
                <a:gd name="T40" fmla="*/ 0 w 913"/>
                <a:gd name="T41" fmla="*/ 0 h 1504"/>
                <a:gd name="T42" fmla="*/ 0 w 913"/>
                <a:gd name="T43" fmla="*/ 0 h 1504"/>
                <a:gd name="T44" fmla="*/ 0 w 913"/>
                <a:gd name="T45" fmla="*/ 0 h 1504"/>
                <a:gd name="T46" fmla="*/ 0 w 913"/>
                <a:gd name="T47" fmla="*/ 0 h 1504"/>
                <a:gd name="T48" fmla="*/ 0 w 913"/>
                <a:gd name="T49" fmla="*/ 0 h 1504"/>
                <a:gd name="T50" fmla="*/ 0 w 913"/>
                <a:gd name="T51" fmla="*/ 0 h 1504"/>
                <a:gd name="T52" fmla="*/ 0 w 913"/>
                <a:gd name="T53" fmla="*/ 0 h 1504"/>
                <a:gd name="T54" fmla="*/ 0 w 913"/>
                <a:gd name="T55" fmla="*/ 0 h 1504"/>
                <a:gd name="T56" fmla="*/ 0 w 913"/>
                <a:gd name="T57" fmla="*/ 0 h 1504"/>
                <a:gd name="T58" fmla="*/ 0 w 913"/>
                <a:gd name="T59" fmla="*/ 0 h 1504"/>
                <a:gd name="T60" fmla="*/ 0 w 913"/>
                <a:gd name="T61" fmla="*/ 0 h 1504"/>
                <a:gd name="T62" fmla="*/ 0 w 913"/>
                <a:gd name="T63" fmla="*/ 0 h 1504"/>
                <a:gd name="T64" fmla="*/ 0 w 913"/>
                <a:gd name="T65" fmla="*/ 0 h 1504"/>
                <a:gd name="T66" fmla="*/ 0 w 913"/>
                <a:gd name="T67" fmla="*/ 0 h 1504"/>
                <a:gd name="T68" fmla="*/ 0 w 913"/>
                <a:gd name="T69" fmla="*/ 0 h 1504"/>
                <a:gd name="T70" fmla="*/ 0 w 913"/>
                <a:gd name="T71" fmla="*/ 0 h 1504"/>
                <a:gd name="T72" fmla="*/ 0 w 913"/>
                <a:gd name="T73" fmla="*/ 0 h 1504"/>
                <a:gd name="T74" fmla="*/ 0 w 913"/>
                <a:gd name="T75" fmla="*/ 0 h 1504"/>
                <a:gd name="T76" fmla="*/ 0 w 913"/>
                <a:gd name="T77" fmla="*/ 0 h 1504"/>
                <a:gd name="T78" fmla="*/ 0 w 913"/>
                <a:gd name="T79" fmla="*/ 0 h 1504"/>
                <a:gd name="T80" fmla="*/ 0 w 913"/>
                <a:gd name="T81" fmla="*/ 0 h 1504"/>
                <a:gd name="T82" fmla="*/ 0 w 913"/>
                <a:gd name="T83" fmla="*/ 0 h 1504"/>
                <a:gd name="T84" fmla="*/ 0 w 913"/>
                <a:gd name="T85" fmla="*/ 0 h 1504"/>
                <a:gd name="T86" fmla="*/ 0 w 913"/>
                <a:gd name="T87" fmla="*/ 0 h 1504"/>
                <a:gd name="T88" fmla="*/ 0 w 913"/>
                <a:gd name="T89" fmla="*/ 0 h 1504"/>
                <a:gd name="T90" fmla="*/ 0 w 913"/>
                <a:gd name="T91" fmla="*/ 0 h 1504"/>
                <a:gd name="T92" fmla="*/ 0 w 913"/>
                <a:gd name="T93" fmla="*/ 0 h 1504"/>
                <a:gd name="T94" fmla="*/ 0 w 913"/>
                <a:gd name="T95" fmla="*/ 0 h 1504"/>
                <a:gd name="T96" fmla="*/ 0 w 913"/>
                <a:gd name="T97" fmla="*/ 0 h 1504"/>
                <a:gd name="T98" fmla="*/ 0 w 913"/>
                <a:gd name="T99" fmla="*/ 0 h 1504"/>
                <a:gd name="T100" fmla="*/ 0 w 913"/>
                <a:gd name="T101" fmla="*/ 0 h 1504"/>
                <a:gd name="T102" fmla="*/ 0 w 913"/>
                <a:gd name="T103" fmla="*/ 0 h 1504"/>
                <a:gd name="T104" fmla="*/ 0 w 913"/>
                <a:gd name="T105" fmla="*/ 0 h 1504"/>
                <a:gd name="T106" fmla="*/ 0 w 913"/>
                <a:gd name="T107" fmla="*/ 0 h 1504"/>
                <a:gd name="T108" fmla="*/ 0 w 913"/>
                <a:gd name="T109" fmla="*/ 0 h 150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913"/>
                <a:gd name="T166" fmla="*/ 0 h 1504"/>
                <a:gd name="T167" fmla="*/ 913 w 913"/>
                <a:gd name="T168" fmla="*/ 1504 h 1504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913" h="1504">
                  <a:moveTo>
                    <a:pt x="384" y="13"/>
                  </a:moveTo>
                  <a:cubicBezTo>
                    <a:pt x="380" y="117"/>
                    <a:pt x="368" y="312"/>
                    <a:pt x="296" y="416"/>
                  </a:cubicBezTo>
                  <a:cubicBezTo>
                    <a:pt x="280" y="468"/>
                    <a:pt x="288" y="568"/>
                    <a:pt x="224" y="588"/>
                  </a:cubicBezTo>
                  <a:cubicBezTo>
                    <a:pt x="212" y="604"/>
                    <a:pt x="196" y="616"/>
                    <a:pt x="180" y="632"/>
                  </a:cubicBezTo>
                  <a:cubicBezTo>
                    <a:pt x="172" y="652"/>
                    <a:pt x="176" y="664"/>
                    <a:pt x="156" y="672"/>
                  </a:cubicBezTo>
                  <a:cubicBezTo>
                    <a:pt x="136" y="700"/>
                    <a:pt x="136" y="684"/>
                    <a:pt x="116" y="696"/>
                  </a:cubicBezTo>
                  <a:cubicBezTo>
                    <a:pt x="112" y="712"/>
                    <a:pt x="88" y="752"/>
                    <a:pt x="72" y="756"/>
                  </a:cubicBezTo>
                  <a:cubicBezTo>
                    <a:pt x="56" y="780"/>
                    <a:pt x="36" y="808"/>
                    <a:pt x="20" y="836"/>
                  </a:cubicBezTo>
                  <a:cubicBezTo>
                    <a:pt x="12" y="848"/>
                    <a:pt x="4" y="872"/>
                    <a:pt x="4" y="872"/>
                  </a:cubicBezTo>
                  <a:cubicBezTo>
                    <a:pt x="4" y="876"/>
                    <a:pt x="4" y="880"/>
                    <a:pt x="8" y="884"/>
                  </a:cubicBezTo>
                  <a:cubicBezTo>
                    <a:pt x="12" y="888"/>
                    <a:pt x="20" y="884"/>
                    <a:pt x="24" y="888"/>
                  </a:cubicBezTo>
                  <a:cubicBezTo>
                    <a:pt x="32" y="896"/>
                    <a:pt x="36" y="924"/>
                    <a:pt x="36" y="924"/>
                  </a:cubicBezTo>
                  <a:cubicBezTo>
                    <a:pt x="44" y="996"/>
                    <a:pt x="40" y="1040"/>
                    <a:pt x="128" y="980"/>
                  </a:cubicBezTo>
                  <a:cubicBezTo>
                    <a:pt x="152" y="988"/>
                    <a:pt x="148" y="1024"/>
                    <a:pt x="128" y="1036"/>
                  </a:cubicBezTo>
                  <a:cubicBezTo>
                    <a:pt x="124" y="1040"/>
                    <a:pt x="124" y="1048"/>
                    <a:pt x="120" y="1052"/>
                  </a:cubicBezTo>
                  <a:cubicBezTo>
                    <a:pt x="116" y="1056"/>
                    <a:pt x="112" y="1056"/>
                    <a:pt x="108" y="1060"/>
                  </a:cubicBezTo>
                  <a:cubicBezTo>
                    <a:pt x="88" y="1092"/>
                    <a:pt x="84" y="1140"/>
                    <a:pt x="60" y="1176"/>
                  </a:cubicBezTo>
                  <a:cubicBezTo>
                    <a:pt x="48" y="1228"/>
                    <a:pt x="56" y="1344"/>
                    <a:pt x="8" y="1376"/>
                  </a:cubicBezTo>
                  <a:cubicBezTo>
                    <a:pt x="0" y="1396"/>
                    <a:pt x="20" y="1396"/>
                    <a:pt x="32" y="1412"/>
                  </a:cubicBezTo>
                  <a:cubicBezTo>
                    <a:pt x="76" y="1388"/>
                    <a:pt x="72" y="1408"/>
                    <a:pt x="116" y="1416"/>
                  </a:cubicBezTo>
                  <a:cubicBezTo>
                    <a:pt x="144" y="1436"/>
                    <a:pt x="180" y="1464"/>
                    <a:pt x="216" y="1476"/>
                  </a:cubicBezTo>
                  <a:cubicBezTo>
                    <a:pt x="244" y="1504"/>
                    <a:pt x="326" y="1496"/>
                    <a:pt x="358" y="1476"/>
                  </a:cubicBezTo>
                  <a:cubicBezTo>
                    <a:pt x="362" y="1452"/>
                    <a:pt x="343" y="1414"/>
                    <a:pt x="345" y="1387"/>
                  </a:cubicBezTo>
                  <a:cubicBezTo>
                    <a:pt x="355" y="1357"/>
                    <a:pt x="378" y="1304"/>
                    <a:pt x="394" y="1282"/>
                  </a:cubicBezTo>
                  <a:cubicBezTo>
                    <a:pt x="410" y="1260"/>
                    <a:pt x="432" y="1282"/>
                    <a:pt x="439" y="1255"/>
                  </a:cubicBezTo>
                  <a:cubicBezTo>
                    <a:pt x="465" y="1254"/>
                    <a:pt x="496" y="1240"/>
                    <a:pt x="507" y="1230"/>
                  </a:cubicBezTo>
                  <a:cubicBezTo>
                    <a:pt x="536" y="1196"/>
                    <a:pt x="513" y="1209"/>
                    <a:pt x="508" y="1192"/>
                  </a:cubicBezTo>
                  <a:cubicBezTo>
                    <a:pt x="503" y="1175"/>
                    <a:pt x="476" y="1151"/>
                    <a:pt x="474" y="1129"/>
                  </a:cubicBezTo>
                  <a:cubicBezTo>
                    <a:pt x="483" y="1087"/>
                    <a:pt x="480" y="1111"/>
                    <a:pt x="496" y="1062"/>
                  </a:cubicBezTo>
                  <a:cubicBezTo>
                    <a:pt x="516" y="1017"/>
                    <a:pt x="531" y="988"/>
                    <a:pt x="560" y="980"/>
                  </a:cubicBezTo>
                  <a:cubicBezTo>
                    <a:pt x="564" y="960"/>
                    <a:pt x="598" y="948"/>
                    <a:pt x="559" y="933"/>
                  </a:cubicBezTo>
                  <a:cubicBezTo>
                    <a:pt x="559" y="898"/>
                    <a:pt x="544" y="862"/>
                    <a:pt x="532" y="824"/>
                  </a:cubicBezTo>
                  <a:cubicBezTo>
                    <a:pt x="525" y="805"/>
                    <a:pt x="526" y="780"/>
                    <a:pt x="516" y="768"/>
                  </a:cubicBezTo>
                  <a:cubicBezTo>
                    <a:pt x="504" y="742"/>
                    <a:pt x="532" y="744"/>
                    <a:pt x="560" y="748"/>
                  </a:cubicBezTo>
                  <a:cubicBezTo>
                    <a:pt x="595" y="771"/>
                    <a:pt x="633" y="735"/>
                    <a:pt x="633" y="735"/>
                  </a:cubicBezTo>
                  <a:cubicBezTo>
                    <a:pt x="651" y="717"/>
                    <a:pt x="641" y="709"/>
                    <a:pt x="657" y="693"/>
                  </a:cubicBezTo>
                  <a:cubicBezTo>
                    <a:pt x="665" y="669"/>
                    <a:pt x="684" y="632"/>
                    <a:pt x="656" y="624"/>
                  </a:cubicBezTo>
                  <a:cubicBezTo>
                    <a:pt x="660" y="608"/>
                    <a:pt x="697" y="592"/>
                    <a:pt x="697" y="592"/>
                  </a:cubicBezTo>
                  <a:cubicBezTo>
                    <a:pt x="705" y="579"/>
                    <a:pt x="702" y="555"/>
                    <a:pt x="705" y="544"/>
                  </a:cubicBezTo>
                  <a:cubicBezTo>
                    <a:pt x="708" y="533"/>
                    <a:pt x="700" y="561"/>
                    <a:pt x="712" y="528"/>
                  </a:cubicBezTo>
                  <a:cubicBezTo>
                    <a:pt x="720" y="484"/>
                    <a:pt x="730" y="372"/>
                    <a:pt x="780" y="343"/>
                  </a:cubicBezTo>
                  <a:cubicBezTo>
                    <a:pt x="810" y="330"/>
                    <a:pt x="824" y="339"/>
                    <a:pt x="844" y="327"/>
                  </a:cubicBezTo>
                  <a:cubicBezTo>
                    <a:pt x="856" y="319"/>
                    <a:pt x="880" y="298"/>
                    <a:pt x="880" y="298"/>
                  </a:cubicBezTo>
                  <a:cubicBezTo>
                    <a:pt x="901" y="282"/>
                    <a:pt x="913" y="246"/>
                    <a:pt x="910" y="228"/>
                  </a:cubicBezTo>
                  <a:cubicBezTo>
                    <a:pt x="895" y="219"/>
                    <a:pt x="885" y="211"/>
                    <a:pt x="873" y="193"/>
                  </a:cubicBezTo>
                  <a:cubicBezTo>
                    <a:pt x="861" y="175"/>
                    <a:pt x="876" y="130"/>
                    <a:pt x="840" y="120"/>
                  </a:cubicBezTo>
                  <a:cubicBezTo>
                    <a:pt x="820" y="104"/>
                    <a:pt x="762" y="96"/>
                    <a:pt x="740" y="104"/>
                  </a:cubicBezTo>
                  <a:cubicBezTo>
                    <a:pt x="710" y="102"/>
                    <a:pt x="689" y="113"/>
                    <a:pt x="658" y="111"/>
                  </a:cubicBezTo>
                  <a:cubicBezTo>
                    <a:pt x="637" y="111"/>
                    <a:pt x="634" y="106"/>
                    <a:pt x="616" y="103"/>
                  </a:cubicBezTo>
                  <a:cubicBezTo>
                    <a:pt x="598" y="100"/>
                    <a:pt x="585" y="112"/>
                    <a:pt x="552" y="92"/>
                  </a:cubicBezTo>
                  <a:cubicBezTo>
                    <a:pt x="517" y="81"/>
                    <a:pt x="518" y="88"/>
                    <a:pt x="516" y="78"/>
                  </a:cubicBezTo>
                  <a:cubicBezTo>
                    <a:pt x="514" y="68"/>
                    <a:pt x="547" y="46"/>
                    <a:pt x="540" y="34"/>
                  </a:cubicBezTo>
                  <a:cubicBezTo>
                    <a:pt x="528" y="0"/>
                    <a:pt x="516" y="8"/>
                    <a:pt x="476" y="4"/>
                  </a:cubicBezTo>
                  <a:cubicBezTo>
                    <a:pt x="460" y="8"/>
                    <a:pt x="444" y="6"/>
                    <a:pt x="429" y="21"/>
                  </a:cubicBezTo>
                  <a:cubicBezTo>
                    <a:pt x="413" y="22"/>
                    <a:pt x="390" y="28"/>
                    <a:pt x="384" y="13"/>
                  </a:cubicBez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</p:grpSp>
      <p:sp>
        <p:nvSpPr>
          <p:cNvPr id="378" name="Textfeld 55"/>
          <p:cNvSpPr txBox="1"/>
          <p:nvPr/>
        </p:nvSpPr>
        <p:spPr>
          <a:xfrm>
            <a:off x="3268620" y="2223555"/>
            <a:ext cx="54697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kern="0" dirty="0" smtClean="0">
                <a:solidFill>
                  <a:srgbClr val="404040"/>
                </a:solidFill>
                <a:latin typeface="CorpoS" pitchFamily="2" charset="0"/>
                <a:ea typeface="+mn-ea"/>
              </a:rPr>
              <a:t>17.12</a:t>
            </a:r>
          </a:p>
        </p:txBody>
      </p:sp>
      <p:cxnSp>
        <p:nvCxnSpPr>
          <p:cNvPr id="383" name="Gerade Verbindung 382"/>
          <p:cNvCxnSpPr/>
          <p:nvPr/>
        </p:nvCxnSpPr>
        <p:spPr>
          <a:xfrm>
            <a:off x="5919992" y="2157180"/>
            <a:ext cx="0" cy="4230437"/>
          </a:xfrm>
          <a:prstGeom prst="line">
            <a:avLst/>
          </a:prstGeom>
          <a:noFill/>
          <a:ln w="9525" cap="flat" cmpd="sng" algn="ctr">
            <a:solidFill>
              <a:srgbClr val="C0C0C0"/>
            </a:solidFill>
            <a:prstDash val="solid"/>
          </a:ln>
          <a:effectLst/>
        </p:spPr>
      </p:cxnSp>
      <p:cxnSp>
        <p:nvCxnSpPr>
          <p:cNvPr id="385" name="Gerade Verbindung 384"/>
          <p:cNvCxnSpPr/>
          <p:nvPr/>
        </p:nvCxnSpPr>
        <p:spPr>
          <a:xfrm flipV="1">
            <a:off x="863222" y="3665413"/>
            <a:ext cx="7879101" cy="6970"/>
          </a:xfrm>
          <a:prstGeom prst="line">
            <a:avLst/>
          </a:prstGeom>
          <a:noFill/>
          <a:ln w="9525" cap="flat" cmpd="sng" algn="ctr">
            <a:solidFill>
              <a:srgbClr val="C0C0C0"/>
            </a:solidFill>
            <a:prstDash val="solid"/>
          </a:ln>
          <a:effectLst/>
        </p:spPr>
      </p:cxnSp>
      <p:cxnSp>
        <p:nvCxnSpPr>
          <p:cNvPr id="386" name="Gerade Verbindung 385"/>
          <p:cNvCxnSpPr/>
          <p:nvPr/>
        </p:nvCxnSpPr>
        <p:spPr>
          <a:xfrm flipV="1">
            <a:off x="868348" y="4103574"/>
            <a:ext cx="7876351" cy="6598"/>
          </a:xfrm>
          <a:prstGeom prst="line">
            <a:avLst/>
          </a:prstGeom>
          <a:noFill/>
          <a:ln w="9525" cap="flat" cmpd="sng" algn="ctr">
            <a:solidFill>
              <a:srgbClr val="C0C0C0"/>
            </a:solidFill>
            <a:prstDash val="solid"/>
          </a:ln>
          <a:effectLst/>
        </p:spPr>
      </p:cxnSp>
      <p:cxnSp>
        <p:nvCxnSpPr>
          <p:cNvPr id="388" name="Gerade Verbindung 387"/>
          <p:cNvCxnSpPr/>
          <p:nvPr/>
        </p:nvCxnSpPr>
        <p:spPr>
          <a:xfrm flipV="1">
            <a:off x="868348" y="5239939"/>
            <a:ext cx="7870453" cy="1305"/>
          </a:xfrm>
          <a:prstGeom prst="line">
            <a:avLst/>
          </a:prstGeom>
          <a:noFill/>
          <a:ln w="9525" cap="flat" cmpd="sng" algn="ctr">
            <a:solidFill>
              <a:srgbClr val="C0C0C0"/>
            </a:solidFill>
            <a:prstDash val="solid"/>
          </a:ln>
          <a:effectLst/>
        </p:spPr>
      </p:cxnSp>
      <p:sp>
        <p:nvSpPr>
          <p:cNvPr id="389" name="Pfeil nach rechts 388"/>
          <p:cNvSpPr/>
          <p:nvPr/>
        </p:nvSpPr>
        <p:spPr>
          <a:xfrm>
            <a:off x="5045102" y="4246615"/>
            <a:ext cx="894180" cy="326744"/>
          </a:xfrm>
          <a:prstGeom prst="rightArrow">
            <a:avLst>
              <a:gd name="adj1" fmla="val 58411"/>
              <a:gd name="adj2" fmla="val 55011"/>
            </a:avLst>
          </a:prstGeom>
          <a:gradFill flip="none" rotWithShape="1">
            <a:gsLst>
              <a:gs pos="9000">
                <a:srgbClr val="FFC000"/>
              </a:gs>
              <a:gs pos="43000">
                <a:srgbClr val="FFFFFF">
                  <a:lumMod val="65000"/>
                </a:srgbClr>
              </a:gs>
            </a:gsLst>
            <a:lin ang="0" scaled="1"/>
            <a:tileRect/>
          </a:gradFill>
          <a:ln w="762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r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b="0" dirty="0">
                <a:solidFill>
                  <a:schemeClr val="tx1"/>
                </a:solidFill>
                <a:latin typeface="Calibri" panose="020F0502020204030204" pitchFamily="34" charset="0"/>
              </a:rPr>
              <a:t>commentary</a:t>
            </a:r>
            <a:endParaRPr kumimoji="0" lang="de-DE" sz="1100" b="0" i="0" u="none" strike="noStrike" kern="1200" cap="none" spc="0" normalizeH="0" baseline="0" noProof="0" dirty="0" err="1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itchFamily="34" charset="0"/>
              <a:cs typeface="Calibri" pitchFamily="34" charset="0"/>
            </a:endParaRPr>
          </a:p>
        </p:txBody>
      </p:sp>
      <p:sp>
        <p:nvSpPr>
          <p:cNvPr id="402" name="Textfeld 55"/>
          <p:cNvSpPr txBox="1"/>
          <p:nvPr/>
        </p:nvSpPr>
        <p:spPr>
          <a:xfrm>
            <a:off x="5707316" y="5187922"/>
            <a:ext cx="82693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kern="0" dirty="0">
                <a:solidFill>
                  <a:srgbClr val="404040"/>
                </a:solidFill>
                <a:latin typeface="CorpoS" pitchFamily="2" charset="0"/>
                <a:ea typeface="+mn-ea"/>
              </a:rPr>
              <a:t>c</a:t>
            </a:r>
            <a:r>
              <a:rPr lang="en-US" sz="1100" kern="0" dirty="0" smtClean="0">
                <a:solidFill>
                  <a:srgbClr val="404040"/>
                </a:solidFill>
                <a:latin typeface="CorpoS" pitchFamily="2" charset="0"/>
                <a:ea typeface="+mn-ea"/>
              </a:rPr>
              <a:t>a. 10.03</a:t>
            </a:r>
          </a:p>
        </p:txBody>
      </p:sp>
      <p:sp>
        <p:nvSpPr>
          <p:cNvPr id="403" name="Rechteck 402"/>
          <p:cNvSpPr/>
          <p:nvPr/>
        </p:nvSpPr>
        <p:spPr bwMode="auto">
          <a:xfrm>
            <a:off x="647882" y="2275265"/>
            <a:ext cx="8094441" cy="442658"/>
          </a:xfrm>
          <a:prstGeom prst="rect">
            <a:avLst/>
          </a:prstGeom>
          <a:noFill/>
          <a:ln w="9525" cap="flat" cmpd="sng" algn="ctr">
            <a:solidFill>
              <a:srgbClr val="404040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endParaRPr lang="de-DE" sz="1800" b="0" smtClean="0">
              <a:solidFill>
                <a:srgbClr val="000000"/>
              </a:solidFill>
              <a:latin typeface="CorpoS" pitchFamily="2" charset="0"/>
              <a:ea typeface="+mn-ea"/>
            </a:endParaRPr>
          </a:p>
        </p:txBody>
      </p:sp>
      <p:sp>
        <p:nvSpPr>
          <p:cNvPr id="404" name="Rechteck 403"/>
          <p:cNvSpPr/>
          <p:nvPr/>
        </p:nvSpPr>
        <p:spPr bwMode="auto">
          <a:xfrm>
            <a:off x="647870" y="2717368"/>
            <a:ext cx="8094441" cy="442658"/>
          </a:xfrm>
          <a:prstGeom prst="rect">
            <a:avLst/>
          </a:prstGeom>
          <a:noFill/>
          <a:ln w="9525" cap="flat" cmpd="sng" algn="ctr">
            <a:solidFill>
              <a:srgbClr val="404040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endParaRPr lang="de-DE" sz="1800" b="0" smtClean="0">
              <a:solidFill>
                <a:srgbClr val="000000"/>
              </a:solidFill>
              <a:latin typeface="CorpoS" pitchFamily="2" charset="0"/>
              <a:ea typeface="+mn-ea"/>
            </a:endParaRPr>
          </a:p>
        </p:txBody>
      </p:sp>
      <p:sp>
        <p:nvSpPr>
          <p:cNvPr id="405" name="Rechteck 404"/>
          <p:cNvSpPr/>
          <p:nvPr/>
        </p:nvSpPr>
        <p:spPr bwMode="auto">
          <a:xfrm>
            <a:off x="647858" y="3160402"/>
            <a:ext cx="8094441" cy="1493799"/>
          </a:xfrm>
          <a:prstGeom prst="rect">
            <a:avLst/>
          </a:prstGeom>
          <a:noFill/>
          <a:ln w="9525" cap="flat" cmpd="sng" algn="ctr">
            <a:solidFill>
              <a:srgbClr val="404040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endParaRPr lang="de-DE" sz="1800" b="0" smtClean="0">
              <a:solidFill>
                <a:srgbClr val="000000"/>
              </a:solidFill>
              <a:latin typeface="CorpoS" pitchFamily="2" charset="0"/>
              <a:ea typeface="+mn-ea"/>
            </a:endParaRPr>
          </a:p>
        </p:txBody>
      </p:sp>
      <p:sp>
        <p:nvSpPr>
          <p:cNvPr id="406" name="Rechteck 405"/>
          <p:cNvSpPr/>
          <p:nvPr/>
        </p:nvSpPr>
        <p:spPr bwMode="auto">
          <a:xfrm>
            <a:off x="647846" y="4654200"/>
            <a:ext cx="8094441" cy="1741949"/>
          </a:xfrm>
          <a:prstGeom prst="rect">
            <a:avLst/>
          </a:prstGeom>
          <a:noFill/>
          <a:ln w="9525" cap="flat" cmpd="sng" algn="ctr">
            <a:solidFill>
              <a:srgbClr val="404040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endParaRPr lang="de-DE" sz="1800" b="0" smtClean="0">
              <a:solidFill>
                <a:srgbClr val="000000"/>
              </a:solidFill>
              <a:latin typeface="CorpoS" pitchFamily="2" charset="0"/>
              <a:ea typeface="+mn-ea"/>
            </a:endParaRPr>
          </a:p>
        </p:txBody>
      </p:sp>
      <p:grpSp>
        <p:nvGrpSpPr>
          <p:cNvPr id="408" name="Gruppieren 407"/>
          <p:cNvGrpSpPr/>
          <p:nvPr/>
        </p:nvGrpSpPr>
        <p:grpSpPr>
          <a:xfrm>
            <a:off x="3263876" y="2387050"/>
            <a:ext cx="546646" cy="403382"/>
            <a:chOff x="3300513" y="2482824"/>
            <a:chExt cx="546646" cy="403382"/>
          </a:xfrm>
        </p:grpSpPr>
        <p:pic>
          <p:nvPicPr>
            <p:cNvPr id="409" name="Picture 8" descr="C:\DATEN\sonstiges\PowerPoint Icons\Beispiele gute Präsis und Icons\03___Icons_PowerPoint\Icons\Dokumente\single_yellow_folder_1600_clr.pn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09316" y="2482824"/>
              <a:ext cx="537843" cy="40338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10" name="Textfeld 409"/>
            <p:cNvSpPr txBox="1"/>
            <p:nvPr/>
          </p:nvSpPr>
          <p:spPr>
            <a:xfrm rot="794566">
              <a:off x="3300513" y="2533287"/>
              <a:ext cx="441146" cy="27186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ts val="700"/>
                </a:lnSpc>
              </a:pPr>
              <a:r>
                <a:rPr lang="de-DE" sz="700" dirty="0" smtClean="0">
                  <a:solidFill>
                    <a:srgbClr val="C00000"/>
                  </a:solidFill>
                  <a:latin typeface="CorpoS"/>
                  <a:ea typeface="+mn-ea"/>
                </a:rPr>
                <a:t>DRAFT</a:t>
              </a:r>
            </a:p>
            <a:p>
              <a:pPr>
                <a:lnSpc>
                  <a:spcPts val="700"/>
                </a:lnSpc>
              </a:pPr>
              <a:r>
                <a:rPr lang="de-DE" sz="700" dirty="0">
                  <a:solidFill>
                    <a:srgbClr val="C00000"/>
                  </a:solidFill>
                  <a:latin typeface="CorpoS"/>
                  <a:ea typeface="+mn-ea"/>
                </a:rPr>
                <a:t> </a:t>
              </a:r>
              <a:r>
                <a:rPr lang="de-DE" sz="700" dirty="0" smtClean="0">
                  <a:solidFill>
                    <a:srgbClr val="C00000"/>
                  </a:solidFill>
                  <a:latin typeface="CorpoS"/>
                  <a:ea typeface="+mn-ea"/>
                </a:rPr>
                <a:t> V11</a:t>
              </a:r>
              <a:endParaRPr lang="de-DE" sz="700" dirty="0">
                <a:solidFill>
                  <a:srgbClr val="C00000"/>
                </a:solidFill>
                <a:latin typeface="CorpoS"/>
                <a:ea typeface="+mn-ea"/>
              </a:endParaRPr>
            </a:p>
          </p:txBody>
        </p:sp>
      </p:grpSp>
      <p:sp>
        <p:nvSpPr>
          <p:cNvPr id="411" name="Textfeld 55"/>
          <p:cNvSpPr txBox="1"/>
          <p:nvPr/>
        </p:nvSpPr>
        <p:spPr>
          <a:xfrm>
            <a:off x="4421616" y="2677908"/>
            <a:ext cx="54697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kern="0" dirty="0" smtClean="0">
                <a:solidFill>
                  <a:srgbClr val="404040"/>
                </a:solidFill>
                <a:latin typeface="CorpoS" pitchFamily="2" charset="0"/>
                <a:ea typeface="+mn-ea"/>
              </a:rPr>
              <a:t>26.01</a:t>
            </a:r>
          </a:p>
        </p:txBody>
      </p:sp>
      <p:sp>
        <p:nvSpPr>
          <p:cNvPr id="412" name="Textfeld 55"/>
          <p:cNvSpPr txBox="1"/>
          <p:nvPr/>
        </p:nvSpPr>
        <p:spPr>
          <a:xfrm>
            <a:off x="5027483" y="2679250"/>
            <a:ext cx="54697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kern="0" dirty="0" smtClean="0">
                <a:solidFill>
                  <a:srgbClr val="404040"/>
                </a:solidFill>
                <a:latin typeface="CorpoS" pitchFamily="2" charset="0"/>
                <a:ea typeface="+mn-ea"/>
              </a:rPr>
              <a:t>09.02</a:t>
            </a:r>
          </a:p>
        </p:txBody>
      </p:sp>
      <p:sp>
        <p:nvSpPr>
          <p:cNvPr id="413" name="Textfeld 55"/>
          <p:cNvSpPr txBox="1"/>
          <p:nvPr/>
        </p:nvSpPr>
        <p:spPr>
          <a:xfrm>
            <a:off x="6235003" y="2680648"/>
            <a:ext cx="54697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kern="0" dirty="0" smtClean="0">
                <a:solidFill>
                  <a:srgbClr val="404040"/>
                </a:solidFill>
                <a:latin typeface="CorpoS" pitchFamily="2" charset="0"/>
                <a:ea typeface="+mn-ea"/>
              </a:rPr>
              <a:t>24.03</a:t>
            </a:r>
          </a:p>
        </p:txBody>
      </p:sp>
      <p:sp>
        <p:nvSpPr>
          <p:cNvPr id="414" name="Textfeld 55"/>
          <p:cNvSpPr txBox="1"/>
          <p:nvPr/>
        </p:nvSpPr>
        <p:spPr>
          <a:xfrm>
            <a:off x="7955862" y="2674930"/>
            <a:ext cx="54697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kern="0" dirty="0" smtClean="0">
                <a:solidFill>
                  <a:srgbClr val="404040"/>
                </a:solidFill>
                <a:latin typeface="CorpoS" pitchFamily="2" charset="0"/>
                <a:ea typeface="+mn-ea"/>
              </a:rPr>
              <a:t>19.05</a:t>
            </a:r>
          </a:p>
        </p:txBody>
      </p:sp>
      <p:pic>
        <p:nvPicPr>
          <p:cNvPr id="415" name="Picture 2" descr="European Commission logo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07768" y="2373086"/>
            <a:ext cx="357341" cy="24723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18" name="Gruppieren 417"/>
          <p:cNvGrpSpPr/>
          <p:nvPr/>
        </p:nvGrpSpPr>
        <p:grpSpPr>
          <a:xfrm>
            <a:off x="3530541" y="3147197"/>
            <a:ext cx="1083802" cy="1494310"/>
            <a:chOff x="6116545" y="3416603"/>
            <a:chExt cx="1083802" cy="1494310"/>
          </a:xfrm>
        </p:grpSpPr>
        <p:grpSp>
          <p:nvGrpSpPr>
            <p:cNvPr id="419" name="Gruppieren 418"/>
            <p:cNvGrpSpPr/>
            <p:nvPr/>
          </p:nvGrpSpPr>
          <p:grpSpPr>
            <a:xfrm>
              <a:off x="6116545" y="3416603"/>
              <a:ext cx="1083802" cy="1494310"/>
              <a:chOff x="6116545" y="3416603"/>
              <a:chExt cx="1083802" cy="1494310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421" name="Rechteck 420"/>
              <p:cNvSpPr/>
              <p:nvPr/>
            </p:nvSpPr>
            <p:spPr bwMode="auto">
              <a:xfrm rot="399921">
                <a:off x="6275204" y="4425001"/>
                <a:ext cx="639110" cy="208873"/>
              </a:xfrm>
              <a:prstGeom prst="rect">
                <a:avLst/>
              </a:prstGeom>
              <a:solidFill>
                <a:srgbClr val="FFFFFF"/>
              </a:solidFill>
              <a:ln w="9525" cap="flat" cmpd="sng" algn="ctr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  <p:txBody>
              <a:bodyPr vert="horz" wrap="square" lIns="90000" tIns="46800" rIns="90000" bIns="4680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pic>
            <p:nvPicPr>
              <p:cNvPr id="422" name="Picture 19"/>
              <p:cNvPicPr>
                <a:picLocks noChangeAspect="1" noChangeArrowheads="1"/>
              </p:cNvPicPr>
              <p:nvPr/>
            </p:nvPicPr>
            <p:blipFill>
              <a:blip r:embed="rId4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rot="370870">
                <a:off x="6116545" y="3416603"/>
                <a:ext cx="1083802" cy="14943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420" name="Textfeld 419"/>
            <p:cNvSpPr txBox="1"/>
            <p:nvPr/>
          </p:nvSpPr>
          <p:spPr>
            <a:xfrm rot="376827">
              <a:off x="6183072" y="3507444"/>
              <a:ext cx="999184" cy="126840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rPr>
                <a:t>Next Steps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rPr>
                <a:t>Package 1:</a:t>
              </a:r>
              <a:endParaRPr lang="en-US" sz="1050" b="0" kern="0" dirty="0">
                <a:solidFill>
                  <a:srgbClr val="000000"/>
                </a:solidFill>
                <a:latin typeface="CorpoS" pitchFamily="2" charset="0"/>
                <a:ea typeface="+mn-ea"/>
              </a:endParaRP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8D8F92"/>
                </a:buClr>
                <a:buSzPct val="80000"/>
                <a:buFont typeface="Wingdings" panose="05000000000000000000" pitchFamily="2" charset="2"/>
                <a:buChar char="§"/>
                <a:tabLst/>
                <a:defRPr/>
              </a:pPr>
              <a:r>
                <a:rPr lang="en-US" sz="1050" b="0" kern="0" dirty="0" smtClean="0">
                  <a:solidFill>
                    <a:srgbClr val="000000"/>
                  </a:solidFill>
                  <a:latin typeface="CorpoS" pitchFamily="2" charset="0"/>
                  <a:ea typeface="+mn-ea"/>
                </a:rPr>
                <a:t> few </a:t>
              </a:r>
              <a:r>
                <a:rPr lang="en-US" sz="1050" b="0" kern="0" dirty="0">
                  <a:solidFill>
                    <a:srgbClr val="000000"/>
                  </a:solidFill>
                  <a:latin typeface="CorpoS" pitchFamily="2" charset="0"/>
                  <a:ea typeface="+mn-ea"/>
                </a:rPr>
                <a:t>BCs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8D8F92"/>
                </a:buClr>
                <a:buSzPct val="80000"/>
                <a:buFont typeface="Wingdings" panose="05000000000000000000" pitchFamily="2" charset="2"/>
                <a:buChar char="§"/>
                <a:tabLst/>
                <a:defRPr/>
              </a:pPr>
              <a:r>
                <a:rPr lang="en-US" sz="1050" b="0" kern="0" dirty="0">
                  <a:solidFill>
                    <a:srgbClr val="000000"/>
                  </a:solidFill>
                  <a:latin typeface="CorpoS" pitchFamily="2" charset="0"/>
                  <a:ea typeface="+mn-ea"/>
                </a:rPr>
                <a:t>1 </a:t>
              </a:r>
              <a:r>
                <a:rPr lang="en-US" sz="1050" b="0" kern="0" dirty="0" smtClean="0">
                  <a:solidFill>
                    <a:srgbClr val="000000"/>
                  </a:solidFill>
                  <a:latin typeface="CorpoS" pitchFamily="2" charset="0"/>
                  <a:ea typeface="+mn-ea"/>
                </a:rPr>
                <a:t>step timing</a:t>
              </a:r>
              <a:endParaRPr lang="en-US" sz="1050" b="0" kern="0" dirty="0">
                <a:solidFill>
                  <a:srgbClr val="000000"/>
                </a:solidFill>
                <a:latin typeface="CorpoS" pitchFamily="2" charset="0"/>
                <a:ea typeface="+mn-ea"/>
              </a:endParaRP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8D8F92"/>
                </a:buClr>
                <a:buSzPct val="80000"/>
                <a:buFont typeface="Wingdings" panose="05000000000000000000" pitchFamily="2" charset="2"/>
                <a:buChar char="§"/>
                <a:tabLst/>
                <a:defRPr/>
              </a:pPr>
              <a:r>
                <a:rPr lang="en-US" sz="1050" b="0" kern="0" dirty="0" smtClean="0">
                  <a:solidFill>
                    <a:srgbClr val="000000"/>
                  </a:solidFill>
                  <a:latin typeface="CorpoS" pitchFamily="2" charset="0"/>
                  <a:ea typeface="+mn-ea"/>
                </a:rPr>
                <a:t>Normalization</a:t>
              </a:r>
              <a:endParaRPr lang="en-US" sz="1050" b="0" kern="0" dirty="0">
                <a:solidFill>
                  <a:srgbClr val="000000"/>
                </a:solidFill>
                <a:latin typeface="CorpoS" pitchFamily="2" charset="0"/>
                <a:ea typeface="+mn-ea"/>
              </a:endParaRP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8D8F92"/>
                </a:buClr>
                <a:buSzPct val="80000"/>
                <a:tabLst/>
                <a:defRPr/>
              </a:pPr>
              <a:r>
                <a:rPr lang="en-US" sz="1050" b="0" kern="0" dirty="0" smtClean="0">
                  <a:solidFill>
                    <a:srgbClr val="000000"/>
                  </a:solidFill>
                  <a:latin typeface="CorpoS" pitchFamily="2" charset="0"/>
                  <a:ea typeface="+mn-ea"/>
                </a:rPr>
                <a:t>  Tools</a:t>
              </a:r>
              <a:endParaRPr kumimoji="0" 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</p:grpSp>
      <p:pic>
        <p:nvPicPr>
          <p:cNvPr id="430" name="Picture 7" descr="C:\Users\rsr\Desktop\meeting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0435" y="2869098"/>
            <a:ext cx="264329" cy="2643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1" name="Picture 7" descr="C:\Users\rsr\Desktop\meeting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73598" y="2869954"/>
            <a:ext cx="264329" cy="2643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2" name="Picture 7" descr="C:\Users\rsr\Desktop\meeting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81091" y="2869097"/>
            <a:ext cx="264329" cy="2643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3" name="Picture 7" descr="C:\Users\rsr\Desktop\meeting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82110" y="2869096"/>
            <a:ext cx="264329" cy="2643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4" name="Picture 11" descr="http://www.sch-holz.de/image/kreuz.png"/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08157" y="2869954"/>
            <a:ext cx="410836" cy="2934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5" name="Picture 11" descr="http://www.sch-holz.de/image/kreuz.png"/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28906" y="2875627"/>
            <a:ext cx="410836" cy="2934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8" name="Picture 7" descr="C:\Users\rsr\Desktop\meeting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55278" y="2874796"/>
            <a:ext cx="264329" cy="2643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39" name="Textfeld 55"/>
          <p:cNvSpPr txBox="1"/>
          <p:nvPr/>
        </p:nvSpPr>
        <p:spPr>
          <a:xfrm>
            <a:off x="3233450" y="2667002"/>
            <a:ext cx="54697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fontAlgn="auto">
              <a:spcBef>
                <a:spcPts val="0"/>
              </a:spcBef>
              <a:spcAft>
                <a:spcPts val="0"/>
              </a:spcAft>
              <a:defRPr sz="1100" kern="0">
                <a:solidFill>
                  <a:srgbClr val="404040"/>
                </a:solidFill>
                <a:latin typeface="CorpoS" pitchFamily="2" charset="0"/>
                <a:ea typeface="+mn-ea"/>
              </a:defRPr>
            </a:lvl1pPr>
          </a:lstStyle>
          <a:p>
            <a:r>
              <a:rPr lang="en-US" dirty="0"/>
              <a:t>18.12</a:t>
            </a:r>
          </a:p>
        </p:txBody>
      </p:sp>
      <p:sp>
        <p:nvSpPr>
          <p:cNvPr id="440" name="Textfeld 55"/>
          <p:cNvSpPr txBox="1"/>
          <p:nvPr/>
        </p:nvSpPr>
        <p:spPr>
          <a:xfrm>
            <a:off x="4844017" y="3462653"/>
            <a:ext cx="54697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fontAlgn="auto">
              <a:spcBef>
                <a:spcPts val="0"/>
              </a:spcBef>
              <a:spcAft>
                <a:spcPts val="0"/>
              </a:spcAft>
              <a:defRPr sz="1100" kern="0">
                <a:solidFill>
                  <a:srgbClr val="404040"/>
                </a:solidFill>
                <a:latin typeface="CorpoS" pitchFamily="2" charset="0"/>
                <a:ea typeface="+mn-ea"/>
              </a:defRPr>
            </a:lvl1pPr>
          </a:lstStyle>
          <a:p>
            <a:r>
              <a:rPr lang="en-US" dirty="0"/>
              <a:t>03.02</a:t>
            </a:r>
          </a:p>
        </p:txBody>
      </p:sp>
      <p:cxnSp>
        <p:nvCxnSpPr>
          <p:cNvPr id="13" name="Gerade Verbindung mit Pfeil 12"/>
          <p:cNvCxnSpPr/>
          <p:nvPr/>
        </p:nvCxnSpPr>
        <p:spPr bwMode="auto">
          <a:xfrm>
            <a:off x="6525904" y="3134283"/>
            <a:ext cx="0" cy="2478930"/>
          </a:xfrm>
          <a:prstGeom prst="straightConnector1">
            <a:avLst/>
          </a:prstGeom>
          <a:solidFill>
            <a:srgbClr val="DDDDDD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>
            <a:outerShdw blurRad="63500" dist="35921" dir="2700000" algn="ctr" rotWithShape="0">
              <a:schemeClr val="bg2"/>
            </a:outerShdw>
          </a:effectLst>
          <a:extLst/>
        </p:spPr>
      </p:cxnSp>
      <p:pic>
        <p:nvPicPr>
          <p:cNvPr id="451" name="Picture 2" descr="European Commission logo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42088" y="2818643"/>
            <a:ext cx="357341" cy="24723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2" name="Picture 2" descr="European Commission logo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42594" y="3200400"/>
            <a:ext cx="357341" cy="24723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3" name="Picture 2" descr="European Commission logo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42627" y="4781970"/>
            <a:ext cx="357341" cy="24723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3" name="Picture 5" descr="http://media.arbeiterkammer.at/kaernten/fotolia/Fotolia_47693845_Subscription_XXL.jpg"/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1869" y="5668870"/>
            <a:ext cx="761490" cy="5711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hteck 14"/>
          <p:cNvSpPr/>
          <p:nvPr/>
        </p:nvSpPr>
        <p:spPr>
          <a:xfrm>
            <a:off x="5597714" y="6001510"/>
            <a:ext cx="117456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00" kern="0" dirty="0">
                <a:solidFill>
                  <a:srgbClr val="404040"/>
                </a:solidFill>
                <a:latin typeface="CorpoS" pitchFamily="2" charset="0"/>
                <a:ea typeface="+mn-ea"/>
              </a:rPr>
              <a:t>Election Compromise 1</a:t>
            </a:r>
          </a:p>
        </p:txBody>
      </p:sp>
      <p:grpSp>
        <p:nvGrpSpPr>
          <p:cNvPr id="454" name="Gruppieren 453"/>
          <p:cNvGrpSpPr/>
          <p:nvPr/>
        </p:nvGrpSpPr>
        <p:grpSpPr>
          <a:xfrm>
            <a:off x="4924321" y="3703491"/>
            <a:ext cx="552694" cy="403382"/>
            <a:chOff x="3294465" y="2482824"/>
            <a:chExt cx="552694" cy="403382"/>
          </a:xfrm>
        </p:grpSpPr>
        <p:pic>
          <p:nvPicPr>
            <p:cNvPr id="455" name="Picture 8" descr="C:\DATEN\sonstiges\PowerPoint Icons\Beispiele gute Präsis und Icons\03___Icons_PowerPoint\Icons\Dokumente\single_yellow_folder_1600_clr.pn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09316" y="2482824"/>
              <a:ext cx="537843" cy="40338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56" name="Textfeld 455"/>
            <p:cNvSpPr txBox="1"/>
            <p:nvPr/>
          </p:nvSpPr>
          <p:spPr>
            <a:xfrm rot="794566">
              <a:off x="3294465" y="2533287"/>
              <a:ext cx="441146" cy="27186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ts val="700"/>
                </a:lnSpc>
              </a:pPr>
              <a:r>
                <a:rPr lang="de-DE" sz="700" dirty="0" smtClean="0">
                  <a:solidFill>
                    <a:srgbClr val="C00000"/>
                  </a:solidFill>
                  <a:latin typeface="CorpoS"/>
                  <a:ea typeface="+mn-ea"/>
                </a:rPr>
                <a:t>DRAFT</a:t>
              </a:r>
            </a:p>
            <a:p>
              <a:pPr>
                <a:lnSpc>
                  <a:spcPts val="700"/>
                </a:lnSpc>
              </a:pPr>
              <a:r>
                <a:rPr lang="de-DE" sz="700" dirty="0">
                  <a:solidFill>
                    <a:srgbClr val="C00000"/>
                  </a:solidFill>
                  <a:latin typeface="CorpoS"/>
                </a:rPr>
                <a:t> </a:t>
              </a:r>
              <a:r>
                <a:rPr lang="de-DE" sz="700" dirty="0" smtClean="0">
                  <a:solidFill>
                    <a:srgbClr val="C00000"/>
                  </a:solidFill>
                  <a:latin typeface="CorpoS"/>
                </a:rPr>
                <a:t> V11</a:t>
              </a:r>
              <a:endParaRPr lang="de-DE" sz="700" dirty="0">
                <a:solidFill>
                  <a:srgbClr val="C00000"/>
                </a:solidFill>
                <a:latin typeface="CorpoS"/>
                <a:ea typeface="+mn-ea"/>
              </a:endParaRPr>
            </a:p>
          </p:txBody>
        </p:sp>
      </p:grpSp>
      <p:grpSp>
        <p:nvGrpSpPr>
          <p:cNvPr id="463" name="Gruppieren 462"/>
          <p:cNvGrpSpPr/>
          <p:nvPr/>
        </p:nvGrpSpPr>
        <p:grpSpPr>
          <a:xfrm>
            <a:off x="5746970" y="4191000"/>
            <a:ext cx="681799" cy="489365"/>
            <a:chOff x="3270854" y="2482824"/>
            <a:chExt cx="576305" cy="403382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464" name="Picture 8" descr="C:\DATEN\sonstiges\PowerPoint Icons\Beispiele gute Präsis und Icons\03___Icons_PowerPoint\Icons\Dokumente\single_yellow_folder_1600_clr.png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colorTemperature colorTemp="4700"/>
                      </a14:imgEffect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09316" y="2482824"/>
              <a:ext cx="537843" cy="40338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65" name="Textfeld 464"/>
            <p:cNvSpPr txBox="1"/>
            <p:nvPr/>
          </p:nvSpPr>
          <p:spPr>
            <a:xfrm rot="794566">
              <a:off x="3270854" y="2540113"/>
              <a:ext cx="474513" cy="22944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ts val="700"/>
                </a:lnSpc>
              </a:pPr>
              <a:r>
                <a:rPr lang="de-DE" sz="800" dirty="0" smtClean="0">
                  <a:solidFill>
                    <a:schemeClr val="bg1"/>
                  </a:solidFill>
                  <a:latin typeface="CorpoS"/>
                </a:rPr>
                <a:t>Compro-</a:t>
              </a:r>
              <a:endParaRPr lang="de-DE" sz="800" dirty="0">
                <a:solidFill>
                  <a:schemeClr val="bg1"/>
                </a:solidFill>
                <a:latin typeface="CorpoS"/>
              </a:endParaRPr>
            </a:p>
            <a:p>
              <a:pPr>
                <a:lnSpc>
                  <a:spcPts val="700"/>
                </a:lnSpc>
              </a:pPr>
              <a:r>
                <a:rPr lang="de-DE" sz="800" dirty="0">
                  <a:solidFill>
                    <a:schemeClr val="bg1"/>
                  </a:solidFill>
                  <a:latin typeface="CorpoS"/>
                </a:rPr>
                <a:t>    mise</a:t>
              </a:r>
            </a:p>
          </p:txBody>
        </p:sp>
      </p:grpSp>
      <p:pic>
        <p:nvPicPr>
          <p:cNvPr id="466" name="Picture 12" descr="C:\DATEN\sonstiges\PowerPoint Icons\Beispiele gute Präsis und Icons\03___Icons_PowerPoint\Icons\Dokumente\mailbox_open_letter_inbox_1600_clr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36222" y="5361494"/>
            <a:ext cx="376393" cy="329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67" name="Gekrümmte Verbindung 466"/>
          <p:cNvCxnSpPr>
            <a:stCxn id="465" idx="2"/>
            <a:endCxn id="466" idx="1"/>
          </p:cNvCxnSpPr>
          <p:nvPr/>
        </p:nvCxnSpPr>
        <p:spPr bwMode="auto">
          <a:xfrm rot="5400000">
            <a:off x="5470489" y="5000878"/>
            <a:ext cx="991021" cy="59554"/>
          </a:xfrm>
          <a:prstGeom prst="curvedConnector4">
            <a:avLst>
              <a:gd name="adj1" fmla="val 41505"/>
              <a:gd name="adj2" fmla="val 483853"/>
            </a:avLst>
          </a:prstGeom>
          <a:solidFill>
            <a:srgbClr val="DDDDDD"/>
          </a:solidFill>
          <a:ln w="12700" cap="flat" cmpd="sng" algn="ctr">
            <a:solidFill>
              <a:schemeClr val="bg2"/>
            </a:solidFill>
            <a:prstDash val="solid"/>
            <a:round/>
            <a:headEnd type="oval" w="med" len="med"/>
            <a:tailEnd type="triangle" w="med" len="med"/>
          </a:ln>
          <a:effectLst>
            <a:outerShdw blurRad="63500" dist="35921" dir="2700000" algn="ctr" rotWithShape="0">
              <a:schemeClr val="bg2"/>
            </a:outerShdw>
          </a:effectLst>
          <a:extLst/>
        </p:spPr>
      </p:cxnSp>
      <p:sp>
        <p:nvSpPr>
          <p:cNvPr id="471" name="Pfeil nach rechts 470"/>
          <p:cNvSpPr/>
          <p:nvPr/>
        </p:nvSpPr>
        <p:spPr>
          <a:xfrm>
            <a:off x="7823483" y="6107924"/>
            <a:ext cx="1223003" cy="326744"/>
          </a:xfrm>
          <a:prstGeom prst="rightArrow">
            <a:avLst>
              <a:gd name="adj1" fmla="val 58411"/>
              <a:gd name="adj2" fmla="val 55011"/>
            </a:avLst>
          </a:prstGeom>
          <a:gradFill flip="none" rotWithShape="1">
            <a:gsLst>
              <a:gs pos="9000">
                <a:srgbClr val="FFFFFF"/>
              </a:gs>
              <a:gs pos="43000">
                <a:srgbClr val="C00000"/>
              </a:gs>
            </a:gsLst>
            <a:lin ang="0" scaled="1"/>
            <a:tileRect/>
          </a:gradFill>
          <a:ln w="762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r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lang="de-DE" sz="1400" dirty="0" smtClean="0">
                <a:solidFill>
                  <a:schemeClr val="bg2"/>
                </a:solidFill>
                <a:latin typeface="Calibri" pitchFamily="34" charset="0"/>
                <a:cs typeface="Calibri" pitchFamily="34" charset="0"/>
              </a:rPr>
              <a:t>2nd half 2015</a:t>
            </a:r>
            <a:endParaRPr kumimoji="0" lang="de-DE" sz="1400" i="0" u="none" strike="noStrike" kern="1200" cap="none" spc="0" normalizeH="0" baseline="0" noProof="0" dirty="0" err="1" smtClean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Calibri" pitchFamily="34" charset="0"/>
              <a:cs typeface="Calibri" pitchFamily="34" charset="0"/>
            </a:endParaRPr>
          </a:p>
        </p:txBody>
      </p:sp>
      <p:grpSp>
        <p:nvGrpSpPr>
          <p:cNvPr id="423" name="Gruppieren 422"/>
          <p:cNvGrpSpPr/>
          <p:nvPr/>
        </p:nvGrpSpPr>
        <p:grpSpPr>
          <a:xfrm>
            <a:off x="8001000" y="4744645"/>
            <a:ext cx="1154200" cy="1494310"/>
            <a:chOff x="7763394" y="3408408"/>
            <a:chExt cx="1154200" cy="1494310"/>
          </a:xfrm>
        </p:grpSpPr>
        <p:grpSp>
          <p:nvGrpSpPr>
            <p:cNvPr id="424" name="Gruppieren 423"/>
            <p:cNvGrpSpPr/>
            <p:nvPr/>
          </p:nvGrpSpPr>
          <p:grpSpPr>
            <a:xfrm>
              <a:off x="7763394" y="3408408"/>
              <a:ext cx="1154200" cy="1494310"/>
              <a:chOff x="7763319" y="3408408"/>
              <a:chExt cx="960282" cy="1494310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426" name="Rechteck 425"/>
              <p:cNvSpPr/>
              <p:nvPr/>
            </p:nvSpPr>
            <p:spPr bwMode="auto">
              <a:xfrm rot="399921">
                <a:off x="7931491" y="4427321"/>
                <a:ext cx="639110" cy="208873"/>
              </a:xfrm>
              <a:prstGeom prst="rect">
                <a:avLst/>
              </a:prstGeom>
              <a:solidFill>
                <a:srgbClr val="FFFFFF"/>
              </a:solidFill>
              <a:ln w="9525" cap="flat" cmpd="sng" algn="ctr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  <p:txBody>
              <a:bodyPr vert="horz" wrap="square" lIns="90000" tIns="46800" rIns="90000" bIns="4680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pic>
            <p:nvPicPr>
              <p:cNvPr id="427" name="Picture 19"/>
              <p:cNvPicPr>
                <a:picLocks noChangeAspect="1" noChangeArrowheads="1"/>
              </p:cNvPicPr>
              <p:nvPr/>
            </p:nvPicPr>
            <p:blipFill>
              <a:blip r:embed="rId12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grayscl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rot="370870">
                <a:off x="7763319" y="3408408"/>
                <a:ext cx="960282" cy="14943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425" name="Textfeld 424"/>
            <p:cNvSpPr txBox="1"/>
            <p:nvPr/>
          </p:nvSpPr>
          <p:spPr>
            <a:xfrm rot="376827">
              <a:off x="7849529" y="3506737"/>
              <a:ext cx="999184" cy="126840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rPr>
                <a:t>Next </a:t>
              </a:r>
              <a:r>
                <a:rPr kumimoji="0" lang="de-DE" sz="12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rPr>
                <a:t>Steps</a:t>
              </a:r>
              <a:endParaRPr kumimoji="0" lang="de-DE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rPr>
                <a:t>Package 2: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8D8F92"/>
                </a:buClr>
                <a:buSzPct val="80000"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de-DE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rPr>
                <a:t>Timing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8D8F92"/>
                </a:buClr>
                <a:buSzPct val="80000"/>
                <a:buFont typeface="Wingdings" panose="05000000000000000000" pitchFamily="2" charset="2"/>
                <a:buChar char="§"/>
                <a:tabLst/>
                <a:defRPr/>
              </a:pPr>
              <a:r>
                <a:rPr lang="de-DE" sz="1000" b="0" kern="0" dirty="0" smtClean="0">
                  <a:solidFill>
                    <a:srgbClr val="000000"/>
                  </a:solidFill>
                  <a:latin typeface="CorpoS" pitchFamily="2" charset="0"/>
                  <a:ea typeface="+mn-ea"/>
                </a:rPr>
                <a:t>Dynamic BCs</a:t>
              </a:r>
              <a:endParaRPr kumimoji="0" lang="de-DE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8D8F92"/>
                </a:buClr>
                <a:buSzPct val="80000"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de-DE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rPr>
                <a:t>Areas</a:t>
              </a:r>
              <a:r>
                <a:rPr kumimoji="0" lang="de-DE" sz="1000" b="0" i="0" u="none" strike="noStrike" kern="0" cap="none" spc="0" normalizeH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rPr>
                <a:t> </a:t>
              </a:r>
              <a:r>
                <a:rPr kumimoji="0" lang="de-DE" sz="1000" b="0" i="0" u="none" strike="noStrike" kern="0" cap="none" spc="0" normalizeH="0" noProof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rPr>
                <a:t>of</a:t>
              </a:r>
              <a:r>
                <a:rPr kumimoji="0" lang="de-DE" sz="1000" b="0" i="0" u="none" strike="noStrike" kern="0" cap="none" spc="0" normalizeH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rPr>
                <a:t> </a:t>
              </a:r>
              <a:r>
                <a:rPr kumimoji="0" lang="de-DE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rPr>
                <a:t>BC‘s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8D8F92"/>
                </a:buClr>
                <a:buSzPct val="80000"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de-DE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rPr>
                <a:t>CF‘s</a:t>
              </a:r>
            </a:p>
          </p:txBody>
        </p:sp>
      </p:grpSp>
      <p:sp>
        <p:nvSpPr>
          <p:cNvPr id="215" name="Textfeld 55"/>
          <p:cNvSpPr txBox="1"/>
          <p:nvPr/>
        </p:nvSpPr>
        <p:spPr>
          <a:xfrm>
            <a:off x="4899046" y="2235817"/>
            <a:ext cx="182925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kern="0" dirty="0" smtClean="0">
                <a:solidFill>
                  <a:srgbClr val="FF0000"/>
                </a:solidFill>
                <a:latin typeface="CorpoS" pitchFamily="2" charset="0"/>
                <a:ea typeface="+mn-ea"/>
              </a:rPr>
              <a:t>? Pre small TCMV24.02 ?</a:t>
            </a:r>
          </a:p>
        </p:txBody>
      </p:sp>
      <p:pic>
        <p:nvPicPr>
          <p:cNvPr id="216" name="Picture 7" descr="C:\Users\rsr\Desktop\meeting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96944" y="2478871"/>
            <a:ext cx="264329" cy="264329"/>
          </a:xfrm>
          <a:prstGeom prst="rect">
            <a:avLst/>
          </a:prstGeom>
          <a:solidFill>
            <a:srgbClr val="FF0000"/>
          </a:solidFill>
          <a:ln>
            <a:solidFill>
              <a:srgbClr val="FF0000"/>
            </a:solidFill>
          </a:ln>
          <a:extLst/>
        </p:spPr>
      </p:pic>
      <p:cxnSp>
        <p:nvCxnSpPr>
          <p:cNvPr id="217" name="Gerade Verbindung mit Pfeil 216"/>
          <p:cNvCxnSpPr/>
          <p:nvPr/>
        </p:nvCxnSpPr>
        <p:spPr bwMode="auto">
          <a:xfrm>
            <a:off x="5845792" y="2756296"/>
            <a:ext cx="0" cy="3042833"/>
          </a:xfrm>
          <a:prstGeom prst="straightConnector1">
            <a:avLst/>
          </a:prstGeom>
          <a:solidFill>
            <a:srgbClr val="DDDDDD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 w="med" len="med"/>
          </a:ln>
          <a:effectLst>
            <a:outerShdw blurRad="63500" dist="35921" dir="2700000" algn="ctr" rotWithShape="0">
              <a:schemeClr val="bg2"/>
            </a:outerShdw>
          </a:effectLst>
          <a:extLst/>
        </p:spPr>
      </p:cxnSp>
      <p:grpSp>
        <p:nvGrpSpPr>
          <p:cNvPr id="446" name="Gruppieren 445"/>
          <p:cNvGrpSpPr/>
          <p:nvPr/>
        </p:nvGrpSpPr>
        <p:grpSpPr>
          <a:xfrm rot="940032">
            <a:off x="6152135" y="3103769"/>
            <a:ext cx="1163498" cy="1494310"/>
            <a:chOff x="6116313" y="3420894"/>
            <a:chExt cx="1163498" cy="1494310"/>
          </a:xfrm>
        </p:grpSpPr>
        <p:grpSp>
          <p:nvGrpSpPr>
            <p:cNvPr id="447" name="Gruppieren 446"/>
            <p:cNvGrpSpPr/>
            <p:nvPr/>
          </p:nvGrpSpPr>
          <p:grpSpPr>
            <a:xfrm>
              <a:off x="6116313" y="3420894"/>
              <a:ext cx="1163498" cy="1494310"/>
              <a:chOff x="6116313" y="3420894"/>
              <a:chExt cx="1163498" cy="1494310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449" name="Rechteck 448"/>
              <p:cNvSpPr/>
              <p:nvPr/>
            </p:nvSpPr>
            <p:spPr bwMode="auto">
              <a:xfrm rot="399921">
                <a:off x="6275204" y="4425001"/>
                <a:ext cx="639110" cy="208873"/>
              </a:xfrm>
              <a:prstGeom prst="rect">
                <a:avLst/>
              </a:prstGeom>
              <a:solidFill>
                <a:srgbClr val="FFFFFF"/>
              </a:solidFill>
              <a:ln w="9525" cap="flat" cmpd="sng" algn="ctr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  <p:txBody>
              <a:bodyPr vert="horz" wrap="square" lIns="90000" tIns="46800" rIns="90000" bIns="4680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pic>
            <p:nvPicPr>
              <p:cNvPr id="450" name="Picture 19"/>
              <p:cNvPicPr>
                <a:picLocks noChangeAspect="1" noChangeArrowheads="1"/>
              </p:cNvPicPr>
              <p:nvPr/>
            </p:nvPicPr>
            <p:blipFill>
              <a:blip r:embed="rId4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rot="370870">
                <a:off x="6116313" y="3420894"/>
                <a:ext cx="1163498" cy="14943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448" name="Textfeld 447"/>
            <p:cNvSpPr txBox="1"/>
            <p:nvPr/>
          </p:nvSpPr>
          <p:spPr>
            <a:xfrm rot="376827">
              <a:off x="6183072" y="3507444"/>
              <a:ext cx="999184" cy="126840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8D8F92"/>
                </a:buClr>
                <a:buSzPct val="80000"/>
                <a:tabLst/>
                <a:defRPr/>
              </a:pPr>
              <a:r>
                <a:rPr lang="en-US" sz="1200" b="0" kern="0" dirty="0" smtClean="0">
                  <a:solidFill>
                    <a:srgbClr val="000000"/>
                  </a:solidFill>
                  <a:latin typeface="CorpoS" pitchFamily="2" charset="0"/>
                  <a:ea typeface="+mn-ea"/>
                </a:rPr>
                <a:t>Compromise </a:t>
              </a:r>
              <a:r>
                <a:rPr lang="en-US" sz="1200" b="0" kern="0" dirty="0">
                  <a:solidFill>
                    <a:srgbClr val="000000"/>
                  </a:solidFill>
                  <a:latin typeface="CorpoS" pitchFamily="2" charset="0"/>
                  <a:ea typeface="+mn-ea"/>
                </a:rPr>
                <a:t>1</a:t>
              </a:r>
              <a:r>
                <a:rPr lang="en-US" sz="1050" b="0" kern="0" dirty="0">
                  <a:solidFill>
                    <a:srgbClr val="000000"/>
                  </a:solidFill>
                  <a:latin typeface="CorpoS" pitchFamily="2" charset="0"/>
                  <a:ea typeface="+mn-ea"/>
                </a:rPr>
                <a:t>: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8D8F92"/>
                </a:buClr>
                <a:buSzPct val="80000"/>
                <a:buFont typeface="Wingdings" panose="05000000000000000000" pitchFamily="2" charset="2"/>
                <a:buChar char="§"/>
                <a:tabLst/>
                <a:defRPr/>
              </a:pPr>
              <a:r>
                <a:rPr lang="en-US" sz="1050" b="0" i="1" kern="0" dirty="0" smtClean="0">
                  <a:solidFill>
                    <a:srgbClr val="000000"/>
                  </a:solidFill>
                  <a:latin typeface="CorpoS" pitchFamily="2" charset="0"/>
                  <a:ea typeface="+mn-ea"/>
                </a:rPr>
                <a:t>(Dynamic BCs) </a:t>
              </a:r>
              <a:endParaRPr lang="en-US" sz="1050" b="0" i="1" kern="0" dirty="0">
                <a:solidFill>
                  <a:srgbClr val="000000"/>
                </a:solidFill>
                <a:latin typeface="CorpoS" pitchFamily="2" charset="0"/>
                <a:ea typeface="+mn-ea"/>
              </a:endParaRP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8D8F92"/>
                </a:buClr>
                <a:buSzPct val="80000"/>
                <a:buFont typeface="Wingdings" panose="05000000000000000000" pitchFamily="2" charset="2"/>
                <a:buChar char="§"/>
                <a:tabLst/>
                <a:defRPr/>
              </a:pPr>
              <a:r>
                <a:rPr lang="en-US" sz="1050" b="0" kern="0" dirty="0">
                  <a:solidFill>
                    <a:srgbClr val="000000"/>
                  </a:solidFill>
                  <a:latin typeface="CorpoS" pitchFamily="2" charset="0"/>
                  <a:ea typeface="+mn-ea"/>
                </a:rPr>
                <a:t>2 </a:t>
              </a:r>
              <a:r>
                <a:rPr lang="en-US" sz="1050" b="0" kern="0" dirty="0" smtClean="0">
                  <a:solidFill>
                    <a:srgbClr val="000000"/>
                  </a:solidFill>
                  <a:latin typeface="CorpoS" pitchFamily="2" charset="0"/>
                  <a:ea typeface="+mn-ea"/>
                </a:rPr>
                <a:t>step timing</a:t>
              </a:r>
              <a:endParaRPr lang="en-US" sz="1050" b="0" kern="0" dirty="0">
                <a:solidFill>
                  <a:srgbClr val="000000"/>
                </a:solidFill>
                <a:latin typeface="CorpoS" pitchFamily="2" charset="0"/>
                <a:ea typeface="+mn-ea"/>
              </a:endParaRP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8D8F92"/>
                </a:buClr>
                <a:buSzPct val="80000"/>
                <a:buFont typeface="Wingdings" panose="05000000000000000000" pitchFamily="2" charset="2"/>
                <a:buChar char="§"/>
                <a:tabLst/>
                <a:defRPr/>
              </a:pPr>
              <a:r>
                <a:rPr lang="en-US" sz="1050" b="0" kern="0" dirty="0" smtClean="0">
                  <a:solidFill>
                    <a:srgbClr val="000000"/>
                  </a:solidFill>
                  <a:latin typeface="CorpoS" pitchFamily="2" charset="0"/>
                  <a:ea typeface="+mn-ea"/>
                </a:rPr>
                <a:t>2 step CF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8D8F92"/>
                </a:buClr>
                <a:buSzPct val="80000"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0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rPr>
                <a:t>BC temp</a:t>
              </a:r>
            </a:p>
          </p:txBody>
        </p:sp>
      </p:grpSp>
      <p:cxnSp>
        <p:nvCxnSpPr>
          <p:cNvPr id="4" name="Gerade Verbindung 3"/>
          <p:cNvCxnSpPr>
            <a:stCxn id="450" idx="2"/>
          </p:cNvCxnSpPr>
          <p:nvPr/>
        </p:nvCxnSpPr>
        <p:spPr bwMode="auto">
          <a:xfrm flipH="1" flipV="1">
            <a:off x="6235003" y="4435682"/>
            <a:ext cx="220826" cy="108730"/>
          </a:xfrm>
          <a:prstGeom prst="line">
            <a:avLst/>
          </a:prstGeom>
          <a:solidFill>
            <a:srgbClr val="DDDDDD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2711014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/>
        </p:nvSpPr>
        <p:spPr bwMode="auto">
          <a:xfrm>
            <a:off x="609600" y="1297168"/>
            <a:ext cx="8153399" cy="5256032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180000" tIns="144000" rIns="91440" bIns="45720" numCol="1" rtlCol="0" anchor="t" anchorCtr="0" compatLnSpc="1">
            <a:prstTxWarp prst="textNoShape">
              <a:avLst/>
            </a:prstTxWarp>
          </a:bodyPr>
          <a:lstStyle/>
          <a:p>
            <a:pPr marL="285750" lvl="1" indent="-285750"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Wingdings" panose="05000000000000000000" pitchFamily="2" charset="2"/>
              <a:buChar char="§"/>
            </a:pPr>
            <a:endParaRPr lang="en-US" sz="100" b="0" dirty="0" smtClean="0"/>
          </a:p>
          <a:p>
            <a:pPr marL="285750" lvl="1" indent="-285750"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cs typeface="Arial" panose="020B0604020202020204" pitchFamily="34" charset="0"/>
              </a:rPr>
              <a:t>Target: complete RDE Package vote by TCMV in March 2015</a:t>
            </a:r>
          </a:p>
          <a:p>
            <a:pPr marL="285750" lvl="1" indent="-285750"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Wingdings" panose="05000000000000000000" pitchFamily="2" charset="2"/>
              <a:buChar char="§"/>
            </a:pPr>
            <a:endParaRPr lang="en-US" sz="1400" dirty="0">
              <a:cs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lIns="36000" rIns="36000"/>
          <a:lstStyle/>
          <a:p>
            <a:r>
              <a:rPr lang="de-DE" sz="2400" dirty="0"/>
              <a:t>ACEA Action Plan</a:t>
            </a:r>
            <a:endParaRPr lang="en-US" sz="2600" dirty="0"/>
          </a:p>
        </p:txBody>
      </p:sp>
      <p:sp>
        <p:nvSpPr>
          <p:cNvPr id="9" name="Rechteck 8"/>
          <p:cNvSpPr/>
          <p:nvPr/>
        </p:nvSpPr>
        <p:spPr>
          <a:xfrm>
            <a:off x="807719" y="1127892"/>
            <a:ext cx="3820817" cy="338554"/>
          </a:xfrm>
          <a:prstGeom prst="rect">
            <a:avLst/>
          </a:prstGeom>
          <a:solidFill>
            <a:schemeClr val="bg1"/>
          </a:solidFill>
        </p:spPr>
        <p:txBody>
          <a:bodyPr wrap="square" rIns="0">
            <a:spAutoFit/>
          </a:bodyPr>
          <a:lstStyle/>
          <a:p>
            <a:pPr>
              <a:spcAft>
                <a:spcPts val="300"/>
              </a:spcAft>
              <a:buClr>
                <a:schemeClr val="bg1">
                  <a:lumMod val="65000"/>
                </a:schemeClr>
              </a:buClr>
            </a:pPr>
            <a:r>
              <a:rPr lang="en-US" sz="1600" dirty="0" smtClean="0"/>
              <a:t>ACEA RDE Lobbying – Priority 1</a:t>
            </a:r>
            <a:endParaRPr lang="en-US" sz="1600" dirty="0"/>
          </a:p>
        </p:txBody>
      </p:sp>
      <p:grpSp>
        <p:nvGrpSpPr>
          <p:cNvPr id="225" name="Group 2"/>
          <p:cNvGrpSpPr>
            <a:grpSpLocks/>
          </p:cNvGrpSpPr>
          <p:nvPr/>
        </p:nvGrpSpPr>
        <p:grpSpPr bwMode="auto">
          <a:xfrm>
            <a:off x="647883" y="1810101"/>
            <a:ext cx="8100266" cy="4577516"/>
            <a:chOff x="0" y="2086"/>
            <a:chExt cx="5760" cy="985"/>
          </a:xfrm>
        </p:grpSpPr>
        <p:sp>
          <p:nvSpPr>
            <p:cNvPr id="226" name="Rectangle 3"/>
            <p:cNvSpPr>
              <a:spLocks noChangeArrowheads="1"/>
            </p:cNvSpPr>
            <p:nvPr/>
          </p:nvSpPr>
          <p:spPr bwMode="gray">
            <a:xfrm>
              <a:off x="0" y="2325"/>
              <a:ext cx="5760" cy="746"/>
            </a:xfrm>
            <a:prstGeom prst="rect">
              <a:avLst/>
            </a:prstGeom>
            <a:gradFill rotWithShape="1">
              <a:gsLst>
                <a:gs pos="0">
                  <a:srgbClr val="DDDDDD"/>
                </a:gs>
                <a:gs pos="100000">
                  <a:srgbClr val="FFFFFF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90000" rIns="72000" bIns="90000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b="0" kern="0" smtClean="0">
                <a:solidFill>
                  <a:srgbClr val="000000"/>
                </a:solidFill>
                <a:latin typeface="CorpoS"/>
                <a:ea typeface="+mn-ea"/>
              </a:endParaRPr>
            </a:p>
          </p:txBody>
        </p:sp>
        <p:sp>
          <p:nvSpPr>
            <p:cNvPr id="227" name="Rectangle 4"/>
            <p:cNvSpPr>
              <a:spLocks noChangeArrowheads="1"/>
            </p:cNvSpPr>
            <p:nvPr/>
          </p:nvSpPr>
          <p:spPr bwMode="gray">
            <a:xfrm flipV="1">
              <a:off x="0" y="2086"/>
              <a:ext cx="5760" cy="246"/>
            </a:xfrm>
            <a:prstGeom prst="rect">
              <a:avLst/>
            </a:prstGeom>
            <a:gradFill rotWithShape="1">
              <a:gsLst>
                <a:gs pos="0">
                  <a:srgbClr val="DBDBDB"/>
                </a:gs>
                <a:gs pos="100000">
                  <a:srgbClr val="FFFFFF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10800000" wrap="none" lIns="90000" tIns="90000" rIns="72000" bIns="90000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b="0" kern="0" smtClean="0">
                <a:solidFill>
                  <a:srgbClr val="000000"/>
                </a:solidFill>
                <a:latin typeface="CorpoS"/>
                <a:ea typeface="+mn-ea"/>
              </a:endParaRPr>
            </a:p>
          </p:txBody>
        </p:sp>
      </p:grpSp>
      <p:sp>
        <p:nvSpPr>
          <p:cNvPr id="228" name="Textplatzhalter 2"/>
          <p:cNvSpPr txBox="1">
            <a:spLocks/>
          </p:cNvSpPr>
          <p:nvPr/>
        </p:nvSpPr>
        <p:spPr>
          <a:xfrm>
            <a:off x="727660" y="2305393"/>
            <a:ext cx="2398139" cy="373989"/>
          </a:xfrm>
          <a:prstGeom prst="rect">
            <a:avLst/>
          </a:prstGeom>
          <a:noFill/>
        </p:spPr>
        <p:txBody>
          <a:bodyPr vert="horz" lIns="0" tIns="0" rIns="0" bIns="0" rtlCol="0"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C0C0"/>
              </a:buClr>
              <a:buSzTx/>
              <a:buFontTx/>
              <a:buNone/>
              <a:tabLst/>
              <a:defRPr sz="1400" b="1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184150" marR="0" indent="-1841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C0C0"/>
              </a:buClr>
              <a:buSzTx/>
              <a:buFont typeface="Arial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361950" marR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C0C0"/>
              </a:buClr>
              <a:buSzTx/>
              <a:buFont typeface="Symbol" pitchFamily="18" charset="2"/>
              <a:buChar char="-"/>
              <a:tabLst/>
              <a:defRPr sz="1400" b="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3pPr>
            <a:lvl4pPr marL="542925" marR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C0C0"/>
              </a:buClr>
              <a:buSzTx/>
              <a:buFont typeface="Arial" pitchFamily="34" charset="0"/>
              <a:buChar char="•"/>
              <a:tabLst/>
              <a:defRPr sz="1400" b="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4pPr>
            <a:lvl5pPr marL="715963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C0C0"/>
              </a:buClr>
              <a:buSzTx/>
              <a:buFont typeface="Symbol" pitchFamily="18" charset="2"/>
              <a:buChar char="-"/>
              <a:tabLst/>
              <a:defRPr sz="1400" kern="1200" baseline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5pPr>
            <a:lvl6pPr marL="1520825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97050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062163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328863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0"/>
              </a:spcAft>
              <a:defRPr/>
            </a:pPr>
            <a:r>
              <a:rPr lang="en-US" sz="1100" kern="0" dirty="0" smtClean="0">
                <a:solidFill>
                  <a:srgbClr val="404040"/>
                </a:solidFill>
                <a:cs typeface="Times New Roman"/>
              </a:rPr>
              <a:t>  ACEA </a:t>
            </a:r>
            <a:r>
              <a:rPr lang="en-US" sz="1100" kern="0" dirty="0">
                <a:solidFill>
                  <a:srgbClr val="404040"/>
                </a:solidFill>
                <a:cs typeface="Times New Roman"/>
              </a:rPr>
              <a:t>RDE regulation draft</a:t>
            </a:r>
          </a:p>
        </p:txBody>
      </p:sp>
      <p:sp>
        <p:nvSpPr>
          <p:cNvPr id="229" name="Rechteck 228"/>
          <p:cNvSpPr/>
          <p:nvPr/>
        </p:nvSpPr>
        <p:spPr>
          <a:xfrm>
            <a:off x="727660" y="2053916"/>
            <a:ext cx="2371335" cy="180734"/>
          </a:xfrm>
          <a:prstGeom prst="rect">
            <a:avLst/>
          </a:prstGeom>
          <a:solidFill>
            <a:srgbClr val="EAEAEA"/>
          </a:solidFill>
          <a:ln w="3175" cap="flat" cmpd="sng" algn="ctr">
            <a:noFill/>
            <a:prstDash val="solid"/>
          </a:ln>
          <a:effectLst/>
        </p:spPr>
        <p:txBody>
          <a:bodyPr wrap="none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kern="0" dirty="0">
                <a:solidFill>
                  <a:srgbClr val="404040"/>
                </a:solidFill>
                <a:latin typeface="Calibri"/>
                <a:cs typeface="Calibri" pitchFamily="34" charset="0"/>
              </a:rPr>
              <a:t>Activities</a:t>
            </a:r>
          </a:p>
        </p:txBody>
      </p:sp>
      <p:cxnSp>
        <p:nvCxnSpPr>
          <p:cNvPr id="230" name="Gerade Verbindung 229"/>
          <p:cNvCxnSpPr/>
          <p:nvPr/>
        </p:nvCxnSpPr>
        <p:spPr>
          <a:xfrm>
            <a:off x="8744719" y="1810101"/>
            <a:ext cx="3429" cy="4574715"/>
          </a:xfrm>
          <a:prstGeom prst="line">
            <a:avLst/>
          </a:prstGeom>
          <a:noFill/>
          <a:ln w="9525" cap="flat" cmpd="sng" algn="ctr">
            <a:solidFill>
              <a:srgbClr val="808080"/>
            </a:solidFill>
            <a:prstDash val="solid"/>
          </a:ln>
          <a:effectLst/>
        </p:spPr>
      </p:cxnSp>
      <p:sp>
        <p:nvSpPr>
          <p:cNvPr id="231" name="Rechteck 230"/>
          <p:cNvSpPr/>
          <p:nvPr/>
        </p:nvSpPr>
        <p:spPr>
          <a:xfrm>
            <a:off x="4072442" y="1810101"/>
            <a:ext cx="4651159" cy="199794"/>
          </a:xfrm>
          <a:prstGeom prst="rect">
            <a:avLst/>
          </a:prstGeom>
          <a:solidFill>
            <a:srgbClr val="69A2E1"/>
          </a:solidFill>
          <a:ln w="3175" cap="flat" cmpd="sng" algn="ctr">
            <a:noFill/>
            <a:prstDash val="solid"/>
          </a:ln>
          <a:effectLst/>
        </p:spPr>
        <p:txBody>
          <a:bodyPr wrap="none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kern="0" dirty="0" smtClean="0">
                <a:solidFill>
                  <a:srgbClr val="FFFFFF"/>
                </a:solidFill>
                <a:latin typeface="Calibri"/>
                <a:ea typeface="+mn-ea"/>
                <a:cs typeface="Calibri" pitchFamily="34" charset="0"/>
              </a:rPr>
              <a:t>2015</a:t>
            </a:r>
          </a:p>
        </p:txBody>
      </p:sp>
      <p:cxnSp>
        <p:nvCxnSpPr>
          <p:cNvPr id="232" name="Gerade Verbindung 231"/>
          <p:cNvCxnSpPr/>
          <p:nvPr/>
        </p:nvCxnSpPr>
        <p:spPr>
          <a:xfrm>
            <a:off x="6860372" y="2157180"/>
            <a:ext cx="0" cy="4227636"/>
          </a:xfrm>
          <a:prstGeom prst="line">
            <a:avLst/>
          </a:prstGeom>
          <a:noFill/>
          <a:ln w="9525" cap="flat" cmpd="sng" algn="ctr">
            <a:solidFill>
              <a:srgbClr val="C0C0C0"/>
            </a:solidFill>
            <a:prstDash val="solid"/>
          </a:ln>
          <a:effectLst/>
        </p:spPr>
      </p:cxnSp>
      <p:cxnSp>
        <p:nvCxnSpPr>
          <p:cNvPr id="233" name="Gerade Verbindung 232"/>
          <p:cNvCxnSpPr/>
          <p:nvPr/>
        </p:nvCxnSpPr>
        <p:spPr>
          <a:xfrm flipH="1">
            <a:off x="7781149" y="2157180"/>
            <a:ext cx="23601" cy="4227636"/>
          </a:xfrm>
          <a:prstGeom prst="line">
            <a:avLst/>
          </a:prstGeom>
          <a:noFill/>
          <a:ln w="9525" cap="flat" cmpd="sng" algn="ctr">
            <a:solidFill>
              <a:srgbClr val="C0C0C0"/>
            </a:solidFill>
            <a:prstDash val="solid"/>
          </a:ln>
          <a:effectLst/>
        </p:spPr>
      </p:cxnSp>
      <p:cxnSp>
        <p:nvCxnSpPr>
          <p:cNvPr id="234" name="Gerade Verbindung 233"/>
          <p:cNvCxnSpPr/>
          <p:nvPr/>
        </p:nvCxnSpPr>
        <p:spPr>
          <a:xfrm>
            <a:off x="4975614" y="2157180"/>
            <a:ext cx="0" cy="4227636"/>
          </a:xfrm>
          <a:prstGeom prst="line">
            <a:avLst/>
          </a:prstGeom>
          <a:noFill/>
          <a:ln w="9525" cap="flat" cmpd="sng" algn="ctr">
            <a:solidFill>
              <a:srgbClr val="C0C0C0"/>
            </a:solidFill>
            <a:prstDash val="solid"/>
          </a:ln>
          <a:effectLst/>
        </p:spPr>
      </p:cxnSp>
      <p:cxnSp>
        <p:nvCxnSpPr>
          <p:cNvPr id="235" name="Gerade Verbindung 234"/>
          <p:cNvCxnSpPr/>
          <p:nvPr/>
        </p:nvCxnSpPr>
        <p:spPr>
          <a:xfrm>
            <a:off x="735224" y="2275265"/>
            <a:ext cx="8012924" cy="0"/>
          </a:xfrm>
          <a:prstGeom prst="line">
            <a:avLst/>
          </a:prstGeom>
          <a:noFill/>
          <a:ln w="9525" cap="flat" cmpd="sng" algn="ctr">
            <a:solidFill>
              <a:srgbClr val="C0C0C0"/>
            </a:solidFill>
            <a:prstDash val="solid"/>
          </a:ln>
          <a:effectLst/>
        </p:spPr>
      </p:cxnSp>
      <p:sp>
        <p:nvSpPr>
          <p:cNvPr id="236" name="Rechteck 235"/>
          <p:cNvSpPr/>
          <p:nvPr/>
        </p:nvSpPr>
        <p:spPr>
          <a:xfrm>
            <a:off x="4072442" y="2053916"/>
            <a:ext cx="881355" cy="180734"/>
          </a:xfrm>
          <a:prstGeom prst="rect">
            <a:avLst/>
          </a:prstGeom>
          <a:solidFill>
            <a:srgbClr val="EAEAEA"/>
          </a:solidFill>
          <a:ln w="3175" cap="flat" cmpd="sng" algn="ctr">
            <a:noFill/>
            <a:prstDash val="solid"/>
          </a:ln>
          <a:effectLst/>
        </p:spPr>
        <p:txBody>
          <a:bodyPr wrap="none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b="0" kern="0" dirty="0" smtClean="0">
                <a:solidFill>
                  <a:srgbClr val="404040"/>
                </a:solidFill>
                <a:latin typeface="Calibri"/>
                <a:ea typeface="+mn-ea"/>
                <a:cs typeface="Calibri" pitchFamily="34" charset="0"/>
              </a:rPr>
              <a:t>Jan</a:t>
            </a:r>
          </a:p>
        </p:txBody>
      </p:sp>
      <p:cxnSp>
        <p:nvCxnSpPr>
          <p:cNvPr id="238" name="Gerade Verbindung 237"/>
          <p:cNvCxnSpPr/>
          <p:nvPr/>
        </p:nvCxnSpPr>
        <p:spPr>
          <a:xfrm>
            <a:off x="735224" y="2717923"/>
            <a:ext cx="8009491" cy="0"/>
          </a:xfrm>
          <a:prstGeom prst="line">
            <a:avLst/>
          </a:prstGeom>
          <a:noFill/>
          <a:ln w="9525" cap="flat" cmpd="sng" algn="ctr">
            <a:solidFill>
              <a:srgbClr val="C0C0C0"/>
            </a:solidFill>
            <a:prstDash val="solid"/>
          </a:ln>
          <a:effectLst/>
        </p:spPr>
      </p:cxnSp>
      <p:sp>
        <p:nvSpPr>
          <p:cNvPr id="239" name="Textplatzhalter 2"/>
          <p:cNvSpPr txBox="1">
            <a:spLocks/>
          </p:cNvSpPr>
          <p:nvPr/>
        </p:nvSpPr>
        <p:spPr>
          <a:xfrm>
            <a:off x="727660" y="3243900"/>
            <a:ext cx="2398139" cy="362906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C0C0"/>
              </a:buClr>
              <a:buSzTx/>
              <a:buFontTx/>
              <a:buNone/>
              <a:tabLst/>
              <a:defRPr sz="1400" b="1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184150" marR="0" indent="-1841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C0C0"/>
              </a:buClr>
              <a:buSzTx/>
              <a:buFont typeface="Arial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361950" marR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C0C0"/>
              </a:buClr>
              <a:buSzTx/>
              <a:buFont typeface="Symbol" pitchFamily="18" charset="2"/>
              <a:buChar char="-"/>
              <a:tabLst/>
              <a:defRPr sz="1400" b="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3pPr>
            <a:lvl4pPr marL="542925" marR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C0C0"/>
              </a:buClr>
              <a:buSzTx/>
              <a:buFont typeface="Arial" pitchFamily="34" charset="0"/>
              <a:buChar char="•"/>
              <a:tabLst/>
              <a:defRPr sz="1400" b="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4pPr>
            <a:lvl5pPr marL="715963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C0C0"/>
              </a:buClr>
              <a:buSzTx/>
              <a:buFont typeface="Symbol" pitchFamily="18" charset="2"/>
              <a:buChar char="-"/>
              <a:tabLst/>
              <a:defRPr sz="1400" kern="1200" baseline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5pPr>
            <a:lvl6pPr marL="1520825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97050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062163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328863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0"/>
              </a:spcAft>
              <a:defRPr/>
            </a:pPr>
            <a:r>
              <a:rPr lang="en-US" sz="1100" kern="0" dirty="0" smtClean="0">
                <a:solidFill>
                  <a:srgbClr val="404040"/>
                </a:solidFill>
                <a:cs typeface="Times New Roman"/>
              </a:rPr>
              <a:t>  ACEA </a:t>
            </a:r>
            <a:r>
              <a:rPr lang="en-US" sz="1100" kern="0" dirty="0">
                <a:solidFill>
                  <a:srgbClr val="404040"/>
                </a:solidFill>
                <a:cs typeface="Times New Roman"/>
              </a:rPr>
              <a:t>Topics</a:t>
            </a:r>
          </a:p>
        </p:txBody>
      </p:sp>
      <p:sp>
        <p:nvSpPr>
          <p:cNvPr id="240" name="Textplatzhalter 2"/>
          <p:cNvSpPr txBox="1">
            <a:spLocks/>
          </p:cNvSpPr>
          <p:nvPr/>
        </p:nvSpPr>
        <p:spPr>
          <a:xfrm>
            <a:off x="859959" y="3493927"/>
            <a:ext cx="2275388" cy="362906"/>
          </a:xfrm>
          <a:prstGeom prst="rect">
            <a:avLst/>
          </a:prstGeom>
          <a:noFill/>
        </p:spPr>
        <p:txBody>
          <a:bodyPr vert="horz" lIns="0" tIns="0" rIns="0" bIns="0" rtlCol="0"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C0C0"/>
              </a:buClr>
              <a:buSzTx/>
              <a:buFontTx/>
              <a:buNone/>
              <a:tabLst/>
              <a:defRPr sz="1400" b="1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184150" marR="0" indent="-1841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C0C0"/>
              </a:buClr>
              <a:buSzTx/>
              <a:buFont typeface="Arial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361950" marR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C0C0"/>
              </a:buClr>
              <a:buSzTx/>
              <a:buFont typeface="Symbol" pitchFamily="18" charset="2"/>
              <a:buChar char="-"/>
              <a:tabLst/>
              <a:defRPr sz="1400" b="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3pPr>
            <a:lvl4pPr marL="542925" marR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C0C0"/>
              </a:buClr>
              <a:buSzTx/>
              <a:buFont typeface="Arial" pitchFamily="34" charset="0"/>
              <a:buChar char="•"/>
              <a:tabLst/>
              <a:defRPr sz="1400" b="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4pPr>
            <a:lvl5pPr marL="715963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C0C0"/>
              </a:buClr>
              <a:buSzTx/>
              <a:buFont typeface="Symbol" pitchFamily="18" charset="2"/>
              <a:buChar char="-"/>
              <a:tabLst/>
              <a:defRPr sz="1400" kern="1200" baseline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5pPr>
            <a:lvl6pPr marL="1520825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97050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062163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328863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0"/>
              </a:spcAft>
              <a:defRPr/>
            </a:pPr>
            <a:r>
              <a:rPr lang="en-US" sz="1100" b="0" kern="0" dirty="0">
                <a:solidFill>
                  <a:srgbClr val="404040"/>
                </a:solidFill>
                <a:cs typeface="Times New Roman"/>
              </a:rPr>
              <a:t>- compromise proposal   ACEA &amp; </a:t>
            </a:r>
            <a:r>
              <a:rPr lang="en-US" sz="1100" b="0" kern="0" dirty="0" smtClean="0">
                <a:solidFill>
                  <a:srgbClr val="404040"/>
                </a:solidFill>
                <a:cs typeface="Times New Roman"/>
              </a:rPr>
              <a:t>JAMA</a:t>
            </a:r>
            <a:endParaRPr lang="en-US" sz="1100" b="0" kern="0" dirty="0">
              <a:solidFill>
                <a:srgbClr val="404040"/>
              </a:solidFill>
              <a:cs typeface="Times New Roman"/>
            </a:endParaRPr>
          </a:p>
        </p:txBody>
      </p:sp>
      <p:sp>
        <p:nvSpPr>
          <p:cNvPr id="241" name="Rechteck 240"/>
          <p:cNvSpPr/>
          <p:nvPr/>
        </p:nvSpPr>
        <p:spPr>
          <a:xfrm>
            <a:off x="5014893" y="2053916"/>
            <a:ext cx="881355" cy="180734"/>
          </a:xfrm>
          <a:prstGeom prst="rect">
            <a:avLst/>
          </a:prstGeom>
          <a:solidFill>
            <a:srgbClr val="EAEAEA"/>
          </a:solidFill>
          <a:ln w="3175" cap="flat" cmpd="sng" algn="ctr">
            <a:noFill/>
            <a:prstDash val="solid"/>
          </a:ln>
          <a:effectLst/>
        </p:spPr>
        <p:txBody>
          <a:bodyPr wrap="none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b="0" kern="0" dirty="0" smtClean="0">
                <a:solidFill>
                  <a:srgbClr val="404040"/>
                </a:solidFill>
                <a:latin typeface="Calibri"/>
                <a:ea typeface="+mn-ea"/>
                <a:cs typeface="Calibri" pitchFamily="34" charset="0"/>
              </a:rPr>
              <a:t>Feb</a:t>
            </a:r>
          </a:p>
        </p:txBody>
      </p:sp>
      <p:sp>
        <p:nvSpPr>
          <p:cNvPr id="242" name="Rechteck 241"/>
          <p:cNvSpPr/>
          <p:nvPr/>
        </p:nvSpPr>
        <p:spPr>
          <a:xfrm>
            <a:off x="5957343" y="2053916"/>
            <a:ext cx="881355" cy="180734"/>
          </a:xfrm>
          <a:prstGeom prst="rect">
            <a:avLst/>
          </a:prstGeom>
          <a:solidFill>
            <a:srgbClr val="EAEAEA"/>
          </a:solidFill>
          <a:ln w="3175" cap="flat" cmpd="sng" algn="ctr">
            <a:noFill/>
            <a:prstDash val="solid"/>
          </a:ln>
          <a:effectLst/>
        </p:spPr>
        <p:txBody>
          <a:bodyPr wrap="none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b="0" kern="0" dirty="0" smtClean="0">
                <a:solidFill>
                  <a:srgbClr val="404040"/>
                </a:solidFill>
                <a:latin typeface="Calibri"/>
                <a:ea typeface="+mn-ea"/>
                <a:cs typeface="Calibri" pitchFamily="34" charset="0"/>
              </a:rPr>
              <a:t>Mrz</a:t>
            </a:r>
          </a:p>
        </p:txBody>
      </p:sp>
      <p:sp>
        <p:nvSpPr>
          <p:cNvPr id="243" name="Rechteck 242"/>
          <p:cNvSpPr/>
          <p:nvPr/>
        </p:nvSpPr>
        <p:spPr>
          <a:xfrm>
            <a:off x="7842245" y="2053916"/>
            <a:ext cx="881355" cy="180734"/>
          </a:xfrm>
          <a:prstGeom prst="rect">
            <a:avLst/>
          </a:prstGeom>
          <a:solidFill>
            <a:srgbClr val="EAEAEA"/>
          </a:solidFill>
          <a:ln w="3175" cap="flat" cmpd="sng" algn="ctr">
            <a:noFill/>
            <a:prstDash val="solid"/>
          </a:ln>
          <a:effectLst/>
        </p:spPr>
        <p:txBody>
          <a:bodyPr wrap="none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b="0" kern="0" dirty="0" smtClean="0">
                <a:solidFill>
                  <a:srgbClr val="404040"/>
                </a:solidFill>
                <a:latin typeface="Calibri"/>
                <a:ea typeface="+mn-ea"/>
                <a:cs typeface="Calibri" pitchFamily="34" charset="0"/>
              </a:rPr>
              <a:t>Mai</a:t>
            </a:r>
          </a:p>
        </p:txBody>
      </p:sp>
      <p:sp>
        <p:nvSpPr>
          <p:cNvPr id="244" name="Rechteck 243"/>
          <p:cNvSpPr/>
          <p:nvPr/>
        </p:nvSpPr>
        <p:spPr>
          <a:xfrm>
            <a:off x="6899794" y="2053916"/>
            <a:ext cx="881355" cy="180734"/>
          </a:xfrm>
          <a:prstGeom prst="rect">
            <a:avLst/>
          </a:prstGeom>
          <a:solidFill>
            <a:srgbClr val="EAEAEA"/>
          </a:solidFill>
          <a:ln w="3175" cap="flat" cmpd="sng" algn="ctr">
            <a:noFill/>
            <a:prstDash val="solid"/>
          </a:ln>
          <a:effectLst/>
        </p:spPr>
        <p:txBody>
          <a:bodyPr wrap="none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b="0" kern="0" dirty="0" smtClean="0">
                <a:solidFill>
                  <a:srgbClr val="404040"/>
                </a:solidFill>
                <a:latin typeface="Calibri"/>
                <a:ea typeface="+mn-ea"/>
                <a:cs typeface="Calibri" pitchFamily="34" charset="0"/>
              </a:rPr>
              <a:t>Apr</a:t>
            </a:r>
          </a:p>
        </p:txBody>
      </p:sp>
      <p:sp>
        <p:nvSpPr>
          <p:cNvPr id="245" name="Textplatzhalter 2"/>
          <p:cNvSpPr txBox="1">
            <a:spLocks/>
          </p:cNvSpPr>
          <p:nvPr/>
        </p:nvSpPr>
        <p:spPr>
          <a:xfrm>
            <a:off x="846444" y="3910037"/>
            <a:ext cx="2279356" cy="597175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C0C0"/>
              </a:buClr>
              <a:buSzTx/>
              <a:buFontTx/>
              <a:buNone/>
              <a:tabLst/>
              <a:defRPr sz="1400" b="1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184150" marR="0" indent="-1841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C0C0"/>
              </a:buClr>
              <a:buSzTx/>
              <a:buFont typeface="Arial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361950" marR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C0C0"/>
              </a:buClr>
              <a:buSzTx/>
              <a:buFont typeface="Symbol" pitchFamily="18" charset="2"/>
              <a:buChar char="-"/>
              <a:tabLst/>
              <a:defRPr sz="1400" b="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3pPr>
            <a:lvl4pPr marL="542925" marR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C0C0"/>
              </a:buClr>
              <a:buSzTx/>
              <a:buFont typeface="Arial" pitchFamily="34" charset="0"/>
              <a:buChar char="•"/>
              <a:tabLst/>
              <a:defRPr sz="1400" b="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4pPr>
            <a:lvl5pPr marL="715963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C0C0"/>
              </a:buClr>
              <a:buSzTx/>
              <a:buFont typeface="Symbol" pitchFamily="18" charset="2"/>
              <a:buChar char="-"/>
              <a:tabLst/>
              <a:defRPr sz="1400" kern="1200" baseline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5pPr>
            <a:lvl6pPr marL="1520825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97050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062163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328863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200"/>
              </a:lnSpc>
              <a:spcAft>
                <a:spcPts val="0"/>
              </a:spcAft>
              <a:defRPr/>
            </a:pPr>
            <a:r>
              <a:rPr lang="en-US" sz="1100" b="0" kern="0" dirty="0" smtClean="0">
                <a:solidFill>
                  <a:srgbClr val="404040"/>
                </a:solidFill>
                <a:cs typeface="Times New Roman"/>
              </a:rPr>
              <a:t>- Technical Task Force Team for dynamic BCs &amp; CFs (ACEA Experts Carsten Nagel, EU COM, Hausberger, Steven, JRC, TÜV NORD)</a:t>
            </a:r>
            <a:endParaRPr lang="en-US" sz="1100" b="0" i="1" kern="0" dirty="0">
              <a:solidFill>
                <a:srgbClr val="404040"/>
              </a:solidFill>
              <a:cs typeface="Times New Roman"/>
            </a:endParaRPr>
          </a:p>
        </p:txBody>
      </p:sp>
      <p:sp>
        <p:nvSpPr>
          <p:cNvPr id="246" name="Textplatzhalter 2"/>
          <p:cNvSpPr txBox="1">
            <a:spLocks/>
          </p:cNvSpPr>
          <p:nvPr/>
        </p:nvSpPr>
        <p:spPr>
          <a:xfrm>
            <a:off x="727660" y="4589960"/>
            <a:ext cx="2398139" cy="362906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C0C0"/>
              </a:buClr>
              <a:buSzTx/>
              <a:buFontTx/>
              <a:buNone/>
              <a:tabLst/>
              <a:defRPr sz="1400" b="1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184150" marR="0" indent="-1841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C0C0"/>
              </a:buClr>
              <a:buSzTx/>
              <a:buFont typeface="Arial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361950" marR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C0C0"/>
              </a:buClr>
              <a:buSzTx/>
              <a:buFont typeface="Symbol" pitchFamily="18" charset="2"/>
              <a:buChar char="-"/>
              <a:tabLst/>
              <a:defRPr sz="1400" b="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3pPr>
            <a:lvl4pPr marL="542925" marR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C0C0"/>
              </a:buClr>
              <a:buSzTx/>
              <a:buFont typeface="Arial" pitchFamily="34" charset="0"/>
              <a:buChar char="•"/>
              <a:tabLst/>
              <a:defRPr sz="1400" b="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4pPr>
            <a:lvl5pPr marL="715963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C0C0"/>
              </a:buClr>
              <a:buSzTx/>
              <a:buFont typeface="Symbol" pitchFamily="18" charset="2"/>
              <a:buChar char="-"/>
              <a:tabLst/>
              <a:defRPr sz="1400" kern="1200" baseline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5pPr>
            <a:lvl6pPr marL="1520825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97050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062163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328863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Aft>
                <a:spcPts val="0"/>
              </a:spcAft>
              <a:defRPr/>
            </a:pPr>
            <a:r>
              <a:rPr lang="en-US" sz="1100" kern="0" dirty="0" smtClean="0">
                <a:solidFill>
                  <a:srgbClr val="404040"/>
                </a:solidFill>
                <a:cs typeface="Times New Roman"/>
              </a:rPr>
              <a:t>ACEA lobby activities </a:t>
            </a:r>
            <a:r>
              <a:rPr kumimoji="0" lang="en-US" sz="1100" b="1" i="0" u="none" strike="noStrike" kern="0" cap="none" spc="0" normalizeH="0" baseline="0" noProof="0" dirty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cs typeface="Times New Roman"/>
              </a:rPr>
              <a:t>&amp; Next Step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0C0C0"/>
              </a:buClr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cs typeface="Times New Roman"/>
              </a:rPr>
              <a:t>     </a:t>
            </a:r>
            <a:endParaRPr kumimoji="0" lang="en-US" sz="1100" b="0" i="0" u="none" strike="noStrike" kern="1200" cap="none" spc="0" normalizeH="0" baseline="0" noProof="0" dirty="0" smtClean="0">
              <a:ln>
                <a:noFill/>
              </a:ln>
              <a:solidFill>
                <a:srgbClr val="404040"/>
              </a:solidFill>
              <a:effectLst/>
              <a:uLnTx/>
              <a:uFillTx/>
            </a:endParaRPr>
          </a:p>
        </p:txBody>
      </p:sp>
      <p:sp>
        <p:nvSpPr>
          <p:cNvPr id="247" name="Textplatzhalter 2"/>
          <p:cNvSpPr txBox="1">
            <a:spLocks/>
          </p:cNvSpPr>
          <p:nvPr/>
        </p:nvSpPr>
        <p:spPr>
          <a:xfrm>
            <a:off x="863222" y="4828262"/>
            <a:ext cx="2262577" cy="362906"/>
          </a:xfrm>
          <a:prstGeom prst="rect">
            <a:avLst/>
          </a:prstGeom>
          <a:noFill/>
        </p:spPr>
        <p:txBody>
          <a:bodyPr vert="horz" lIns="0" tIns="0" rIns="0" bIns="0" rtlCol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C0C0"/>
              </a:buClr>
              <a:buSzTx/>
              <a:buFontTx/>
              <a:buNone/>
              <a:tabLst/>
              <a:defRPr sz="1400" b="1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184150" marR="0" indent="-1841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C0C0"/>
              </a:buClr>
              <a:buSzTx/>
              <a:buFont typeface="Arial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361950" marR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C0C0"/>
              </a:buClr>
              <a:buSzTx/>
              <a:buFont typeface="Symbol" pitchFamily="18" charset="2"/>
              <a:buChar char="-"/>
              <a:tabLst/>
              <a:defRPr sz="1400" b="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3pPr>
            <a:lvl4pPr marL="542925" marR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C0C0"/>
              </a:buClr>
              <a:buSzTx/>
              <a:buFont typeface="Arial" pitchFamily="34" charset="0"/>
              <a:buChar char="•"/>
              <a:tabLst/>
              <a:defRPr sz="1400" b="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4pPr>
            <a:lvl5pPr marL="715963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C0C0"/>
              </a:buClr>
              <a:buSzTx/>
              <a:buFont typeface="Symbol" pitchFamily="18" charset="2"/>
              <a:buChar char="-"/>
              <a:tabLst/>
              <a:defRPr sz="1400" kern="1200" baseline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5pPr>
            <a:lvl6pPr marL="1520825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97050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062163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328863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0"/>
              </a:spcAft>
              <a:defRPr/>
            </a:pPr>
            <a:r>
              <a:rPr lang="de-DE" sz="1100" b="0" kern="0" dirty="0" smtClean="0">
                <a:solidFill>
                  <a:srgbClr val="404040"/>
                </a:solidFill>
                <a:cs typeface="Times New Roman"/>
              </a:rPr>
              <a:t> - </a:t>
            </a:r>
            <a:r>
              <a:rPr lang="en-US" sz="1100" b="0" kern="0" dirty="0">
                <a:solidFill>
                  <a:srgbClr val="404040"/>
                </a:solidFill>
                <a:cs typeface="Times New Roman"/>
              </a:rPr>
              <a:t>ACEA RDE draft  of 17.12. distribute to MS</a:t>
            </a:r>
            <a:endParaRPr lang="de-DE" sz="1100" b="0" kern="0" dirty="0">
              <a:solidFill>
                <a:srgbClr val="404040"/>
              </a:solidFill>
              <a:cs typeface="Times New Roman"/>
            </a:endParaRPr>
          </a:p>
        </p:txBody>
      </p:sp>
      <p:cxnSp>
        <p:nvCxnSpPr>
          <p:cNvPr id="248" name="Gerade Verbindung 247"/>
          <p:cNvCxnSpPr/>
          <p:nvPr/>
        </p:nvCxnSpPr>
        <p:spPr>
          <a:xfrm>
            <a:off x="863222" y="5738593"/>
            <a:ext cx="7865162" cy="0"/>
          </a:xfrm>
          <a:prstGeom prst="line">
            <a:avLst/>
          </a:prstGeom>
          <a:noFill/>
          <a:ln w="9525" cap="flat" cmpd="sng" algn="ctr">
            <a:solidFill>
              <a:srgbClr val="C0C0C0"/>
            </a:solidFill>
            <a:prstDash val="solid"/>
          </a:ln>
          <a:effectLst/>
        </p:spPr>
      </p:cxnSp>
      <p:sp>
        <p:nvSpPr>
          <p:cNvPr id="249" name="Textplatzhalter 2"/>
          <p:cNvSpPr txBox="1">
            <a:spLocks/>
          </p:cNvSpPr>
          <p:nvPr/>
        </p:nvSpPr>
        <p:spPr>
          <a:xfrm>
            <a:off x="868348" y="5269539"/>
            <a:ext cx="2263313" cy="362906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C0C0"/>
              </a:buClr>
              <a:buSzTx/>
              <a:buFontTx/>
              <a:buNone/>
              <a:tabLst/>
              <a:defRPr sz="1400" b="1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184150" marR="0" indent="-1841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C0C0"/>
              </a:buClr>
              <a:buSzTx/>
              <a:buFont typeface="Arial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361950" marR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C0C0"/>
              </a:buClr>
              <a:buSzTx/>
              <a:buFont typeface="Symbol" pitchFamily="18" charset="2"/>
              <a:buChar char="-"/>
              <a:tabLst/>
              <a:defRPr sz="1400" b="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3pPr>
            <a:lvl4pPr marL="542925" marR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C0C0"/>
              </a:buClr>
              <a:buSzTx/>
              <a:buFont typeface="Arial" pitchFamily="34" charset="0"/>
              <a:buChar char="•"/>
              <a:tabLst/>
              <a:defRPr sz="1400" b="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4pPr>
            <a:lvl5pPr marL="715963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C0C0"/>
              </a:buClr>
              <a:buSzTx/>
              <a:buFont typeface="Symbol" pitchFamily="18" charset="2"/>
              <a:buChar char="-"/>
              <a:tabLst/>
              <a:defRPr sz="1400" kern="1200" baseline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5pPr>
            <a:lvl6pPr marL="1520825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97050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062163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328863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200"/>
              </a:lnSpc>
              <a:spcAft>
                <a:spcPts val="0"/>
              </a:spcAft>
              <a:defRPr/>
            </a:pPr>
            <a:r>
              <a:rPr lang="en-US" sz="1100" b="0" kern="0" dirty="0" smtClean="0">
                <a:solidFill>
                  <a:srgbClr val="404040"/>
                </a:solidFill>
                <a:cs typeface="Times New Roman"/>
              </a:rPr>
              <a:t>- ACEA compromise discussion with     EU COM ( ACEA Delegation, Mr. Jean, Mr. Steininger …)</a:t>
            </a:r>
            <a:endParaRPr lang="en-US" sz="1100" b="0" kern="0" dirty="0">
              <a:solidFill>
                <a:srgbClr val="404040"/>
              </a:solidFill>
              <a:cs typeface="Times New Roman"/>
            </a:endParaRPr>
          </a:p>
        </p:txBody>
      </p:sp>
      <p:sp>
        <p:nvSpPr>
          <p:cNvPr id="250" name="Textplatzhalter 2"/>
          <p:cNvSpPr txBox="1">
            <a:spLocks/>
          </p:cNvSpPr>
          <p:nvPr/>
        </p:nvSpPr>
        <p:spPr>
          <a:xfrm>
            <a:off x="857361" y="5736712"/>
            <a:ext cx="2291722" cy="362906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C0C0"/>
              </a:buClr>
              <a:buSzTx/>
              <a:buFontTx/>
              <a:buNone/>
              <a:tabLst/>
              <a:defRPr sz="1400" b="1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184150" marR="0" indent="-1841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C0C0"/>
              </a:buClr>
              <a:buSzTx/>
              <a:buFont typeface="Arial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361950" marR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C0C0"/>
              </a:buClr>
              <a:buSzTx/>
              <a:buFont typeface="Symbol" pitchFamily="18" charset="2"/>
              <a:buChar char="-"/>
              <a:tabLst/>
              <a:defRPr sz="1400" b="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3pPr>
            <a:lvl4pPr marL="542925" marR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C0C0"/>
              </a:buClr>
              <a:buSzTx/>
              <a:buFont typeface="Arial" pitchFamily="34" charset="0"/>
              <a:buChar char="•"/>
              <a:tabLst/>
              <a:defRPr sz="1400" b="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4pPr>
            <a:lvl5pPr marL="715963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C0C0"/>
              </a:buClr>
              <a:buSzTx/>
              <a:buFont typeface="Symbol" pitchFamily="18" charset="2"/>
              <a:buChar char="-"/>
              <a:tabLst/>
              <a:defRPr sz="1400" kern="1200" baseline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5pPr>
            <a:lvl6pPr marL="1520825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97050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062163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328863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Aft>
                <a:spcPts val="0"/>
              </a:spcAft>
              <a:defRPr/>
            </a:pPr>
            <a:r>
              <a:rPr kumimoji="0" 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cs typeface="Times New Roman"/>
              </a:rPr>
              <a:t> - 2nd</a:t>
            </a:r>
            <a:r>
              <a:rPr kumimoji="0" lang="en-US" sz="1100" b="0" i="0" u="none" strike="noStrike" kern="0" cap="none" spc="0" normalizeH="0" noProof="0" dirty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cs typeface="Times New Roman"/>
              </a:rPr>
              <a:t> r</a:t>
            </a:r>
            <a:r>
              <a:rPr kumimoji="0" 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cs typeface="Times New Roman"/>
              </a:rPr>
              <a:t>oadshow to Green Camp MS &amp; others: Explanations to </a:t>
            </a:r>
            <a:r>
              <a:rPr lang="en-US" sz="1100" b="0" kern="0" dirty="0" smtClean="0">
                <a:solidFill>
                  <a:srgbClr val="404040"/>
                </a:solidFill>
                <a:cs typeface="Times New Roman"/>
              </a:rPr>
              <a:t>ACEA compromise</a:t>
            </a:r>
            <a:r>
              <a:rPr kumimoji="0" 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cs typeface="Times New Roman"/>
              </a:rPr>
              <a:t> &amp; technical</a:t>
            </a:r>
            <a:r>
              <a:rPr kumimoji="0" lang="en-US" sz="1100" b="0" i="0" u="none" strike="noStrike" kern="0" cap="none" spc="0" normalizeH="0" noProof="0" dirty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cs typeface="Times New Roman"/>
              </a:rPr>
              <a:t> explanations  to</a:t>
            </a:r>
            <a:r>
              <a:rPr kumimoji="0" 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cs typeface="Times New Roman"/>
              </a:rPr>
              <a:t> dynamic BCs und CFs</a:t>
            </a:r>
            <a:endParaRPr kumimoji="0" lang="en-US" sz="1100" b="0" i="0" u="none" strike="noStrike" kern="1200" cap="none" spc="0" normalizeH="0" baseline="0" noProof="0" dirty="0" smtClean="0">
              <a:ln>
                <a:noFill/>
              </a:ln>
              <a:solidFill>
                <a:srgbClr val="404040"/>
              </a:solidFill>
              <a:effectLst/>
              <a:uLnTx/>
              <a:uFillTx/>
            </a:endParaRPr>
          </a:p>
        </p:txBody>
      </p:sp>
      <p:cxnSp>
        <p:nvCxnSpPr>
          <p:cNvPr id="251" name="Gerade Verbindung 250"/>
          <p:cNvCxnSpPr/>
          <p:nvPr/>
        </p:nvCxnSpPr>
        <p:spPr>
          <a:xfrm>
            <a:off x="4052254" y="2163584"/>
            <a:ext cx="0" cy="4227636"/>
          </a:xfrm>
          <a:prstGeom prst="line">
            <a:avLst/>
          </a:prstGeom>
          <a:noFill/>
          <a:ln w="9525" cap="flat" cmpd="sng" algn="ctr">
            <a:solidFill>
              <a:srgbClr val="C0C0C0"/>
            </a:solidFill>
            <a:prstDash val="solid"/>
          </a:ln>
          <a:effectLst/>
        </p:spPr>
      </p:cxnSp>
      <p:cxnSp>
        <p:nvCxnSpPr>
          <p:cNvPr id="252" name="Gerade Verbindung 251"/>
          <p:cNvCxnSpPr/>
          <p:nvPr/>
        </p:nvCxnSpPr>
        <p:spPr>
          <a:xfrm>
            <a:off x="3131392" y="1816505"/>
            <a:ext cx="0" cy="4577516"/>
          </a:xfrm>
          <a:prstGeom prst="line">
            <a:avLst/>
          </a:prstGeom>
          <a:noFill/>
          <a:ln w="9525" cap="flat" cmpd="sng" algn="ctr">
            <a:solidFill>
              <a:srgbClr val="808080"/>
            </a:solidFill>
            <a:prstDash val="solid"/>
          </a:ln>
          <a:effectLst/>
        </p:spPr>
      </p:cxnSp>
      <p:sp>
        <p:nvSpPr>
          <p:cNvPr id="253" name="Rechteck 252"/>
          <p:cNvSpPr/>
          <p:nvPr/>
        </p:nvSpPr>
        <p:spPr>
          <a:xfrm>
            <a:off x="3149082" y="2060320"/>
            <a:ext cx="881355" cy="180734"/>
          </a:xfrm>
          <a:prstGeom prst="rect">
            <a:avLst/>
          </a:prstGeom>
          <a:solidFill>
            <a:srgbClr val="EAEAEA"/>
          </a:solidFill>
          <a:ln w="3175" cap="flat" cmpd="sng" algn="ctr">
            <a:noFill/>
            <a:prstDash val="solid"/>
          </a:ln>
          <a:effectLst/>
        </p:spPr>
        <p:txBody>
          <a:bodyPr wrap="none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b="0" kern="0" dirty="0" smtClean="0">
                <a:solidFill>
                  <a:srgbClr val="404040"/>
                </a:solidFill>
                <a:latin typeface="Calibri"/>
                <a:ea typeface="+mn-ea"/>
                <a:cs typeface="Calibri" pitchFamily="34" charset="0"/>
              </a:rPr>
              <a:t>Dez</a:t>
            </a:r>
          </a:p>
        </p:txBody>
      </p:sp>
      <p:cxnSp>
        <p:nvCxnSpPr>
          <p:cNvPr id="254" name="Gerade Verbindung 253"/>
          <p:cNvCxnSpPr/>
          <p:nvPr/>
        </p:nvCxnSpPr>
        <p:spPr bwMode="auto">
          <a:xfrm>
            <a:off x="647882" y="2060320"/>
            <a:ext cx="0" cy="4257874"/>
          </a:xfrm>
          <a:prstGeom prst="line">
            <a:avLst/>
          </a:prstGeom>
          <a:solidFill>
            <a:srgbClr val="FFFFFF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  <a:effectLst/>
        </p:spPr>
      </p:cxnSp>
      <p:sp>
        <p:nvSpPr>
          <p:cNvPr id="255" name="Rechteck 254"/>
          <p:cNvSpPr/>
          <p:nvPr/>
        </p:nvSpPr>
        <p:spPr>
          <a:xfrm>
            <a:off x="3149082" y="1803944"/>
            <a:ext cx="881355" cy="199794"/>
          </a:xfrm>
          <a:prstGeom prst="rect">
            <a:avLst/>
          </a:prstGeom>
          <a:solidFill>
            <a:srgbClr val="69A2E1"/>
          </a:solidFill>
          <a:ln w="3175" cap="flat" cmpd="sng" algn="ctr">
            <a:noFill/>
            <a:prstDash val="solid"/>
          </a:ln>
          <a:effectLst/>
        </p:spPr>
        <p:txBody>
          <a:bodyPr wrap="none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kern="0" dirty="0" smtClean="0">
                <a:solidFill>
                  <a:srgbClr val="FFFFFF"/>
                </a:solidFill>
                <a:latin typeface="Calibri"/>
                <a:ea typeface="+mn-ea"/>
                <a:cs typeface="Calibri" pitchFamily="34" charset="0"/>
              </a:rPr>
              <a:t>2014</a:t>
            </a:r>
          </a:p>
        </p:txBody>
      </p:sp>
      <p:grpSp>
        <p:nvGrpSpPr>
          <p:cNvPr id="256" name="Group 4"/>
          <p:cNvGrpSpPr>
            <a:grpSpLocks/>
          </p:cNvGrpSpPr>
          <p:nvPr/>
        </p:nvGrpSpPr>
        <p:grpSpPr bwMode="auto">
          <a:xfrm>
            <a:off x="6273501" y="5672482"/>
            <a:ext cx="779324" cy="747185"/>
            <a:chOff x="1415" y="1338"/>
            <a:chExt cx="2621" cy="2687"/>
          </a:xfrm>
          <a:solidFill>
            <a:srgbClr val="FFFFFF">
              <a:lumMod val="50000"/>
            </a:srgbClr>
          </a:solidFill>
        </p:grpSpPr>
        <p:sp>
          <p:nvSpPr>
            <p:cNvPr id="257" name="Freeform 5"/>
            <p:cNvSpPr>
              <a:spLocks noChangeAspect="1"/>
            </p:cNvSpPr>
            <p:nvPr/>
          </p:nvSpPr>
          <p:spPr bwMode="auto">
            <a:xfrm>
              <a:off x="2804" y="3997"/>
              <a:ext cx="25" cy="28"/>
            </a:xfrm>
            <a:custGeom>
              <a:avLst/>
              <a:gdLst>
                <a:gd name="T0" fmla="*/ 0 w 24"/>
                <a:gd name="T1" fmla="*/ 0 h 28"/>
                <a:gd name="T2" fmla="*/ 213 w 24"/>
                <a:gd name="T3" fmla="*/ 13 h 28"/>
                <a:gd name="T4" fmla="*/ 272 w 24"/>
                <a:gd name="T5" fmla="*/ 22 h 28"/>
                <a:gd name="T6" fmla="*/ 180 w 24"/>
                <a:gd name="T7" fmla="*/ 25 h 28"/>
                <a:gd name="T8" fmla="*/ 8 w 24"/>
                <a:gd name="T9" fmla="*/ 17 h 28"/>
                <a:gd name="T10" fmla="*/ 2 w 24"/>
                <a:gd name="T11" fmla="*/ 10 h 28"/>
                <a:gd name="T12" fmla="*/ 7 w 24"/>
                <a:gd name="T13" fmla="*/ 3 h 28"/>
                <a:gd name="T14" fmla="*/ 0 w 24"/>
                <a:gd name="T15" fmla="*/ 0 h 2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4"/>
                <a:gd name="T25" fmla="*/ 0 h 28"/>
                <a:gd name="T26" fmla="*/ 24 w 24"/>
                <a:gd name="T27" fmla="*/ 28 h 2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4" h="28">
                  <a:moveTo>
                    <a:pt x="0" y="0"/>
                  </a:moveTo>
                  <a:cubicBezTo>
                    <a:pt x="10" y="1"/>
                    <a:pt x="13" y="5"/>
                    <a:pt x="18" y="13"/>
                  </a:cubicBezTo>
                  <a:cubicBezTo>
                    <a:pt x="20" y="16"/>
                    <a:pt x="24" y="22"/>
                    <a:pt x="24" y="22"/>
                  </a:cubicBezTo>
                  <a:cubicBezTo>
                    <a:pt x="22" y="28"/>
                    <a:pt x="19" y="27"/>
                    <a:pt x="14" y="25"/>
                  </a:cubicBezTo>
                  <a:cubicBezTo>
                    <a:pt x="12" y="21"/>
                    <a:pt x="12" y="19"/>
                    <a:pt x="8" y="17"/>
                  </a:cubicBezTo>
                  <a:cubicBezTo>
                    <a:pt x="7" y="14"/>
                    <a:pt x="3" y="13"/>
                    <a:pt x="2" y="10"/>
                  </a:cubicBezTo>
                  <a:cubicBezTo>
                    <a:pt x="1" y="7"/>
                    <a:pt x="9" y="5"/>
                    <a:pt x="7" y="3"/>
                  </a:cubicBezTo>
                  <a:cubicBezTo>
                    <a:pt x="5" y="1"/>
                    <a:pt x="2" y="1"/>
                    <a:pt x="0" y="0"/>
                  </a:cubicBez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  <p:sp>
          <p:nvSpPr>
            <p:cNvPr id="258" name="Freeform 6"/>
            <p:cNvSpPr>
              <a:spLocks noChangeAspect="1"/>
            </p:cNvSpPr>
            <p:nvPr/>
          </p:nvSpPr>
          <p:spPr bwMode="auto">
            <a:xfrm>
              <a:off x="3919" y="3781"/>
              <a:ext cx="117" cy="114"/>
            </a:xfrm>
            <a:custGeom>
              <a:avLst/>
              <a:gdLst>
                <a:gd name="T0" fmla="*/ 26 w 116"/>
                <a:gd name="T1" fmla="*/ 194 h 112"/>
                <a:gd name="T2" fmla="*/ 36 w 116"/>
                <a:gd name="T3" fmla="*/ 179 h 112"/>
                <a:gd name="T4" fmla="*/ 33 w 116"/>
                <a:gd name="T5" fmla="*/ 149 h 112"/>
                <a:gd name="T6" fmla="*/ 120 w 116"/>
                <a:gd name="T7" fmla="*/ 130 h 112"/>
                <a:gd name="T8" fmla="*/ 134 w 116"/>
                <a:gd name="T9" fmla="*/ 114 h 112"/>
                <a:gd name="T10" fmla="*/ 146 w 116"/>
                <a:gd name="T11" fmla="*/ 94 h 112"/>
                <a:gd name="T12" fmla="*/ 176 w 116"/>
                <a:gd name="T13" fmla="*/ 0 h 112"/>
                <a:gd name="T14" fmla="*/ 156 w 116"/>
                <a:gd name="T15" fmla="*/ 122 h 112"/>
                <a:gd name="T16" fmla="*/ 163 w 116"/>
                <a:gd name="T17" fmla="*/ 161 h 112"/>
                <a:gd name="T18" fmla="*/ 148 w 116"/>
                <a:gd name="T19" fmla="*/ 194 h 112"/>
                <a:gd name="T20" fmla="*/ 135 w 116"/>
                <a:gd name="T21" fmla="*/ 245 h 112"/>
                <a:gd name="T22" fmla="*/ 57 w 116"/>
                <a:gd name="T23" fmla="*/ 293 h 112"/>
                <a:gd name="T24" fmla="*/ 48 w 116"/>
                <a:gd name="T25" fmla="*/ 321 h 112"/>
                <a:gd name="T26" fmla="*/ 12 w 116"/>
                <a:gd name="T27" fmla="*/ 314 h 112"/>
                <a:gd name="T28" fmla="*/ 0 w 116"/>
                <a:gd name="T29" fmla="*/ 269 h 112"/>
                <a:gd name="T30" fmla="*/ 15 w 116"/>
                <a:gd name="T31" fmla="*/ 213 h 112"/>
                <a:gd name="T32" fmla="*/ 23 w 116"/>
                <a:gd name="T33" fmla="*/ 205 h 112"/>
                <a:gd name="T34" fmla="*/ 26 w 116"/>
                <a:gd name="T35" fmla="*/ 194 h 11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16"/>
                <a:gd name="T55" fmla="*/ 0 h 112"/>
                <a:gd name="T56" fmla="*/ 116 w 116"/>
                <a:gd name="T57" fmla="*/ 112 h 112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16" h="112">
                  <a:moveTo>
                    <a:pt x="26" y="69"/>
                  </a:moveTo>
                  <a:cubicBezTo>
                    <a:pt x="31" y="68"/>
                    <a:pt x="31" y="66"/>
                    <a:pt x="36" y="64"/>
                  </a:cubicBezTo>
                  <a:cubicBezTo>
                    <a:pt x="37" y="62"/>
                    <a:pt x="30" y="57"/>
                    <a:pt x="33" y="54"/>
                  </a:cubicBezTo>
                  <a:cubicBezTo>
                    <a:pt x="27" y="48"/>
                    <a:pt x="50" y="47"/>
                    <a:pt x="59" y="46"/>
                  </a:cubicBezTo>
                  <a:cubicBezTo>
                    <a:pt x="66" y="44"/>
                    <a:pt x="65" y="39"/>
                    <a:pt x="73" y="38"/>
                  </a:cubicBezTo>
                  <a:cubicBezTo>
                    <a:pt x="78" y="37"/>
                    <a:pt x="85" y="28"/>
                    <a:pt x="85" y="28"/>
                  </a:cubicBezTo>
                  <a:cubicBezTo>
                    <a:pt x="99" y="20"/>
                    <a:pt x="98" y="5"/>
                    <a:pt x="114" y="0"/>
                  </a:cubicBezTo>
                  <a:cubicBezTo>
                    <a:pt x="116" y="2"/>
                    <a:pt x="97" y="32"/>
                    <a:pt x="95" y="42"/>
                  </a:cubicBezTo>
                  <a:cubicBezTo>
                    <a:pt x="91" y="49"/>
                    <a:pt x="96" y="49"/>
                    <a:pt x="102" y="58"/>
                  </a:cubicBezTo>
                  <a:cubicBezTo>
                    <a:pt x="101" y="61"/>
                    <a:pt x="91" y="67"/>
                    <a:pt x="87" y="69"/>
                  </a:cubicBezTo>
                  <a:cubicBezTo>
                    <a:pt x="85" y="75"/>
                    <a:pt x="80" y="80"/>
                    <a:pt x="74" y="82"/>
                  </a:cubicBezTo>
                  <a:cubicBezTo>
                    <a:pt x="73" y="84"/>
                    <a:pt x="60" y="99"/>
                    <a:pt x="57" y="100"/>
                  </a:cubicBezTo>
                  <a:cubicBezTo>
                    <a:pt x="54" y="104"/>
                    <a:pt x="51" y="108"/>
                    <a:pt x="48" y="111"/>
                  </a:cubicBezTo>
                  <a:cubicBezTo>
                    <a:pt x="32" y="110"/>
                    <a:pt x="24" y="112"/>
                    <a:pt x="12" y="108"/>
                  </a:cubicBezTo>
                  <a:cubicBezTo>
                    <a:pt x="9" y="100"/>
                    <a:pt x="4" y="97"/>
                    <a:pt x="0" y="91"/>
                  </a:cubicBezTo>
                  <a:cubicBezTo>
                    <a:pt x="1" y="85"/>
                    <a:pt x="8" y="76"/>
                    <a:pt x="15" y="74"/>
                  </a:cubicBezTo>
                  <a:cubicBezTo>
                    <a:pt x="18" y="73"/>
                    <a:pt x="23" y="72"/>
                    <a:pt x="23" y="72"/>
                  </a:cubicBezTo>
                  <a:cubicBezTo>
                    <a:pt x="26" y="70"/>
                    <a:pt x="26" y="71"/>
                    <a:pt x="26" y="69"/>
                  </a:cubicBez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  <p:grpSp>
          <p:nvGrpSpPr>
            <p:cNvPr id="259" name="Group 8"/>
            <p:cNvGrpSpPr>
              <a:grpSpLocks noChangeAspect="1"/>
            </p:cNvGrpSpPr>
            <p:nvPr/>
          </p:nvGrpSpPr>
          <p:grpSpPr bwMode="auto">
            <a:xfrm>
              <a:off x="3000" y="2184"/>
              <a:ext cx="229" cy="165"/>
              <a:chOff x="3131" y="2031"/>
              <a:chExt cx="227" cy="163"/>
            </a:xfrm>
            <a:grpFill/>
          </p:grpSpPr>
          <p:sp>
            <p:nvSpPr>
              <p:cNvPr id="375" name="Freeform 9"/>
              <p:cNvSpPr>
                <a:spLocks noChangeAspect="1"/>
              </p:cNvSpPr>
              <p:nvPr/>
            </p:nvSpPr>
            <p:spPr bwMode="auto">
              <a:xfrm>
                <a:off x="3131" y="2103"/>
                <a:ext cx="40" cy="31"/>
              </a:xfrm>
              <a:custGeom>
                <a:avLst/>
                <a:gdLst>
                  <a:gd name="T0" fmla="*/ 18 w 40"/>
                  <a:gd name="T1" fmla="*/ 1 h 31"/>
                  <a:gd name="T2" fmla="*/ 26 w 40"/>
                  <a:gd name="T3" fmla="*/ 4 h 31"/>
                  <a:gd name="T4" fmla="*/ 36 w 40"/>
                  <a:gd name="T5" fmla="*/ 13 h 31"/>
                  <a:gd name="T6" fmla="*/ 26 w 40"/>
                  <a:gd name="T7" fmla="*/ 25 h 31"/>
                  <a:gd name="T8" fmla="*/ 16 w 40"/>
                  <a:gd name="T9" fmla="*/ 30 h 31"/>
                  <a:gd name="T10" fmla="*/ 12 w 40"/>
                  <a:gd name="T11" fmla="*/ 19 h 31"/>
                  <a:gd name="T12" fmla="*/ 0 w 40"/>
                  <a:gd name="T13" fmla="*/ 23 h 31"/>
                  <a:gd name="T14" fmla="*/ 15 w 40"/>
                  <a:gd name="T15" fmla="*/ 12 h 31"/>
                  <a:gd name="T16" fmla="*/ 18 w 40"/>
                  <a:gd name="T17" fmla="*/ 1 h 31"/>
                  <a:gd name="T18" fmla="*/ 22 w 40"/>
                  <a:gd name="T19" fmla="*/ 3 h 31"/>
                  <a:gd name="T20" fmla="*/ 18 w 40"/>
                  <a:gd name="T21" fmla="*/ 1 h 31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40"/>
                  <a:gd name="T34" fmla="*/ 0 h 31"/>
                  <a:gd name="T35" fmla="*/ 40 w 40"/>
                  <a:gd name="T36" fmla="*/ 31 h 31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40" h="31">
                    <a:moveTo>
                      <a:pt x="18" y="1"/>
                    </a:moveTo>
                    <a:cubicBezTo>
                      <a:pt x="21" y="2"/>
                      <a:pt x="24" y="2"/>
                      <a:pt x="26" y="4"/>
                    </a:cubicBezTo>
                    <a:cubicBezTo>
                      <a:pt x="32" y="9"/>
                      <a:pt x="29" y="11"/>
                      <a:pt x="36" y="13"/>
                    </a:cubicBezTo>
                    <a:cubicBezTo>
                      <a:pt x="40" y="22"/>
                      <a:pt x="32" y="21"/>
                      <a:pt x="26" y="25"/>
                    </a:cubicBezTo>
                    <a:cubicBezTo>
                      <a:pt x="22" y="31"/>
                      <a:pt x="25" y="31"/>
                      <a:pt x="16" y="30"/>
                    </a:cubicBezTo>
                    <a:cubicBezTo>
                      <a:pt x="15" y="26"/>
                      <a:pt x="14" y="23"/>
                      <a:pt x="12" y="19"/>
                    </a:cubicBezTo>
                    <a:cubicBezTo>
                      <a:pt x="5" y="21"/>
                      <a:pt x="6" y="24"/>
                      <a:pt x="0" y="23"/>
                    </a:cubicBezTo>
                    <a:cubicBezTo>
                      <a:pt x="4" y="16"/>
                      <a:pt x="7" y="15"/>
                      <a:pt x="15" y="12"/>
                    </a:cubicBezTo>
                    <a:cubicBezTo>
                      <a:pt x="17" y="9"/>
                      <a:pt x="16" y="4"/>
                      <a:pt x="18" y="1"/>
                    </a:cubicBezTo>
                    <a:cubicBezTo>
                      <a:pt x="19" y="0"/>
                      <a:pt x="22" y="3"/>
                      <a:pt x="22" y="3"/>
                    </a:cubicBezTo>
                    <a:cubicBezTo>
                      <a:pt x="22" y="3"/>
                      <a:pt x="19" y="2"/>
                      <a:pt x="18" y="1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76" name="Freeform 10"/>
              <p:cNvSpPr>
                <a:spLocks noChangeAspect="1"/>
              </p:cNvSpPr>
              <p:nvPr/>
            </p:nvSpPr>
            <p:spPr bwMode="auto">
              <a:xfrm>
                <a:off x="3131" y="2136"/>
                <a:ext cx="52" cy="58"/>
              </a:xfrm>
              <a:custGeom>
                <a:avLst/>
                <a:gdLst>
                  <a:gd name="T0" fmla="*/ 35 w 52"/>
                  <a:gd name="T1" fmla="*/ 3 h 58"/>
                  <a:gd name="T2" fmla="*/ 51 w 52"/>
                  <a:gd name="T3" fmla="*/ 10 h 58"/>
                  <a:gd name="T4" fmla="*/ 44 w 52"/>
                  <a:gd name="T5" fmla="*/ 15 h 58"/>
                  <a:gd name="T6" fmla="*/ 33 w 52"/>
                  <a:gd name="T7" fmla="*/ 33 h 58"/>
                  <a:gd name="T8" fmla="*/ 18 w 52"/>
                  <a:gd name="T9" fmla="*/ 34 h 58"/>
                  <a:gd name="T10" fmla="*/ 11 w 52"/>
                  <a:gd name="T11" fmla="*/ 58 h 58"/>
                  <a:gd name="T12" fmla="*/ 14 w 52"/>
                  <a:gd name="T13" fmla="*/ 44 h 58"/>
                  <a:gd name="T14" fmla="*/ 0 w 52"/>
                  <a:gd name="T15" fmla="*/ 33 h 58"/>
                  <a:gd name="T16" fmla="*/ 15 w 52"/>
                  <a:gd name="T17" fmla="*/ 13 h 58"/>
                  <a:gd name="T18" fmla="*/ 35 w 52"/>
                  <a:gd name="T19" fmla="*/ 3 h 58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52"/>
                  <a:gd name="T31" fmla="*/ 0 h 58"/>
                  <a:gd name="T32" fmla="*/ 52 w 52"/>
                  <a:gd name="T33" fmla="*/ 58 h 58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52" h="58">
                    <a:moveTo>
                      <a:pt x="35" y="3"/>
                    </a:moveTo>
                    <a:cubicBezTo>
                      <a:pt x="41" y="4"/>
                      <a:pt x="45" y="8"/>
                      <a:pt x="51" y="10"/>
                    </a:cubicBezTo>
                    <a:cubicBezTo>
                      <a:pt x="49" y="19"/>
                      <a:pt x="52" y="10"/>
                      <a:pt x="44" y="15"/>
                    </a:cubicBezTo>
                    <a:cubicBezTo>
                      <a:pt x="38" y="19"/>
                      <a:pt x="41" y="30"/>
                      <a:pt x="33" y="33"/>
                    </a:cubicBezTo>
                    <a:cubicBezTo>
                      <a:pt x="29" y="30"/>
                      <a:pt x="18" y="34"/>
                      <a:pt x="18" y="34"/>
                    </a:cubicBezTo>
                    <a:cubicBezTo>
                      <a:pt x="15" y="42"/>
                      <a:pt x="18" y="53"/>
                      <a:pt x="11" y="58"/>
                    </a:cubicBezTo>
                    <a:cubicBezTo>
                      <a:pt x="3" y="55"/>
                      <a:pt x="10" y="47"/>
                      <a:pt x="14" y="44"/>
                    </a:cubicBezTo>
                    <a:cubicBezTo>
                      <a:pt x="11" y="32"/>
                      <a:pt x="6" y="42"/>
                      <a:pt x="0" y="33"/>
                    </a:cubicBezTo>
                    <a:cubicBezTo>
                      <a:pt x="2" y="24"/>
                      <a:pt x="5" y="16"/>
                      <a:pt x="15" y="13"/>
                    </a:cubicBezTo>
                    <a:cubicBezTo>
                      <a:pt x="18" y="0"/>
                      <a:pt x="17" y="3"/>
                      <a:pt x="35" y="3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77" name="Freeform 11"/>
              <p:cNvSpPr>
                <a:spLocks noChangeAspect="1"/>
              </p:cNvSpPr>
              <p:nvPr/>
            </p:nvSpPr>
            <p:spPr bwMode="auto">
              <a:xfrm>
                <a:off x="3177" y="2031"/>
                <a:ext cx="181" cy="157"/>
              </a:xfrm>
              <a:custGeom>
                <a:avLst/>
                <a:gdLst>
                  <a:gd name="T0" fmla="*/ 176 w 181"/>
                  <a:gd name="T1" fmla="*/ 145 h 157"/>
                  <a:gd name="T2" fmla="*/ 181 w 181"/>
                  <a:gd name="T3" fmla="*/ 121 h 157"/>
                  <a:gd name="T4" fmla="*/ 169 w 181"/>
                  <a:gd name="T5" fmla="*/ 101 h 157"/>
                  <a:gd name="T6" fmla="*/ 157 w 181"/>
                  <a:gd name="T7" fmla="*/ 82 h 157"/>
                  <a:gd name="T8" fmla="*/ 139 w 181"/>
                  <a:gd name="T9" fmla="*/ 58 h 157"/>
                  <a:gd name="T10" fmla="*/ 155 w 181"/>
                  <a:gd name="T11" fmla="*/ 45 h 157"/>
                  <a:gd name="T12" fmla="*/ 166 w 181"/>
                  <a:gd name="T13" fmla="*/ 41 h 157"/>
                  <a:gd name="T14" fmla="*/ 173 w 181"/>
                  <a:gd name="T15" fmla="*/ 21 h 157"/>
                  <a:gd name="T16" fmla="*/ 169 w 181"/>
                  <a:gd name="T17" fmla="*/ 5 h 157"/>
                  <a:gd name="T18" fmla="*/ 168 w 181"/>
                  <a:gd name="T19" fmla="*/ 1 h 157"/>
                  <a:gd name="T20" fmla="*/ 157 w 181"/>
                  <a:gd name="T21" fmla="*/ 7 h 157"/>
                  <a:gd name="T22" fmla="*/ 139 w 181"/>
                  <a:gd name="T23" fmla="*/ 12 h 157"/>
                  <a:gd name="T24" fmla="*/ 74 w 181"/>
                  <a:gd name="T25" fmla="*/ 18 h 157"/>
                  <a:gd name="T26" fmla="*/ 50 w 181"/>
                  <a:gd name="T27" fmla="*/ 33 h 157"/>
                  <a:gd name="T28" fmla="*/ 20 w 181"/>
                  <a:gd name="T29" fmla="*/ 49 h 157"/>
                  <a:gd name="T30" fmla="*/ 11 w 181"/>
                  <a:gd name="T31" fmla="*/ 55 h 157"/>
                  <a:gd name="T32" fmla="*/ 2 w 181"/>
                  <a:gd name="T33" fmla="*/ 65 h 157"/>
                  <a:gd name="T34" fmla="*/ 10 w 181"/>
                  <a:gd name="T35" fmla="*/ 89 h 157"/>
                  <a:gd name="T36" fmla="*/ 17 w 181"/>
                  <a:gd name="T37" fmla="*/ 101 h 157"/>
                  <a:gd name="T38" fmla="*/ 26 w 181"/>
                  <a:gd name="T39" fmla="*/ 111 h 157"/>
                  <a:gd name="T40" fmla="*/ 53 w 181"/>
                  <a:gd name="T41" fmla="*/ 114 h 157"/>
                  <a:gd name="T42" fmla="*/ 54 w 181"/>
                  <a:gd name="T43" fmla="*/ 126 h 157"/>
                  <a:gd name="T44" fmla="*/ 58 w 181"/>
                  <a:gd name="T45" fmla="*/ 132 h 157"/>
                  <a:gd name="T46" fmla="*/ 58 w 181"/>
                  <a:gd name="T47" fmla="*/ 144 h 157"/>
                  <a:gd name="T48" fmla="*/ 85 w 181"/>
                  <a:gd name="T49" fmla="*/ 131 h 157"/>
                  <a:gd name="T50" fmla="*/ 109 w 181"/>
                  <a:gd name="T51" fmla="*/ 138 h 157"/>
                  <a:gd name="T52" fmla="*/ 119 w 181"/>
                  <a:gd name="T53" fmla="*/ 147 h 157"/>
                  <a:gd name="T54" fmla="*/ 128 w 181"/>
                  <a:gd name="T55" fmla="*/ 150 h 157"/>
                  <a:gd name="T56" fmla="*/ 146 w 181"/>
                  <a:gd name="T57" fmla="*/ 154 h 157"/>
                  <a:gd name="T58" fmla="*/ 176 w 181"/>
                  <a:gd name="T59" fmla="*/ 145 h 157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w 181"/>
                  <a:gd name="T91" fmla="*/ 0 h 157"/>
                  <a:gd name="T92" fmla="*/ 181 w 181"/>
                  <a:gd name="T93" fmla="*/ 157 h 157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T90" t="T91" r="T92" b="T93"/>
                <a:pathLst>
                  <a:path w="181" h="157">
                    <a:moveTo>
                      <a:pt x="176" y="145"/>
                    </a:moveTo>
                    <a:cubicBezTo>
                      <a:pt x="165" y="141"/>
                      <a:pt x="179" y="128"/>
                      <a:pt x="181" y="121"/>
                    </a:cubicBezTo>
                    <a:cubicBezTo>
                      <a:pt x="179" y="111"/>
                      <a:pt x="178" y="107"/>
                      <a:pt x="169" y="101"/>
                    </a:cubicBezTo>
                    <a:cubicBezTo>
                      <a:pt x="166" y="95"/>
                      <a:pt x="162" y="87"/>
                      <a:pt x="157" y="82"/>
                    </a:cubicBezTo>
                    <a:cubicBezTo>
                      <a:pt x="154" y="73"/>
                      <a:pt x="142" y="68"/>
                      <a:pt x="139" y="58"/>
                    </a:cubicBezTo>
                    <a:cubicBezTo>
                      <a:pt x="140" y="45"/>
                      <a:pt x="143" y="46"/>
                      <a:pt x="155" y="45"/>
                    </a:cubicBezTo>
                    <a:cubicBezTo>
                      <a:pt x="158" y="43"/>
                      <a:pt x="166" y="41"/>
                      <a:pt x="166" y="41"/>
                    </a:cubicBezTo>
                    <a:cubicBezTo>
                      <a:pt x="169" y="37"/>
                      <a:pt x="172" y="27"/>
                      <a:pt x="173" y="21"/>
                    </a:cubicBezTo>
                    <a:cubicBezTo>
                      <a:pt x="175" y="15"/>
                      <a:pt x="174" y="8"/>
                      <a:pt x="169" y="5"/>
                    </a:cubicBezTo>
                    <a:cubicBezTo>
                      <a:pt x="169" y="4"/>
                      <a:pt x="169" y="1"/>
                      <a:pt x="168" y="1"/>
                    </a:cubicBezTo>
                    <a:cubicBezTo>
                      <a:pt x="164" y="0"/>
                      <a:pt x="157" y="7"/>
                      <a:pt x="157" y="7"/>
                    </a:cubicBezTo>
                    <a:cubicBezTo>
                      <a:pt x="153" y="18"/>
                      <a:pt x="157" y="13"/>
                      <a:pt x="139" y="12"/>
                    </a:cubicBezTo>
                    <a:cubicBezTo>
                      <a:pt x="116" y="14"/>
                      <a:pt x="98" y="17"/>
                      <a:pt x="74" y="18"/>
                    </a:cubicBezTo>
                    <a:cubicBezTo>
                      <a:pt x="69" y="26"/>
                      <a:pt x="58" y="28"/>
                      <a:pt x="50" y="33"/>
                    </a:cubicBezTo>
                    <a:cubicBezTo>
                      <a:pt x="40" y="39"/>
                      <a:pt x="29" y="43"/>
                      <a:pt x="20" y="49"/>
                    </a:cubicBezTo>
                    <a:cubicBezTo>
                      <a:pt x="17" y="53"/>
                      <a:pt x="15" y="52"/>
                      <a:pt x="11" y="55"/>
                    </a:cubicBezTo>
                    <a:cubicBezTo>
                      <a:pt x="10" y="58"/>
                      <a:pt x="5" y="63"/>
                      <a:pt x="2" y="65"/>
                    </a:cubicBezTo>
                    <a:cubicBezTo>
                      <a:pt x="0" y="74"/>
                      <a:pt x="2" y="84"/>
                      <a:pt x="10" y="89"/>
                    </a:cubicBezTo>
                    <a:cubicBezTo>
                      <a:pt x="11" y="94"/>
                      <a:pt x="13" y="98"/>
                      <a:pt x="17" y="101"/>
                    </a:cubicBezTo>
                    <a:cubicBezTo>
                      <a:pt x="18" y="106"/>
                      <a:pt x="21" y="109"/>
                      <a:pt x="26" y="111"/>
                    </a:cubicBezTo>
                    <a:cubicBezTo>
                      <a:pt x="31" y="118"/>
                      <a:pt x="46" y="113"/>
                      <a:pt x="53" y="114"/>
                    </a:cubicBezTo>
                    <a:cubicBezTo>
                      <a:pt x="60" y="119"/>
                      <a:pt x="47" y="116"/>
                      <a:pt x="54" y="126"/>
                    </a:cubicBezTo>
                    <a:cubicBezTo>
                      <a:pt x="55" y="128"/>
                      <a:pt x="58" y="132"/>
                      <a:pt x="58" y="132"/>
                    </a:cubicBezTo>
                    <a:cubicBezTo>
                      <a:pt x="58" y="136"/>
                      <a:pt x="55" y="141"/>
                      <a:pt x="58" y="144"/>
                    </a:cubicBezTo>
                    <a:cubicBezTo>
                      <a:pt x="62" y="144"/>
                      <a:pt x="77" y="132"/>
                      <a:pt x="85" y="131"/>
                    </a:cubicBezTo>
                    <a:cubicBezTo>
                      <a:pt x="93" y="132"/>
                      <a:pt x="101" y="131"/>
                      <a:pt x="109" y="138"/>
                    </a:cubicBezTo>
                    <a:cubicBezTo>
                      <a:pt x="110" y="141"/>
                      <a:pt x="115" y="145"/>
                      <a:pt x="119" y="147"/>
                    </a:cubicBezTo>
                    <a:cubicBezTo>
                      <a:pt x="122" y="148"/>
                      <a:pt x="128" y="150"/>
                      <a:pt x="128" y="150"/>
                    </a:cubicBezTo>
                    <a:cubicBezTo>
                      <a:pt x="135" y="157"/>
                      <a:pt x="134" y="155"/>
                      <a:pt x="146" y="154"/>
                    </a:cubicBezTo>
                    <a:cubicBezTo>
                      <a:pt x="160" y="149"/>
                      <a:pt x="151" y="150"/>
                      <a:pt x="176" y="145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</p:grpSp>
        <p:sp>
          <p:nvSpPr>
            <p:cNvPr id="260" name="Freeform 12"/>
            <p:cNvSpPr>
              <a:spLocks noChangeAspect="1"/>
            </p:cNvSpPr>
            <p:nvPr/>
          </p:nvSpPr>
          <p:spPr bwMode="auto">
            <a:xfrm>
              <a:off x="3185" y="1986"/>
              <a:ext cx="279" cy="252"/>
            </a:xfrm>
            <a:custGeom>
              <a:avLst/>
              <a:gdLst>
                <a:gd name="T0" fmla="*/ 0 w 1104"/>
                <a:gd name="T1" fmla="*/ 0 h 995"/>
                <a:gd name="T2" fmla="*/ 0 w 1104"/>
                <a:gd name="T3" fmla="*/ 0 h 995"/>
                <a:gd name="T4" fmla="*/ 0 w 1104"/>
                <a:gd name="T5" fmla="*/ 0 h 995"/>
                <a:gd name="T6" fmla="*/ 0 w 1104"/>
                <a:gd name="T7" fmla="*/ 0 h 995"/>
                <a:gd name="T8" fmla="*/ 0 w 1104"/>
                <a:gd name="T9" fmla="*/ 0 h 995"/>
                <a:gd name="T10" fmla="*/ 0 w 1104"/>
                <a:gd name="T11" fmla="*/ 0 h 995"/>
                <a:gd name="T12" fmla="*/ 0 w 1104"/>
                <a:gd name="T13" fmla="*/ 0 h 995"/>
                <a:gd name="T14" fmla="*/ 0 w 1104"/>
                <a:gd name="T15" fmla="*/ 0 h 995"/>
                <a:gd name="T16" fmla="*/ 0 w 1104"/>
                <a:gd name="T17" fmla="*/ 0 h 995"/>
                <a:gd name="T18" fmla="*/ 0 w 1104"/>
                <a:gd name="T19" fmla="*/ 0 h 995"/>
                <a:gd name="T20" fmla="*/ 0 w 1104"/>
                <a:gd name="T21" fmla="*/ 0 h 995"/>
                <a:gd name="T22" fmla="*/ 0 w 1104"/>
                <a:gd name="T23" fmla="*/ 0 h 995"/>
                <a:gd name="T24" fmla="*/ 0 w 1104"/>
                <a:gd name="T25" fmla="*/ 0 h 995"/>
                <a:gd name="T26" fmla="*/ 0 w 1104"/>
                <a:gd name="T27" fmla="*/ 0 h 995"/>
                <a:gd name="T28" fmla="*/ 0 w 1104"/>
                <a:gd name="T29" fmla="*/ 0 h 995"/>
                <a:gd name="T30" fmla="*/ 0 w 1104"/>
                <a:gd name="T31" fmla="*/ 0 h 995"/>
                <a:gd name="T32" fmla="*/ 0 w 1104"/>
                <a:gd name="T33" fmla="*/ 0 h 995"/>
                <a:gd name="T34" fmla="*/ 0 w 1104"/>
                <a:gd name="T35" fmla="*/ 0 h 995"/>
                <a:gd name="T36" fmla="*/ 0 w 1104"/>
                <a:gd name="T37" fmla="*/ 0 h 995"/>
                <a:gd name="T38" fmla="*/ 0 w 1104"/>
                <a:gd name="T39" fmla="*/ 0 h 995"/>
                <a:gd name="T40" fmla="*/ 0 w 1104"/>
                <a:gd name="T41" fmla="*/ 0 h 995"/>
                <a:gd name="T42" fmla="*/ 0 w 1104"/>
                <a:gd name="T43" fmla="*/ 0 h 995"/>
                <a:gd name="T44" fmla="*/ 0 w 1104"/>
                <a:gd name="T45" fmla="*/ 0 h 995"/>
                <a:gd name="T46" fmla="*/ 0 w 1104"/>
                <a:gd name="T47" fmla="*/ 0 h 995"/>
                <a:gd name="T48" fmla="*/ 0 w 1104"/>
                <a:gd name="T49" fmla="*/ 0 h 995"/>
                <a:gd name="T50" fmla="*/ 0 w 1104"/>
                <a:gd name="T51" fmla="*/ 0 h 995"/>
                <a:gd name="T52" fmla="*/ 0 w 1104"/>
                <a:gd name="T53" fmla="*/ 0 h 995"/>
                <a:gd name="T54" fmla="*/ 0 w 1104"/>
                <a:gd name="T55" fmla="*/ 0 h 995"/>
                <a:gd name="T56" fmla="*/ 0 w 1104"/>
                <a:gd name="T57" fmla="*/ 0 h 995"/>
                <a:gd name="T58" fmla="*/ 0 w 1104"/>
                <a:gd name="T59" fmla="*/ 0 h 995"/>
                <a:gd name="T60" fmla="*/ 0 w 1104"/>
                <a:gd name="T61" fmla="*/ 0 h 995"/>
                <a:gd name="T62" fmla="*/ 0 w 1104"/>
                <a:gd name="T63" fmla="*/ 0 h 995"/>
                <a:gd name="T64" fmla="*/ 0 w 1104"/>
                <a:gd name="T65" fmla="*/ 0 h 995"/>
                <a:gd name="T66" fmla="*/ 0 w 1104"/>
                <a:gd name="T67" fmla="*/ 0 h 995"/>
                <a:gd name="T68" fmla="*/ 0 w 1104"/>
                <a:gd name="T69" fmla="*/ 0 h 995"/>
                <a:gd name="T70" fmla="*/ 0 w 1104"/>
                <a:gd name="T71" fmla="*/ 0 h 995"/>
                <a:gd name="T72" fmla="*/ 0 w 1104"/>
                <a:gd name="T73" fmla="*/ 0 h 995"/>
                <a:gd name="T74" fmla="*/ 0 w 1104"/>
                <a:gd name="T75" fmla="*/ 0 h 995"/>
                <a:gd name="T76" fmla="*/ 0 w 1104"/>
                <a:gd name="T77" fmla="*/ 0 h 995"/>
                <a:gd name="T78" fmla="*/ 0 w 1104"/>
                <a:gd name="T79" fmla="*/ 0 h 995"/>
                <a:gd name="T80" fmla="*/ 0 w 1104"/>
                <a:gd name="T81" fmla="*/ 0 h 995"/>
                <a:gd name="T82" fmla="*/ 0 w 1104"/>
                <a:gd name="T83" fmla="*/ 0 h 995"/>
                <a:gd name="T84" fmla="*/ 0 w 1104"/>
                <a:gd name="T85" fmla="*/ 0 h 995"/>
                <a:gd name="T86" fmla="*/ 0 w 1104"/>
                <a:gd name="T87" fmla="*/ 0 h 995"/>
                <a:gd name="T88" fmla="*/ 0 w 1104"/>
                <a:gd name="T89" fmla="*/ 0 h 995"/>
                <a:gd name="T90" fmla="*/ 0 w 1104"/>
                <a:gd name="T91" fmla="*/ 0 h 995"/>
                <a:gd name="T92" fmla="*/ 0 w 1104"/>
                <a:gd name="T93" fmla="*/ 0 h 995"/>
                <a:gd name="T94" fmla="*/ 0 w 1104"/>
                <a:gd name="T95" fmla="*/ 0 h 995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1104"/>
                <a:gd name="T145" fmla="*/ 0 h 995"/>
                <a:gd name="T146" fmla="*/ 1104 w 1104"/>
                <a:gd name="T147" fmla="*/ 995 h 995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1104" h="995">
                  <a:moveTo>
                    <a:pt x="172" y="927"/>
                  </a:moveTo>
                  <a:cubicBezTo>
                    <a:pt x="228" y="935"/>
                    <a:pt x="260" y="955"/>
                    <a:pt x="312" y="967"/>
                  </a:cubicBezTo>
                  <a:cubicBezTo>
                    <a:pt x="336" y="971"/>
                    <a:pt x="352" y="983"/>
                    <a:pt x="372" y="991"/>
                  </a:cubicBezTo>
                  <a:cubicBezTo>
                    <a:pt x="376" y="991"/>
                    <a:pt x="384" y="995"/>
                    <a:pt x="384" y="995"/>
                  </a:cubicBezTo>
                  <a:cubicBezTo>
                    <a:pt x="412" y="987"/>
                    <a:pt x="404" y="983"/>
                    <a:pt x="428" y="967"/>
                  </a:cubicBezTo>
                  <a:cubicBezTo>
                    <a:pt x="440" y="927"/>
                    <a:pt x="448" y="875"/>
                    <a:pt x="480" y="843"/>
                  </a:cubicBezTo>
                  <a:cubicBezTo>
                    <a:pt x="500" y="823"/>
                    <a:pt x="532" y="823"/>
                    <a:pt x="552" y="803"/>
                  </a:cubicBezTo>
                  <a:cubicBezTo>
                    <a:pt x="564" y="763"/>
                    <a:pt x="532" y="695"/>
                    <a:pt x="576" y="679"/>
                  </a:cubicBezTo>
                  <a:cubicBezTo>
                    <a:pt x="604" y="687"/>
                    <a:pt x="636" y="703"/>
                    <a:pt x="660" y="719"/>
                  </a:cubicBezTo>
                  <a:cubicBezTo>
                    <a:pt x="688" y="715"/>
                    <a:pt x="724" y="727"/>
                    <a:pt x="748" y="711"/>
                  </a:cubicBezTo>
                  <a:cubicBezTo>
                    <a:pt x="808" y="671"/>
                    <a:pt x="732" y="667"/>
                    <a:pt x="756" y="639"/>
                  </a:cubicBezTo>
                  <a:cubicBezTo>
                    <a:pt x="764" y="627"/>
                    <a:pt x="792" y="615"/>
                    <a:pt x="792" y="615"/>
                  </a:cubicBezTo>
                  <a:cubicBezTo>
                    <a:pt x="944" y="631"/>
                    <a:pt x="872" y="627"/>
                    <a:pt x="1008" y="623"/>
                  </a:cubicBezTo>
                  <a:cubicBezTo>
                    <a:pt x="1024" y="615"/>
                    <a:pt x="1036" y="611"/>
                    <a:pt x="1052" y="603"/>
                  </a:cubicBezTo>
                  <a:cubicBezTo>
                    <a:pt x="1056" y="587"/>
                    <a:pt x="1060" y="579"/>
                    <a:pt x="1076" y="575"/>
                  </a:cubicBezTo>
                  <a:cubicBezTo>
                    <a:pt x="1084" y="555"/>
                    <a:pt x="1096" y="547"/>
                    <a:pt x="1104" y="527"/>
                  </a:cubicBezTo>
                  <a:cubicBezTo>
                    <a:pt x="1100" y="476"/>
                    <a:pt x="1068" y="352"/>
                    <a:pt x="1020" y="320"/>
                  </a:cubicBezTo>
                  <a:cubicBezTo>
                    <a:pt x="1008" y="296"/>
                    <a:pt x="984" y="280"/>
                    <a:pt x="972" y="252"/>
                  </a:cubicBezTo>
                  <a:cubicBezTo>
                    <a:pt x="960" y="184"/>
                    <a:pt x="956" y="116"/>
                    <a:pt x="936" y="52"/>
                  </a:cubicBezTo>
                  <a:cubicBezTo>
                    <a:pt x="932" y="44"/>
                    <a:pt x="956" y="8"/>
                    <a:pt x="948" y="4"/>
                  </a:cubicBezTo>
                  <a:cubicBezTo>
                    <a:pt x="932" y="0"/>
                    <a:pt x="888" y="0"/>
                    <a:pt x="872" y="0"/>
                  </a:cubicBezTo>
                  <a:cubicBezTo>
                    <a:pt x="816" y="4"/>
                    <a:pt x="764" y="8"/>
                    <a:pt x="708" y="16"/>
                  </a:cubicBezTo>
                  <a:cubicBezTo>
                    <a:pt x="680" y="36"/>
                    <a:pt x="688" y="24"/>
                    <a:pt x="680" y="48"/>
                  </a:cubicBezTo>
                  <a:cubicBezTo>
                    <a:pt x="680" y="76"/>
                    <a:pt x="660" y="236"/>
                    <a:pt x="632" y="256"/>
                  </a:cubicBezTo>
                  <a:cubicBezTo>
                    <a:pt x="600" y="280"/>
                    <a:pt x="480" y="276"/>
                    <a:pt x="476" y="276"/>
                  </a:cubicBezTo>
                  <a:cubicBezTo>
                    <a:pt x="392" y="272"/>
                    <a:pt x="324" y="260"/>
                    <a:pt x="244" y="252"/>
                  </a:cubicBezTo>
                  <a:cubicBezTo>
                    <a:pt x="212" y="252"/>
                    <a:pt x="176" y="252"/>
                    <a:pt x="144" y="256"/>
                  </a:cubicBezTo>
                  <a:cubicBezTo>
                    <a:pt x="128" y="260"/>
                    <a:pt x="108" y="280"/>
                    <a:pt x="108" y="280"/>
                  </a:cubicBezTo>
                  <a:cubicBezTo>
                    <a:pt x="84" y="316"/>
                    <a:pt x="16" y="440"/>
                    <a:pt x="0" y="480"/>
                  </a:cubicBezTo>
                  <a:cubicBezTo>
                    <a:pt x="0" y="488"/>
                    <a:pt x="0" y="499"/>
                    <a:pt x="4" y="507"/>
                  </a:cubicBezTo>
                  <a:cubicBezTo>
                    <a:pt x="8" y="511"/>
                    <a:pt x="8" y="499"/>
                    <a:pt x="12" y="496"/>
                  </a:cubicBezTo>
                  <a:cubicBezTo>
                    <a:pt x="20" y="488"/>
                    <a:pt x="36" y="480"/>
                    <a:pt x="36" y="480"/>
                  </a:cubicBezTo>
                  <a:cubicBezTo>
                    <a:pt x="44" y="468"/>
                    <a:pt x="48" y="448"/>
                    <a:pt x="60" y="444"/>
                  </a:cubicBezTo>
                  <a:cubicBezTo>
                    <a:pt x="68" y="440"/>
                    <a:pt x="84" y="436"/>
                    <a:pt x="84" y="436"/>
                  </a:cubicBezTo>
                  <a:cubicBezTo>
                    <a:pt x="128" y="444"/>
                    <a:pt x="120" y="488"/>
                    <a:pt x="140" y="519"/>
                  </a:cubicBezTo>
                  <a:cubicBezTo>
                    <a:pt x="156" y="583"/>
                    <a:pt x="136" y="551"/>
                    <a:pt x="248" y="543"/>
                  </a:cubicBezTo>
                  <a:cubicBezTo>
                    <a:pt x="276" y="535"/>
                    <a:pt x="264" y="539"/>
                    <a:pt x="284" y="527"/>
                  </a:cubicBezTo>
                  <a:cubicBezTo>
                    <a:pt x="308" y="527"/>
                    <a:pt x="340" y="515"/>
                    <a:pt x="356" y="535"/>
                  </a:cubicBezTo>
                  <a:cubicBezTo>
                    <a:pt x="364" y="547"/>
                    <a:pt x="368" y="575"/>
                    <a:pt x="368" y="575"/>
                  </a:cubicBezTo>
                  <a:cubicBezTo>
                    <a:pt x="320" y="623"/>
                    <a:pt x="268" y="623"/>
                    <a:pt x="216" y="631"/>
                  </a:cubicBezTo>
                  <a:cubicBezTo>
                    <a:pt x="208" y="635"/>
                    <a:pt x="200" y="635"/>
                    <a:pt x="192" y="639"/>
                  </a:cubicBezTo>
                  <a:cubicBezTo>
                    <a:pt x="188" y="643"/>
                    <a:pt x="184" y="647"/>
                    <a:pt x="180" y="647"/>
                  </a:cubicBezTo>
                  <a:cubicBezTo>
                    <a:pt x="166" y="664"/>
                    <a:pt x="118" y="720"/>
                    <a:pt x="108" y="743"/>
                  </a:cubicBezTo>
                  <a:cubicBezTo>
                    <a:pt x="104" y="763"/>
                    <a:pt x="100" y="775"/>
                    <a:pt x="120" y="783"/>
                  </a:cubicBezTo>
                  <a:cubicBezTo>
                    <a:pt x="124" y="803"/>
                    <a:pt x="124" y="811"/>
                    <a:pt x="140" y="823"/>
                  </a:cubicBezTo>
                  <a:cubicBezTo>
                    <a:pt x="148" y="855"/>
                    <a:pt x="124" y="895"/>
                    <a:pt x="108" y="923"/>
                  </a:cubicBezTo>
                  <a:cubicBezTo>
                    <a:pt x="112" y="927"/>
                    <a:pt x="112" y="931"/>
                    <a:pt x="116" y="935"/>
                  </a:cubicBezTo>
                  <a:cubicBezTo>
                    <a:pt x="128" y="935"/>
                    <a:pt x="140" y="923"/>
                    <a:pt x="172" y="927"/>
                  </a:cubicBez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  <p:grpSp>
          <p:nvGrpSpPr>
            <p:cNvPr id="261" name="Group 13"/>
            <p:cNvGrpSpPr>
              <a:grpSpLocks/>
            </p:cNvGrpSpPr>
            <p:nvPr/>
          </p:nvGrpSpPr>
          <p:grpSpPr bwMode="auto">
            <a:xfrm>
              <a:off x="3091" y="3473"/>
              <a:ext cx="555" cy="524"/>
              <a:chOff x="4862" y="8018"/>
              <a:chExt cx="2196" cy="2072"/>
            </a:xfrm>
            <a:grpFill/>
          </p:grpSpPr>
          <p:sp>
            <p:nvSpPr>
              <p:cNvPr id="353" name="Freeform 14"/>
              <p:cNvSpPr>
                <a:spLocks noChangeAspect="1"/>
              </p:cNvSpPr>
              <p:nvPr/>
            </p:nvSpPr>
            <p:spPr bwMode="auto">
              <a:xfrm>
                <a:off x="5802" y="9746"/>
                <a:ext cx="60" cy="96"/>
              </a:xfrm>
              <a:custGeom>
                <a:avLst/>
                <a:gdLst>
                  <a:gd name="T0" fmla="*/ 2147483647 w 15"/>
                  <a:gd name="T1" fmla="*/ 0 h 24"/>
                  <a:gd name="T2" fmla="*/ 2147483647 w 15"/>
                  <a:gd name="T3" fmla="*/ 2147483647 h 24"/>
                  <a:gd name="T4" fmla="*/ 2147483647 w 15"/>
                  <a:gd name="T5" fmla="*/ 2147483647 h 24"/>
                  <a:gd name="T6" fmla="*/ 2147483647 w 15"/>
                  <a:gd name="T7" fmla="*/ 2147483647 h 24"/>
                  <a:gd name="T8" fmla="*/ 0 w 15"/>
                  <a:gd name="T9" fmla="*/ 2147483647 h 24"/>
                  <a:gd name="T10" fmla="*/ 2147483647 w 15"/>
                  <a:gd name="T11" fmla="*/ 0 h 2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5"/>
                  <a:gd name="T19" fmla="*/ 0 h 24"/>
                  <a:gd name="T20" fmla="*/ 15 w 15"/>
                  <a:gd name="T21" fmla="*/ 24 h 2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5" h="24">
                    <a:moveTo>
                      <a:pt x="3" y="0"/>
                    </a:moveTo>
                    <a:cubicBezTo>
                      <a:pt x="11" y="1"/>
                      <a:pt x="13" y="0"/>
                      <a:pt x="14" y="8"/>
                    </a:cubicBezTo>
                    <a:cubicBezTo>
                      <a:pt x="12" y="19"/>
                      <a:pt x="15" y="12"/>
                      <a:pt x="10" y="18"/>
                    </a:cubicBezTo>
                    <a:cubicBezTo>
                      <a:pt x="9" y="20"/>
                      <a:pt x="6" y="24"/>
                      <a:pt x="6" y="24"/>
                    </a:cubicBezTo>
                    <a:cubicBezTo>
                      <a:pt x="3" y="21"/>
                      <a:pt x="0" y="12"/>
                      <a:pt x="0" y="12"/>
                    </a:cubicBezTo>
                    <a:cubicBezTo>
                      <a:pt x="1" y="8"/>
                      <a:pt x="2" y="4"/>
                      <a:pt x="3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54" name="Freeform 15"/>
              <p:cNvSpPr>
                <a:spLocks noChangeAspect="1"/>
              </p:cNvSpPr>
              <p:nvPr/>
            </p:nvSpPr>
            <p:spPr bwMode="auto">
              <a:xfrm>
                <a:off x="4862" y="8862"/>
                <a:ext cx="136" cy="116"/>
              </a:xfrm>
              <a:custGeom>
                <a:avLst/>
                <a:gdLst>
                  <a:gd name="T0" fmla="*/ 2147483647 w 34"/>
                  <a:gd name="T1" fmla="*/ 2147483647 h 29"/>
                  <a:gd name="T2" fmla="*/ 2147483647 w 34"/>
                  <a:gd name="T3" fmla="*/ 2147483647 h 29"/>
                  <a:gd name="T4" fmla="*/ 2147483647 w 34"/>
                  <a:gd name="T5" fmla="*/ 2147483647 h 29"/>
                  <a:gd name="T6" fmla="*/ 2147483647 w 34"/>
                  <a:gd name="T7" fmla="*/ 2147483647 h 29"/>
                  <a:gd name="T8" fmla="*/ 2147483647 w 34"/>
                  <a:gd name="T9" fmla="*/ 2147483647 h 29"/>
                  <a:gd name="T10" fmla="*/ 2147483647 w 34"/>
                  <a:gd name="T11" fmla="*/ 2147483647 h 29"/>
                  <a:gd name="T12" fmla="*/ 2147483647 w 34"/>
                  <a:gd name="T13" fmla="*/ 0 h 29"/>
                  <a:gd name="T14" fmla="*/ 2147483647 w 34"/>
                  <a:gd name="T15" fmla="*/ 2147483647 h 2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"/>
                  <a:gd name="T25" fmla="*/ 0 h 29"/>
                  <a:gd name="T26" fmla="*/ 34 w 34"/>
                  <a:gd name="T27" fmla="*/ 29 h 29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" h="29">
                    <a:moveTo>
                      <a:pt x="16" y="1"/>
                    </a:moveTo>
                    <a:cubicBezTo>
                      <a:pt x="2" y="3"/>
                      <a:pt x="0" y="8"/>
                      <a:pt x="14" y="13"/>
                    </a:cubicBezTo>
                    <a:cubicBezTo>
                      <a:pt x="17" y="16"/>
                      <a:pt x="20" y="17"/>
                      <a:pt x="23" y="19"/>
                    </a:cubicBezTo>
                    <a:cubicBezTo>
                      <a:pt x="26" y="28"/>
                      <a:pt x="25" y="29"/>
                      <a:pt x="34" y="26"/>
                    </a:cubicBezTo>
                    <a:cubicBezTo>
                      <a:pt x="33" y="22"/>
                      <a:pt x="27" y="21"/>
                      <a:pt x="23" y="17"/>
                    </a:cubicBezTo>
                    <a:cubicBezTo>
                      <a:pt x="22" y="14"/>
                      <a:pt x="21" y="4"/>
                      <a:pt x="19" y="2"/>
                    </a:cubicBezTo>
                    <a:cubicBezTo>
                      <a:pt x="17" y="0"/>
                      <a:pt x="11" y="0"/>
                      <a:pt x="11" y="0"/>
                    </a:cubicBezTo>
                    <a:cubicBezTo>
                      <a:pt x="11" y="0"/>
                      <a:pt x="14" y="1"/>
                      <a:pt x="16" y="1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55" name="Freeform 16"/>
              <p:cNvSpPr>
                <a:spLocks noChangeAspect="1"/>
              </p:cNvSpPr>
              <p:nvPr/>
            </p:nvSpPr>
            <p:spPr bwMode="auto">
              <a:xfrm>
                <a:off x="5122" y="9110"/>
                <a:ext cx="64" cy="92"/>
              </a:xfrm>
              <a:custGeom>
                <a:avLst/>
                <a:gdLst>
                  <a:gd name="T0" fmla="*/ 2147483647 w 16"/>
                  <a:gd name="T1" fmla="*/ 0 h 23"/>
                  <a:gd name="T2" fmla="*/ 2147483647 w 16"/>
                  <a:gd name="T3" fmla="*/ 2147483647 h 23"/>
                  <a:gd name="T4" fmla="*/ 2147483647 w 16"/>
                  <a:gd name="T5" fmla="*/ 2147483647 h 23"/>
                  <a:gd name="T6" fmla="*/ 0 w 16"/>
                  <a:gd name="T7" fmla="*/ 2147483647 h 23"/>
                  <a:gd name="T8" fmla="*/ 2147483647 w 16"/>
                  <a:gd name="T9" fmla="*/ 0 h 2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6"/>
                  <a:gd name="T16" fmla="*/ 0 h 23"/>
                  <a:gd name="T17" fmla="*/ 16 w 16"/>
                  <a:gd name="T18" fmla="*/ 23 h 2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6" h="23">
                    <a:moveTo>
                      <a:pt x="8" y="0"/>
                    </a:moveTo>
                    <a:cubicBezTo>
                      <a:pt x="11" y="3"/>
                      <a:pt x="14" y="4"/>
                      <a:pt x="15" y="8"/>
                    </a:cubicBezTo>
                    <a:cubicBezTo>
                      <a:pt x="14" y="19"/>
                      <a:pt x="16" y="20"/>
                      <a:pt x="8" y="23"/>
                    </a:cubicBezTo>
                    <a:cubicBezTo>
                      <a:pt x="2" y="22"/>
                      <a:pt x="5" y="19"/>
                      <a:pt x="0" y="16"/>
                    </a:cubicBezTo>
                    <a:cubicBezTo>
                      <a:pt x="1" y="13"/>
                      <a:pt x="8" y="0"/>
                      <a:pt x="8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56" name="Freeform 17"/>
              <p:cNvSpPr>
                <a:spLocks noChangeAspect="1"/>
              </p:cNvSpPr>
              <p:nvPr/>
            </p:nvSpPr>
            <p:spPr bwMode="auto">
              <a:xfrm>
                <a:off x="5098" y="9198"/>
                <a:ext cx="124" cy="144"/>
              </a:xfrm>
              <a:custGeom>
                <a:avLst/>
                <a:gdLst>
                  <a:gd name="T0" fmla="*/ 2147483647 w 31"/>
                  <a:gd name="T1" fmla="*/ 2147483647 h 36"/>
                  <a:gd name="T2" fmla="*/ 2147483647 w 31"/>
                  <a:gd name="T3" fmla="*/ 2147483647 h 36"/>
                  <a:gd name="T4" fmla="*/ 2147483647 w 31"/>
                  <a:gd name="T5" fmla="*/ 2147483647 h 36"/>
                  <a:gd name="T6" fmla="*/ 2147483647 w 31"/>
                  <a:gd name="T7" fmla="*/ 2147483647 h 36"/>
                  <a:gd name="T8" fmla="*/ 2147483647 w 31"/>
                  <a:gd name="T9" fmla="*/ 2147483647 h 36"/>
                  <a:gd name="T10" fmla="*/ 2147483647 w 31"/>
                  <a:gd name="T11" fmla="*/ 2147483647 h 36"/>
                  <a:gd name="T12" fmla="*/ 0 w 31"/>
                  <a:gd name="T13" fmla="*/ 2147483647 h 36"/>
                  <a:gd name="T14" fmla="*/ 2147483647 w 31"/>
                  <a:gd name="T15" fmla="*/ 2147483647 h 36"/>
                  <a:gd name="T16" fmla="*/ 2147483647 w 31"/>
                  <a:gd name="T17" fmla="*/ 2147483647 h 36"/>
                  <a:gd name="T18" fmla="*/ 2147483647 w 31"/>
                  <a:gd name="T19" fmla="*/ 2147483647 h 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31"/>
                  <a:gd name="T31" fmla="*/ 0 h 36"/>
                  <a:gd name="T32" fmla="*/ 31 w 31"/>
                  <a:gd name="T33" fmla="*/ 36 h 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31" h="36">
                    <a:moveTo>
                      <a:pt x="16" y="6"/>
                    </a:moveTo>
                    <a:cubicBezTo>
                      <a:pt x="20" y="8"/>
                      <a:pt x="23" y="9"/>
                      <a:pt x="24" y="13"/>
                    </a:cubicBezTo>
                    <a:cubicBezTo>
                      <a:pt x="23" y="19"/>
                      <a:pt x="21" y="22"/>
                      <a:pt x="27" y="24"/>
                    </a:cubicBezTo>
                    <a:cubicBezTo>
                      <a:pt x="28" y="29"/>
                      <a:pt x="31" y="34"/>
                      <a:pt x="24" y="36"/>
                    </a:cubicBezTo>
                    <a:cubicBezTo>
                      <a:pt x="21" y="35"/>
                      <a:pt x="17" y="34"/>
                      <a:pt x="14" y="34"/>
                    </a:cubicBezTo>
                    <a:cubicBezTo>
                      <a:pt x="12" y="34"/>
                      <a:pt x="8" y="36"/>
                      <a:pt x="8" y="36"/>
                    </a:cubicBezTo>
                    <a:cubicBezTo>
                      <a:pt x="5" y="31"/>
                      <a:pt x="3" y="33"/>
                      <a:pt x="0" y="28"/>
                    </a:cubicBezTo>
                    <a:cubicBezTo>
                      <a:pt x="3" y="23"/>
                      <a:pt x="6" y="21"/>
                      <a:pt x="11" y="19"/>
                    </a:cubicBezTo>
                    <a:cubicBezTo>
                      <a:pt x="11" y="13"/>
                      <a:pt x="11" y="8"/>
                      <a:pt x="12" y="2"/>
                    </a:cubicBezTo>
                    <a:cubicBezTo>
                      <a:pt x="12" y="0"/>
                      <a:pt x="16" y="4"/>
                      <a:pt x="16" y="6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57" name="Freeform 18"/>
              <p:cNvSpPr>
                <a:spLocks noChangeAspect="1"/>
              </p:cNvSpPr>
              <p:nvPr/>
            </p:nvSpPr>
            <p:spPr bwMode="auto">
              <a:xfrm>
                <a:off x="5182" y="9370"/>
                <a:ext cx="104" cy="88"/>
              </a:xfrm>
              <a:custGeom>
                <a:avLst/>
                <a:gdLst>
                  <a:gd name="T0" fmla="*/ 2147483647 w 26"/>
                  <a:gd name="T1" fmla="*/ 2147483647 h 22"/>
                  <a:gd name="T2" fmla="*/ 2147483647 w 26"/>
                  <a:gd name="T3" fmla="*/ 2147483647 h 22"/>
                  <a:gd name="T4" fmla="*/ 2147483647 w 26"/>
                  <a:gd name="T5" fmla="*/ 2147483647 h 22"/>
                  <a:gd name="T6" fmla="*/ 2147483647 w 26"/>
                  <a:gd name="T7" fmla="*/ 2147483647 h 22"/>
                  <a:gd name="T8" fmla="*/ 2147483647 w 26"/>
                  <a:gd name="T9" fmla="*/ 2147483647 h 22"/>
                  <a:gd name="T10" fmla="*/ 2147483647 w 26"/>
                  <a:gd name="T11" fmla="*/ 2147483647 h 22"/>
                  <a:gd name="T12" fmla="*/ 2147483647 w 26"/>
                  <a:gd name="T13" fmla="*/ 2147483647 h 22"/>
                  <a:gd name="T14" fmla="*/ 2147483647 w 26"/>
                  <a:gd name="T15" fmla="*/ 2147483647 h 2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6"/>
                  <a:gd name="T25" fmla="*/ 0 h 22"/>
                  <a:gd name="T26" fmla="*/ 26 w 26"/>
                  <a:gd name="T27" fmla="*/ 22 h 2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6" h="22">
                    <a:moveTo>
                      <a:pt x="5" y="4"/>
                    </a:moveTo>
                    <a:cubicBezTo>
                      <a:pt x="15" y="5"/>
                      <a:pt x="17" y="12"/>
                      <a:pt x="26" y="15"/>
                    </a:cubicBezTo>
                    <a:cubicBezTo>
                      <a:pt x="24" y="20"/>
                      <a:pt x="24" y="21"/>
                      <a:pt x="18" y="22"/>
                    </a:cubicBezTo>
                    <a:cubicBezTo>
                      <a:pt x="16" y="22"/>
                      <a:pt x="14" y="22"/>
                      <a:pt x="13" y="21"/>
                    </a:cubicBezTo>
                    <a:cubicBezTo>
                      <a:pt x="12" y="20"/>
                      <a:pt x="12" y="19"/>
                      <a:pt x="11" y="18"/>
                    </a:cubicBezTo>
                    <a:cubicBezTo>
                      <a:pt x="8" y="16"/>
                      <a:pt x="2" y="15"/>
                      <a:pt x="2" y="15"/>
                    </a:cubicBezTo>
                    <a:cubicBezTo>
                      <a:pt x="0" y="10"/>
                      <a:pt x="1" y="8"/>
                      <a:pt x="5" y="5"/>
                    </a:cubicBezTo>
                    <a:cubicBezTo>
                      <a:pt x="6" y="0"/>
                      <a:pt x="6" y="0"/>
                      <a:pt x="5" y="4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58" name="Freeform 19"/>
              <p:cNvSpPr>
                <a:spLocks noChangeAspect="1"/>
              </p:cNvSpPr>
              <p:nvPr/>
            </p:nvSpPr>
            <p:spPr bwMode="auto">
              <a:xfrm>
                <a:off x="5690" y="8950"/>
                <a:ext cx="316" cy="204"/>
              </a:xfrm>
              <a:custGeom>
                <a:avLst/>
                <a:gdLst>
                  <a:gd name="T0" fmla="*/ 2147483647 w 79"/>
                  <a:gd name="T1" fmla="*/ 2147483647 h 51"/>
                  <a:gd name="T2" fmla="*/ 2147483647 w 79"/>
                  <a:gd name="T3" fmla="*/ 2147483647 h 51"/>
                  <a:gd name="T4" fmla="*/ 2147483647 w 79"/>
                  <a:gd name="T5" fmla="*/ 2147483647 h 51"/>
                  <a:gd name="T6" fmla="*/ 2147483647 w 79"/>
                  <a:gd name="T7" fmla="*/ 2147483647 h 51"/>
                  <a:gd name="T8" fmla="*/ 2147483647 w 79"/>
                  <a:gd name="T9" fmla="*/ 2147483647 h 51"/>
                  <a:gd name="T10" fmla="*/ 2147483647 w 79"/>
                  <a:gd name="T11" fmla="*/ 2147483647 h 51"/>
                  <a:gd name="T12" fmla="*/ 2147483647 w 79"/>
                  <a:gd name="T13" fmla="*/ 2147483647 h 51"/>
                  <a:gd name="T14" fmla="*/ 2147483647 w 79"/>
                  <a:gd name="T15" fmla="*/ 2147483647 h 51"/>
                  <a:gd name="T16" fmla="*/ 2147483647 w 79"/>
                  <a:gd name="T17" fmla="*/ 2147483647 h 51"/>
                  <a:gd name="T18" fmla="*/ 2147483647 w 79"/>
                  <a:gd name="T19" fmla="*/ 2147483647 h 51"/>
                  <a:gd name="T20" fmla="*/ 2147483647 w 79"/>
                  <a:gd name="T21" fmla="*/ 2147483647 h 51"/>
                  <a:gd name="T22" fmla="*/ 2147483647 w 79"/>
                  <a:gd name="T23" fmla="*/ 2147483647 h 51"/>
                  <a:gd name="T24" fmla="*/ 2147483647 w 79"/>
                  <a:gd name="T25" fmla="*/ 2147483647 h 51"/>
                  <a:gd name="T26" fmla="*/ 0 w 79"/>
                  <a:gd name="T27" fmla="*/ 2147483647 h 51"/>
                  <a:gd name="T28" fmla="*/ 2147483647 w 79"/>
                  <a:gd name="T29" fmla="*/ 0 h 51"/>
                  <a:gd name="T30" fmla="*/ 2147483647 w 79"/>
                  <a:gd name="T31" fmla="*/ 2147483647 h 51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79"/>
                  <a:gd name="T49" fmla="*/ 0 h 51"/>
                  <a:gd name="T50" fmla="*/ 79 w 79"/>
                  <a:gd name="T51" fmla="*/ 51 h 51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79" h="51">
                    <a:moveTo>
                      <a:pt x="12" y="3"/>
                    </a:moveTo>
                    <a:cubicBezTo>
                      <a:pt x="25" y="4"/>
                      <a:pt x="21" y="3"/>
                      <a:pt x="28" y="10"/>
                    </a:cubicBezTo>
                    <a:cubicBezTo>
                      <a:pt x="30" y="20"/>
                      <a:pt x="40" y="20"/>
                      <a:pt x="49" y="21"/>
                    </a:cubicBezTo>
                    <a:cubicBezTo>
                      <a:pt x="54" y="22"/>
                      <a:pt x="64" y="19"/>
                      <a:pt x="64" y="19"/>
                    </a:cubicBezTo>
                    <a:cubicBezTo>
                      <a:pt x="72" y="21"/>
                      <a:pt x="71" y="28"/>
                      <a:pt x="76" y="33"/>
                    </a:cubicBezTo>
                    <a:cubicBezTo>
                      <a:pt x="77" y="37"/>
                      <a:pt x="79" y="44"/>
                      <a:pt x="79" y="44"/>
                    </a:cubicBezTo>
                    <a:cubicBezTo>
                      <a:pt x="78" y="47"/>
                      <a:pt x="79" y="51"/>
                      <a:pt x="74" y="51"/>
                    </a:cubicBezTo>
                    <a:cubicBezTo>
                      <a:pt x="72" y="51"/>
                      <a:pt x="68" y="49"/>
                      <a:pt x="68" y="49"/>
                    </a:cubicBezTo>
                    <a:cubicBezTo>
                      <a:pt x="66" y="43"/>
                      <a:pt x="60" y="45"/>
                      <a:pt x="54" y="44"/>
                    </a:cubicBezTo>
                    <a:cubicBezTo>
                      <a:pt x="49" y="42"/>
                      <a:pt x="49" y="38"/>
                      <a:pt x="43" y="36"/>
                    </a:cubicBezTo>
                    <a:cubicBezTo>
                      <a:pt x="40" y="33"/>
                      <a:pt x="31" y="30"/>
                      <a:pt x="31" y="30"/>
                    </a:cubicBezTo>
                    <a:cubicBezTo>
                      <a:pt x="26" y="25"/>
                      <a:pt x="21" y="25"/>
                      <a:pt x="14" y="24"/>
                    </a:cubicBezTo>
                    <a:cubicBezTo>
                      <a:pt x="11" y="22"/>
                      <a:pt x="8" y="21"/>
                      <a:pt x="5" y="19"/>
                    </a:cubicBezTo>
                    <a:cubicBezTo>
                      <a:pt x="4" y="14"/>
                      <a:pt x="1" y="14"/>
                      <a:pt x="0" y="10"/>
                    </a:cubicBezTo>
                    <a:cubicBezTo>
                      <a:pt x="4" y="4"/>
                      <a:pt x="4" y="2"/>
                      <a:pt x="10" y="0"/>
                    </a:cubicBezTo>
                    <a:cubicBezTo>
                      <a:pt x="17" y="1"/>
                      <a:pt x="18" y="0"/>
                      <a:pt x="12" y="3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59" name="Freeform 20"/>
              <p:cNvSpPr>
                <a:spLocks noChangeAspect="1"/>
              </p:cNvSpPr>
              <p:nvPr/>
            </p:nvSpPr>
            <p:spPr bwMode="auto">
              <a:xfrm>
                <a:off x="5998" y="9150"/>
                <a:ext cx="136" cy="88"/>
              </a:xfrm>
              <a:custGeom>
                <a:avLst/>
                <a:gdLst>
                  <a:gd name="T0" fmla="*/ 2147483647 w 34"/>
                  <a:gd name="T1" fmla="*/ 0 h 22"/>
                  <a:gd name="T2" fmla="*/ 2147483647 w 34"/>
                  <a:gd name="T3" fmla="*/ 0 h 22"/>
                  <a:gd name="T4" fmla="*/ 2147483647 w 34"/>
                  <a:gd name="T5" fmla="*/ 2147483647 h 22"/>
                  <a:gd name="T6" fmla="*/ 2147483647 w 34"/>
                  <a:gd name="T7" fmla="*/ 2147483647 h 22"/>
                  <a:gd name="T8" fmla="*/ 2147483647 w 34"/>
                  <a:gd name="T9" fmla="*/ 2147483647 h 22"/>
                  <a:gd name="T10" fmla="*/ 2147483647 w 34"/>
                  <a:gd name="T11" fmla="*/ 0 h 2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4"/>
                  <a:gd name="T19" fmla="*/ 0 h 22"/>
                  <a:gd name="T20" fmla="*/ 34 w 34"/>
                  <a:gd name="T21" fmla="*/ 22 h 22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4" h="22">
                    <a:moveTo>
                      <a:pt x="6" y="0"/>
                    </a:moveTo>
                    <a:cubicBezTo>
                      <a:pt x="14" y="2"/>
                      <a:pt x="19" y="2"/>
                      <a:pt x="27" y="0"/>
                    </a:cubicBezTo>
                    <a:cubicBezTo>
                      <a:pt x="34" y="2"/>
                      <a:pt x="30" y="10"/>
                      <a:pt x="26" y="14"/>
                    </a:cubicBezTo>
                    <a:cubicBezTo>
                      <a:pt x="23" y="22"/>
                      <a:pt x="16" y="20"/>
                      <a:pt x="9" y="19"/>
                    </a:cubicBezTo>
                    <a:cubicBezTo>
                      <a:pt x="6" y="15"/>
                      <a:pt x="6" y="11"/>
                      <a:pt x="2" y="7"/>
                    </a:cubicBezTo>
                    <a:cubicBezTo>
                      <a:pt x="0" y="2"/>
                      <a:pt x="0" y="5"/>
                      <a:pt x="6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60" name="Freeform 21"/>
              <p:cNvSpPr>
                <a:spLocks noChangeAspect="1"/>
              </p:cNvSpPr>
              <p:nvPr/>
            </p:nvSpPr>
            <p:spPr bwMode="auto">
              <a:xfrm>
                <a:off x="6106" y="9202"/>
                <a:ext cx="100" cy="72"/>
              </a:xfrm>
              <a:custGeom>
                <a:avLst/>
                <a:gdLst>
                  <a:gd name="T0" fmla="*/ 2147483647 w 25"/>
                  <a:gd name="T1" fmla="*/ 0 h 18"/>
                  <a:gd name="T2" fmla="*/ 2147483647 w 25"/>
                  <a:gd name="T3" fmla="*/ 2147483647 h 18"/>
                  <a:gd name="T4" fmla="*/ 2147483647 w 25"/>
                  <a:gd name="T5" fmla="*/ 2147483647 h 18"/>
                  <a:gd name="T6" fmla="*/ 2147483647 w 25"/>
                  <a:gd name="T7" fmla="*/ 2147483647 h 18"/>
                  <a:gd name="T8" fmla="*/ 2147483647 w 25"/>
                  <a:gd name="T9" fmla="*/ 2147483647 h 18"/>
                  <a:gd name="T10" fmla="*/ 2147483647 w 25"/>
                  <a:gd name="T11" fmla="*/ 2147483647 h 18"/>
                  <a:gd name="T12" fmla="*/ 2147483647 w 25"/>
                  <a:gd name="T13" fmla="*/ 0 h 1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5"/>
                  <a:gd name="T22" fmla="*/ 0 h 18"/>
                  <a:gd name="T23" fmla="*/ 25 w 25"/>
                  <a:gd name="T24" fmla="*/ 18 h 18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5" h="18">
                    <a:moveTo>
                      <a:pt x="9" y="0"/>
                    </a:moveTo>
                    <a:cubicBezTo>
                      <a:pt x="13" y="0"/>
                      <a:pt x="16" y="0"/>
                      <a:pt x="20" y="1"/>
                    </a:cubicBezTo>
                    <a:cubicBezTo>
                      <a:pt x="23" y="2"/>
                      <a:pt x="24" y="10"/>
                      <a:pt x="24" y="10"/>
                    </a:cubicBezTo>
                    <a:cubicBezTo>
                      <a:pt x="24" y="12"/>
                      <a:pt x="25" y="16"/>
                      <a:pt x="23" y="17"/>
                    </a:cubicBezTo>
                    <a:cubicBezTo>
                      <a:pt x="22" y="18"/>
                      <a:pt x="21" y="14"/>
                      <a:pt x="20" y="13"/>
                    </a:cubicBezTo>
                    <a:cubicBezTo>
                      <a:pt x="18" y="11"/>
                      <a:pt x="11" y="9"/>
                      <a:pt x="11" y="9"/>
                    </a:cubicBezTo>
                    <a:cubicBezTo>
                      <a:pt x="8" y="5"/>
                      <a:pt x="0" y="2"/>
                      <a:pt x="9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61" name="Freeform 22"/>
              <p:cNvSpPr>
                <a:spLocks noChangeAspect="1"/>
              </p:cNvSpPr>
              <p:nvPr/>
            </p:nvSpPr>
            <p:spPr bwMode="auto">
              <a:xfrm>
                <a:off x="6574" y="9126"/>
                <a:ext cx="128" cy="76"/>
              </a:xfrm>
              <a:custGeom>
                <a:avLst/>
                <a:gdLst>
                  <a:gd name="T0" fmla="*/ 2147483647 w 32"/>
                  <a:gd name="T1" fmla="*/ 2147483647 h 19"/>
                  <a:gd name="T2" fmla="*/ 2147483647 w 32"/>
                  <a:gd name="T3" fmla="*/ 2147483647 h 19"/>
                  <a:gd name="T4" fmla="*/ 2147483647 w 32"/>
                  <a:gd name="T5" fmla="*/ 2147483647 h 19"/>
                  <a:gd name="T6" fmla="*/ 2147483647 w 32"/>
                  <a:gd name="T7" fmla="*/ 2147483647 h 19"/>
                  <a:gd name="T8" fmla="*/ 2147483647 w 32"/>
                  <a:gd name="T9" fmla="*/ 2147483647 h 19"/>
                  <a:gd name="T10" fmla="*/ 2147483647 w 32"/>
                  <a:gd name="T11" fmla="*/ 2147483647 h 19"/>
                  <a:gd name="T12" fmla="*/ 2147483647 w 32"/>
                  <a:gd name="T13" fmla="*/ 2147483647 h 1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2"/>
                  <a:gd name="T22" fmla="*/ 0 h 19"/>
                  <a:gd name="T23" fmla="*/ 32 w 32"/>
                  <a:gd name="T24" fmla="*/ 19 h 1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2" h="19">
                    <a:moveTo>
                      <a:pt x="29" y="2"/>
                    </a:moveTo>
                    <a:cubicBezTo>
                      <a:pt x="20" y="0"/>
                      <a:pt x="23" y="4"/>
                      <a:pt x="17" y="6"/>
                    </a:cubicBezTo>
                    <a:cubicBezTo>
                      <a:pt x="12" y="5"/>
                      <a:pt x="8" y="6"/>
                      <a:pt x="3" y="8"/>
                    </a:cubicBezTo>
                    <a:cubicBezTo>
                      <a:pt x="0" y="19"/>
                      <a:pt x="3" y="18"/>
                      <a:pt x="14" y="19"/>
                    </a:cubicBezTo>
                    <a:cubicBezTo>
                      <a:pt x="26" y="17"/>
                      <a:pt x="15" y="15"/>
                      <a:pt x="23" y="10"/>
                    </a:cubicBezTo>
                    <a:cubicBezTo>
                      <a:pt x="25" y="9"/>
                      <a:pt x="29" y="10"/>
                      <a:pt x="31" y="8"/>
                    </a:cubicBezTo>
                    <a:cubicBezTo>
                      <a:pt x="32" y="6"/>
                      <a:pt x="30" y="4"/>
                      <a:pt x="29" y="2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62" name="Freeform 23"/>
              <p:cNvSpPr>
                <a:spLocks noChangeAspect="1"/>
              </p:cNvSpPr>
              <p:nvPr/>
            </p:nvSpPr>
            <p:spPr bwMode="auto">
              <a:xfrm>
                <a:off x="5266" y="9210"/>
                <a:ext cx="636" cy="580"/>
              </a:xfrm>
              <a:custGeom>
                <a:avLst/>
                <a:gdLst>
                  <a:gd name="T0" fmla="*/ 2147483647 w 159"/>
                  <a:gd name="T1" fmla="*/ 2147483647 h 145"/>
                  <a:gd name="T2" fmla="*/ 2147483647 w 159"/>
                  <a:gd name="T3" fmla="*/ 2147483647 h 145"/>
                  <a:gd name="T4" fmla="*/ 2147483647 w 159"/>
                  <a:gd name="T5" fmla="*/ 2147483647 h 145"/>
                  <a:gd name="T6" fmla="*/ 2147483647 w 159"/>
                  <a:gd name="T7" fmla="*/ 2147483647 h 145"/>
                  <a:gd name="T8" fmla="*/ 0 w 159"/>
                  <a:gd name="T9" fmla="*/ 2147483647 h 145"/>
                  <a:gd name="T10" fmla="*/ 2147483647 w 159"/>
                  <a:gd name="T11" fmla="*/ 2147483647 h 145"/>
                  <a:gd name="T12" fmla="*/ 2147483647 w 159"/>
                  <a:gd name="T13" fmla="*/ 2147483647 h 145"/>
                  <a:gd name="T14" fmla="*/ 2147483647 w 159"/>
                  <a:gd name="T15" fmla="*/ 2147483647 h 145"/>
                  <a:gd name="T16" fmla="*/ 2147483647 w 159"/>
                  <a:gd name="T17" fmla="*/ 2147483647 h 145"/>
                  <a:gd name="T18" fmla="*/ 2147483647 w 159"/>
                  <a:gd name="T19" fmla="*/ 2147483647 h 145"/>
                  <a:gd name="T20" fmla="*/ 2147483647 w 159"/>
                  <a:gd name="T21" fmla="*/ 2147483647 h 145"/>
                  <a:gd name="T22" fmla="*/ 2147483647 w 159"/>
                  <a:gd name="T23" fmla="*/ 2147483647 h 145"/>
                  <a:gd name="T24" fmla="*/ 2147483647 w 159"/>
                  <a:gd name="T25" fmla="*/ 2147483647 h 145"/>
                  <a:gd name="T26" fmla="*/ 2147483647 w 159"/>
                  <a:gd name="T27" fmla="*/ 2147483647 h 145"/>
                  <a:gd name="T28" fmla="*/ 2147483647 w 159"/>
                  <a:gd name="T29" fmla="*/ 2147483647 h 145"/>
                  <a:gd name="T30" fmla="*/ 2147483647 w 159"/>
                  <a:gd name="T31" fmla="*/ 2147483647 h 145"/>
                  <a:gd name="T32" fmla="*/ 2147483647 w 159"/>
                  <a:gd name="T33" fmla="*/ 2147483647 h 145"/>
                  <a:gd name="T34" fmla="*/ 2147483647 w 159"/>
                  <a:gd name="T35" fmla="*/ 2147483647 h 145"/>
                  <a:gd name="T36" fmla="*/ 2147483647 w 159"/>
                  <a:gd name="T37" fmla="*/ 2147483647 h 145"/>
                  <a:gd name="T38" fmla="*/ 2147483647 w 159"/>
                  <a:gd name="T39" fmla="*/ 2147483647 h 145"/>
                  <a:gd name="T40" fmla="*/ 2147483647 w 159"/>
                  <a:gd name="T41" fmla="*/ 2147483647 h 145"/>
                  <a:gd name="T42" fmla="*/ 2147483647 w 159"/>
                  <a:gd name="T43" fmla="*/ 2147483647 h 145"/>
                  <a:gd name="T44" fmla="*/ 2147483647 w 159"/>
                  <a:gd name="T45" fmla="*/ 2147483647 h 145"/>
                  <a:gd name="T46" fmla="*/ 2147483647 w 159"/>
                  <a:gd name="T47" fmla="*/ 2147483647 h 145"/>
                  <a:gd name="T48" fmla="*/ 2147483647 w 159"/>
                  <a:gd name="T49" fmla="*/ 2147483647 h 145"/>
                  <a:gd name="T50" fmla="*/ 2147483647 w 159"/>
                  <a:gd name="T51" fmla="*/ 2147483647 h 145"/>
                  <a:gd name="T52" fmla="*/ 2147483647 w 159"/>
                  <a:gd name="T53" fmla="*/ 2147483647 h 145"/>
                  <a:gd name="T54" fmla="*/ 2147483647 w 159"/>
                  <a:gd name="T55" fmla="*/ 2147483647 h 145"/>
                  <a:gd name="T56" fmla="*/ 2147483647 w 159"/>
                  <a:gd name="T57" fmla="*/ 2147483647 h 145"/>
                  <a:gd name="T58" fmla="*/ 2147483647 w 159"/>
                  <a:gd name="T59" fmla="*/ 2147483647 h 145"/>
                  <a:gd name="T60" fmla="*/ 2147483647 w 159"/>
                  <a:gd name="T61" fmla="*/ 2147483647 h 145"/>
                  <a:gd name="T62" fmla="*/ 2147483647 w 159"/>
                  <a:gd name="T63" fmla="*/ 2147483647 h 145"/>
                  <a:gd name="T64" fmla="*/ 2147483647 w 159"/>
                  <a:gd name="T65" fmla="*/ 2147483647 h 145"/>
                  <a:gd name="T66" fmla="*/ 2147483647 w 159"/>
                  <a:gd name="T67" fmla="*/ 2147483647 h 145"/>
                  <a:gd name="T68" fmla="*/ 2147483647 w 159"/>
                  <a:gd name="T69" fmla="*/ 2147483647 h 145"/>
                  <a:gd name="T70" fmla="*/ 2147483647 w 159"/>
                  <a:gd name="T71" fmla="*/ 2147483647 h 145"/>
                  <a:gd name="T72" fmla="*/ 2147483647 w 159"/>
                  <a:gd name="T73" fmla="*/ 2147483647 h 145"/>
                  <a:gd name="T74" fmla="*/ 2147483647 w 159"/>
                  <a:gd name="T75" fmla="*/ 2147483647 h 145"/>
                  <a:gd name="T76" fmla="*/ 2147483647 w 159"/>
                  <a:gd name="T77" fmla="*/ 2147483647 h 145"/>
                  <a:gd name="T78" fmla="*/ 2147483647 w 159"/>
                  <a:gd name="T79" fmla="*/ 2147483647 h 145"/>
                  <a:gd name="T80" fmla="*/ 2147483647 w 159"/>
                  <a:gd name="T81" fmla="*/ 2147483647 h 145"/>
                  <a:gd name="T82" fmla="*/ 2147483647 w 159"/>
                  <a:gd name="T83" fmla="*/ 2147483647 h 145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159"/>
                  <a:gd name="T127" fmla="*/ 0 h 145"/>
                  <a:gd name="T128" fmla="*/ 159 w 159"/>
                  <a:gd name="T129" fmla="*/ 145 h 145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159" h="145">
                    <a:moveTo>
                      <a:pt x="47" y="3"/>
                    </a:moveTo>
                    <a:cubicBezTo>
                      <a:pt x="41" y="5"/>
                      <a:pt x="42" y="10"/>
                      <a:pt x="39" y="13"/>
                    </a:cubicBezTo>
                    <a:cubicBezTo>
                      <a:pt x="34" y="18"/>
                      <a:pt x="28" y="18"/>
                      <a:pt x="21" y="20"/>
                    </a:cubicBezTo>
                    <a:cubicBezTo>
                      <a:pt x="20" y="27"/>
                      <a:pt x="18" y="32"/>
                      <a:pt x="11" y="34"/>
                    </a:cubicBezTo>
                    <a:cubicBezTo>
                      <a:pt x="7" y="38"/>
                      <a:pt x="5" y="38"/>
                      <a:pt x="0" y="40"/>
                    </a:cubicBezTo>
                    <a:cubicBezTo>
                      <a:pt x="5" y="47"/>
                      <a:pt x="7" y="45"/>
                      <a:pt x="17" y="46"/>
                    </a:cubicBezTo>
                    <a:cubicBezTo>
                      <a:pt x="18" y="50"/>
                      <a:pt x="24" y="55"/>
                      <a:pt x="24" y="55"/>
                    </a:cubicBezTo>
                    <a:cubicBezTo>
                      <a:pt x="27" y="60"/>
                      <a:pt x="30" y="59"/>
                      <a:pt x="36" y="61"/>
                    </a:cubicBezTo>
                    <a:cubicBezTo>
                      <a:pt x="40" y="63"/>
                      <a:pt x="42" y="66"/>
                      <a:pt x="44" y="70"/>
                    </a:cubicBezTo>
                    <a:cubicBezTo>
                      <a:pt x="45" y="74"/>
                      <a:pt x="46" y="77"/>
                      <a:pt x="47" y="81"/>
                    </a:cubicBezTo>
                    <a:cubicBezTo>
                      <a:pt x="46" y="93"/>
                      <a:pt x="42" y="97"/>
                      <a:pt x="53" y="101"/>
                    </a:cubicBezTo>
                    <a:cubicBezTo>
                      <a:pt x="54" y="110"/>
                      <a:pt x="55" y="118"/>
                      <a:pt x="64" y="121"/>
                    </a:cubicBezTo>
                    <a:cubicBezTo>
                      <a:pt x="72" y="118"/>
                      <a:pt x="73" y="116"/>
                      <a:pt x="68" y="109"/>
                    </a:cubicBezTo>
                    <a:cubicBezTo>
                      <a:pt x="69" y="102"/>
                      <a:pt x="68" y="101"/>
                      <a:pt x="74" y="98"/>
                    </a:cubicBezTo>
                    <a:cubicBezTo>
                      <a:pt x="79" y="90"/>
                      <a:pt x="81" y="102"/>
                      <a:pt x="82" y="106"/>
                    </a:cubicBezTo>
                    <a:cubicBezTo>
                      <a:pt x="94" y="103"/>
                      <a:pt x="96" y="104"/>
                      <a:pt x="98" y="116"/>
                    </a:cubicBezTo>
                    <a:cubicBezTo>
                      <a:pt x="95" y="125"/>
                      <a:pt x="100" y="139"/>
                      <a:pt x="108" y="145"/>
                    </a:cubicBezTo>
                    <a:cubicBezTo>
                      <a:pt x="108" y="136"/>
                      <a:pt x="102" y="109"/>
                      <a:pt x="117" y="106"/>
                    </a:cubicBezTo>
                    <a:cubicBezTo>
                      <a:pt x="125" y="100"/>
                      <a:pt x="127" y="117"/>
                      <a:pt x="131" y="121"/>
                    </a:cubicBezTo>
                    <a:cubicBezTo>
                      <a:pt x="136" y="126"/>
                      <a:pt x="141" y="127"/>
                      <a:pt x="147" y="129"/>
                    </a:cubicBezTo>
                    <a:cubicBezTo>
                      <a:pt x="153" y="128"/>
                      <a:pt x="158" y="126"/>
                      <a:pt x="150" y="123"/>
                    </a:cubicBezTo>
                    <a:cubicBezTo>
                      <a:pt x="146" y="118"/>
                      <a:pt x="142" y="116"/>
                      <a:pt x="137" y="113"/>
                    </a:cubicBezTo>
                    <a:cubicBezTo>
                      <a:pt x="134" y="108"/>
                      <a:pt x="135" y="107"/>
                      <a:pt x="140" y="106"/>
                    </a:cubicBezTo>
                    <a:cubicBezTo>
                      <a:pt x="143" y="102"/>
                      <a:pt x="143" y="101"/>
                      <a:pt x="138" y="99"/>
                    </a:cubicBezTo>
                    <a:cubicBezTo>
                      <a:pt x="136" y="94"/>
                      <a:pt x="132" y="93"/>
                      <a:pt x="129" y="89"/>
                    </a:cubicBezTo>
                    <a:cubicBezTo>
                      <a:pt x="127" y="83"/>
                      <a:pt x="125" y="80"/>
                      <a:pt x="120" y="77"/>
                    </a:cubicBezTo>
                    <a:cubicBezTo>
                      <a:pt x="118" y="70"/>
                      <a:pt x="114" y="67"/>
                      <a:pt x="111" y="61"/>
                    </a:cubicBezTo>
                    <a:cubicBezTo>
                      <a:pt x="110" y="58"/>
                      <a:pt x="108" y="52"/>
                      <a:pt x="108" y="52"/>
                    </a:cubicBezTo>
                    <a:cubicBezTo>
                      <a:pt x="109" y="50"/>
                      <a:pt x="109" y="48"/>
                      <a:pt x="111" y="47"/>
                    </a:cubicBezTo>
                    <a:cubicBezTo>
                      <a:pt x="112" y="47"/>
                      <a:pt x="125" y="53"/>
                      <a:pt x="130" y="55"/>
                    </a:cubicBezTo>
                    <a:cubicBezTo>
                      <a:pt x="132" y="60"/>
                      <a:pt x="132" y="67"/>
                      <a:pt x="137" y="70"/>
                    </a:cubicBezTo>
                    <a:cubicBezTo>
                      <a:pt x="139" y="54"/>
                      <a:pt x="143" y="60"/>
                      <a:pt x="153" y="53"/>
                    </a:cubicBezTo>
                    <a:cubicBezTo>
                      <a:pt x="159" y="44"/>
                      <a:pt x="140" y="43"/>
                      <a:pt x="136" y="43"/>
                    </a:cubicBezTo>
                    <a:cubicBezTo>
                      <a:pt x="123" y="36"/>
                      <a:pt x="134" y="24"/>
                      <a:pt x="118" y="22"/>
                    </a:cubicBezTo>
                    <a:cubicBezTo>
                      <a:pt x="116" y="20"/>
                      <a:pt x="114" y="16"/>
                      <a:pt x="111" y="17"/>
                    </a:cubicBezTo>
                    <a:cubicBezTo>
                      <a:pt x="109" y="18"/>
                      <a:pt x="105" y="21"/>
                      <a:pt x="105" y="21"/>
                    </a:cubicBezTo>
                    <a:cubicBezTo>
                      <a:pt x="101" y="18"/>
                      <a:pt x="102" y="16"/>
                      <a:pt x="99" y="13"/>
                    </a:cubicBezTo>
                    <a:cubicBezTo>
                      <a:pt x="97" y="11"/>
                      <a:pt x="90" y="9"/>
                      <a:pt x="90" y="9"/>
                    </a:cubicBezTo>
                    <a:cubicBezTo>
                      <a:pt x="83" y="11"/>
                      <a:pt x="86" y="10"/>
                      <a:pt x="81" y="13"/>
                    </a:cubicBezTo>
                    <a:cubicBezTo>
                      <a:pt x="75" y="11"/>
                      <a:pt x="65" y="11"/>
                      <a:pt x="59" y="7"/>
                    </a:cubicBezTo>
                    <a:cubicBezTo>
                      <a:pt x="57" y="0"/>
                      <a:pt x="52" y="2"/>
                      <a:pt x="47" y="4"/>
                    </a:cubicBezTo>
                    <a:cubicBezTo>
                      <a:pt x="45" y="7"/>
                      <a:pt x="39" y="9"/>
                      <a:pt x="39" y="9"/>
                    </a:cubicBezTo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63" name="Freeform 24"/>
              <p:cNvSpPr>
                <a:spLocks noChangeAspect="1"/>
              </p:cNvSpPr>
              <p:nvPr/>
            </p:nvSpPr>
            <p:spPr bwMode="auto">
              <a:xfrm>
                <a:off x="5910" y="8378"/>
                <a:ext cx="76" cy="68"/>
              </a:xfrm>
              <a:custGeom>
                <a:avLst/>
                <a:gdLst>
                  <a:gd name="T0" fmla="*/ 2147483647 w 19"/>
                  <a:gd name="T1" fmla="*/ 0 h 17"/>
                  <a:gd name="T2" fmla="*/ 2147483647 w 19"/>
                  <a:gd name="T3" fmla="*/ 2147483647 h 17"/>
                  <a:gd name="T4" fmla="*/ 2147483647 w 19"/>
                  <a:gd name="T5" fmla="*/ 2147483647 h 17"/>
                  <a:gd name="T6" fmla="*/ 2147483647 w 19"/>
                  <a:gd name="T7" fmla="*/ 2147483647 h 17"/>
                  <a:gd name="T8" fmla="*/ 2147483647 w 19"/>
                  <a:gd name="T9" fmla="*/ 2147483647 h 17"/>
                  <a:gd name="T10" fmla="*/ 2147483647 w 19"/>
                  <a:gd name="T11" fmla="*/ 2147483647 h 17"/>
                  <a:gd name="T12" fmla="*/ 2147483647 w 19"/>
                  <a:gd name="T13" fmla="*/ 0 h 1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9"/>
                  <a:gd name="T22" fmla="*/ 0 h 17"/>
                  <a:gd name="T23" fmla="*/ 19 w 19"/>
                  <a:gd name="T24" fmla="*/ 17 h 17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9" h="17">
                    <a:moveTo>
                      <a:pt x="16" y="0"/>
                    </a:moveTo>
                    <a:cubicBezTo>
                      <a:pt x="13" y="1"/>
                      <a:pt x="9" y="2"/>
                      <a:pt x="6" y="3"/>
                    </a:cubicBezTo>
                    <a:cubicBezTo>
                      <a:pt x="5" y="5"/>
                      <a:pt x="2" y="6"/>
                      <a:pt x="1" y="9"/>
                    </a:cubicBezTo>
                    <a:cubicBezTo>
                      <a:pt x="0" y="13"/>
                      <a:pt x="9" y="15"/>
                      <a:pt x="12" y="17"/>
                    </a:cubicBezTo>
                    <a:cubicBezTo>
                      <a:pt x="14" y="16"/>
                      <a:pt x="16" y="16"/>
                      <a:pt x="17" y="15"/>
                    </a:cubicBezTo>
                    <a:cubicBezTo>
                      <a:pt x="18" y="13"/>
                      <a:pt x="19" y="9"/>
                      <a:pt x="19" y="9"/>
                    </a:cubicBezTo>
                    <a:cubicBezTo>
                      <a:pt x="19" y="7"/>
                      <a:pt x="16" y="0"/>
                      <a:pt x="16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64" name="Freeform 25"/>
              <p:cNvSpPr>
                <a:spLocks noChangeAspect="1"/>
              </p:cNvSpPr>
              <p:nvPr/>
            </p:nvSpPr>
            <p:spPr bwMode="auto">
              <a:xfrm>
                <a:off x="6134" y="8402"/>
                <a:ext cx="68" cy="52"/>
              </a:xfrm>
              <a:custGeom>
                <a:avLst/>
                <a:gdLst>
                  <a:gd name="T0" fmla="*/ 2147483647 w 17"/>
                  <a:gd name="T1" fmla="*/ 2147483647 h 13"/>
                  <a:gd name="T2" fmla="*/ 2147483647 w 17"/>
                  <a:gd name="T3" fmla="*/ 2147483647 h 13"/>
                  <a:gd name="T4" fmla="*/ 2147483647 w 17"/>
                  <a:gd name="T5" fmla="*/ 2147483647 h 13"/>
                  <a:gd name="T6" fmla="*/ 0 60000 65536"/>
                  <a:gd name="T7" fmla="*/ 0 60000 65536"/>
                  <a:gd name="T8" fmla="*/ 0 60000 65536"/>
                  <a:gd name="T9" fmla="*/ 0 w 17"/>
                  <a:gd name="T10" fmla="*/ 0 h 13"/>
                  <a:gd name="T11" fmla="*/ 17 w 17"/>
                  <a:gd name="T12" fmla="*/ 13 h 13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7" h="13">
                    <a:moveTo>
                      <a:pt x="15" y="3"/>
                    </a:moveTo>
                    <a:cubicBezTo>
                      <a:pt x="3" y="0"/>
                      <a:pt x="0" y="9"/>
                      <a:pt x="11" y="13"/>
                    </a:cubicBezTo>
                    <a:cubicBezTo>
                      <a:pt x="17" y="11"/>
                      <a:pt x="15" y="8"/>
                      <a:pt x="15" y="3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65" name="Freeform 26"/>
              <p:cNvSpPr>
                <a:spLocks noChangeAspect="1"/>
              </p:cNvSpPr>
              <p:nvPr/>
            </p:nvSpPr>
            <p:spPr bwMode="auto">
              <a:xfrm>
                <a:off x="6050" y="8570"/>
                <a:ext cx="120" cy="96"/>
              </a:xfrm>
              <a:custGeom>
                <a:avLst/>
                <a:gdLst>
                  <a:gd name="T0" fmla="*/ 2147483647 w 30"/>
                  <a:gd name="T1" fmla="*/ 0 h 24"/>
                  <a:gd name="T2" fmla="*/ 2147483647 w 30"/>
                  <a:gd name="T3" fmla="*/ 2147483647 h 24"/>
                  <a:gd name="T4" fmla="*/ 2147483647 w 30"/>
                  <a:gd name="T5" fmla="*/ 2147483647 h 24"/>
                  <a:gd name="T6" fmla="*/ 2147483647 w 30"/>
                  <a:gd name="T7" fmla="*/ 2147483647 h 24"/>
                  <a:gd name="T8" fmla="*/ 2147483647 w 30"/>
                  <a:gd name="T9" fmla="*/ 2147483647 h 24"/>
                  <a:gd name="T10" fmla="*/ 2147483647 w 30"/>
                  <a:gd name="T11" fmla="*/ 0 h 2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0"/>
                  <a:gd name="T19" fmla="*/ 0 h 24"/>
                  <a:gd name="T20" fmla="*/ 30 w 30"/>
                  <a:gd name="T21" fmla="*/ 24 h 2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0" h="24">
                    <a:moveTo>
                      <a:pt x="29" y="0"/>
                    </a:moveTo>
                    <a:cubicBezTo>
                      <a:pt x="28" y="3"/>
                      <a:pt x="26" y="6"/>
                      <a:pt x="25" y="9"/>
                    </a:cubicBezTo>
                    <a:cubicBezTo>
                      <a:pt x="22" y="8"/>
                      <a:pt x="16" y="6"/>
                      <a:pt x="16" y="6"/>
                    </a:cubicBezTo>
                    <a:cubicBezTo>
                      <a:pt x="10" y="7"/>
                      <a:pt x="0" y="8"/>
                      <a:pt x="10" y="13"/>
                    </a:cubicBezTo>
                    <a:cubicBezTo>
                      <a:pt x="12" y="24"/>
                      <a:pt x="16" y="20"/>
                      <a:pt x="28" y="19"/>
                    </a:cubicBezTo>
                    <a:cubicBezTo>
                      <a:pt x="30" y="12"/>
                      <a:pt x="30" y="7"/>
                      <a:pt x="29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66" name="Freeform 27"/>
              <p:cNvSpPr>
                <a:spLocks noChangeAspect="1"/>
              </p:cNvSpPr>
              <p:nvPr/>
            </p:nvSpPr>
            <p:spPr bwMode="auto">
              <a:xfrm>
                <a:off x="6330" y="9390"/>
                <a:ext cx="64" cy="88"/>
              </a:xfrm>
              <a:custGeom>
                <a:avLst/>
                <a:gdLst>
                  <a:gd name="T0" fmla="*/ 2147483647 w 16"/>
                  <a:gd name="T1" fmla="*/ 0 h 22"/>
                  <a:gd name="T2" fmla="*/ 2147483647 w 16"/>
                  <a:gd name="T3" fmla="*/ 2147483647 h 22"/>
                  <a:gd name="T4" fmla="*/ 2147483647 w 16"/>
                  <a:gd name="T5" fmla="*/ 2147483647 h 22"/>
                  <a:gd name="T6" fmla="*/ 2147483647 w 16"/>
                  <a:gd name="T7" fmla="*/ 2147483647 h 22"/>
                  <a:gd name="T8" fmla="*/ 2147483647 w 16"/>
                  <a:gd name="T9" fmla="*/ 0 h 2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6"/>
                  <a:gd name="T16" fmla="*/ 0 h 22"/>
                  <a:gd name="T17" fmla="*/ 16 w 16"/>
                  <a:gd name="T18" fmla="*/ 22 h 2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6" h="22">
                    <a:moveTo>
                      <a:pt x="6" y="0"/>
                    </a:moveTo>
                    <a:cubicBezTo>
                      <a:pt x="13" y="2"/>
                      <a:pt x="14" y="4"/>
                      <a:pt x="16" y="11"/>
                    </a:cubicBezTo>
                    <a:cubicBezTo>
                      <a:pt x="14" y="19"/>
                      <a:pt x="13" y="18"/>
                      <a:pt x="7" y="22"/>
                    </a:cubicBezTo>
                    <a:cubicBezTo>
                      <a:pt x="5" y="15"/>
                      <a:pt x="0" y="12"/>
                      <a:pt x="7" y="5"/>
                    </a:cubicBezTo>
                    <a:cubicBezTo>
                      <a:pt x="8" y="1"/>
                      <a:pt x="9" y="3"/>
                      <a:pt x="6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67" name="Freeform 28"/>
              <p:cNvSpPr>
                <a:spLocks noChangeAspect="1"/>
              </p:cNvSpPr>
              <p:nvPr/>
            </p:nvSpPr>
            <p:spPr bwMode="auto">
              <a:xfrm>
                <a:off x="6310" y="8702"/>
                <a:ext cx="180" cy="136"/>
              </a:xfrm>
              <a:custGeom>
                <a:avLst/>
                <a:gdLst>
                  <a:gd name="T0" fmla="*/ 2147483647 w 45"/>
                  <a:gd name="T1" fmla="*/ 0 h 34"/>
                  <a:gd name="T2" fmla="*/ 2147483647 w 45"/>
                  <a:gd name="T3" fmla="*/ 2147483647 h 34"/>
                  <a:gd name="T4" fmla="*/ 2147483647 w 45"/>
                  <a:gd name="T5" fmla="*/ 2147483647 h 34"/>
                  <a:gd name="T6" fmla="*/ 2147483647 w 45"/>
                  <a:gd name="T7" fmla="*/ 2147483647 h 34"/>
                  <a:gd name="T8" fmla="*/ 2147483647 w 45"/>
                  <a:gd name="T9" fmla="*/ 2147483647 h 34"/>
                  <a:gd name="T10" fmla="*/ 2147483647 w 45"/>
                  <a:gd name="T11" fmla="*/ 2147483647 h 34"/>
                  <a:gd name="T12" fmla="*/ 2147483647 w 45"/>
                  <a:gd name="T13" fmla="*/ 2147483647 h 34"/>
                  <a:gd name="T14" fmla="*/ 2147483647 w 45"/>
                  <a:gd name="T15" fmla="*/ 2147483647 h 34"/>
                  <a:gd name="T16" fmla="*/ 2147483647 w 45"/>
                  <a:gd name="T17" fmla="*/ 2147483647 h 34"/>
                  <a:gd name="T18" fmla="*/ 0 w 45"/>
                  <a:gd name="T19" fmla="*/ 2147483647 h 34"/>
                  <a:gd name="T20" fmla="*/ 2147483647 w 45"/>
                  <a:gd name="T21" fmla="*/ 2147483647 h 34"/>
                  <a:gd name="T22" fmla="*/ 2147483647 w 45"/>
                  <a:gd name="T23" fmla="*/ 2147483647 h 34"/>
                  <a:gd name="T24" fmla="*/ 2147483647 w 45"/>
                  <a:gd name="T25" fmla="*/ 0 h 34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45"/>
                  <a:gd name="T40" fmla="*/ 0 h 34"/>
                  <a:gd name="T41" fmla="*/ 45 w 45"/>
                  <a:gd name="T42" fmla="*/ 34 h 34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45" h="34">
                    <a:moveTo>
                      <a:pt x="26" y="0"/>
                    </a:moveTo>
                    <a:cubicBezTo>
                      <a:pt x="27" y="4"/>
                      <a:pt x="31" y="8"/>
                      <a:pt x="35" y="10"/>
                    </a:cubicBezTo>
                    <a:cubicBezTo>
                      <a:pt x="37" y="11"/>
                      <a:pt x="41" y="14"/>
                      <a:pt x="41" y="14"/>
                    </a:cubicBezTo>
                    <a:cubicBezTo>
                      <a:pt x="43" y="17"/>
                      <a:pt x="45" y="23"/>
                      <a:pt x="45" y="23"/>
                    </a:cubicBezTo>
                    <a:cubicBezTo>
                      <a:pt x="43" y="29"/>
                      <a:pt x="37" y="31"/>
                      <a:pt x="32" y="33"/>
                    </a:cubicBezTo>
                    <a:cubicBezTo>
                      <a:pt x="29" y="33"/>
                      <a:pt x="25" y="34"/>
                      <a:pt x="23" y="32"/>
                    </a:cubicBezTo>
                    <a:cubicBezTo>
                      <a:pt x="19" y="28"/>
                      <a:pt x="29" y="17"/>
                      <a:pt x="29" y="17"/>
                    </a:cubicBezTo>
                    <a:cubicBezTo>
                      <a:pt x="26" y="10"/>
                      <a:pt x="26" y="11"/>
                      <a:pt x="19" y="12"/>
                    </a:cubicBezTo>
                    <a:cubicBezTo>
                      <a:pt x="17" y="19"/>
                      <a:pt x="16" y="26"/>
                      <a:pt x="8" y="28"/>
                    </a:cubicBezTo>
                    <a:cubicBezTo>
                      <a:pt x="4" y="27"/>
                      <a:pt x="0" y="18"/>
                      <a:pt x="0" y="18"/>
                    </a:cubicBezTo>
                    <a:cubicBezTo>
                      <a:pt x="2" y="12"/>
                      <a:pt x="5" y="12"/>
                      <a:pt x="11" y="11"/>
                    </a:cubicBezTo>
                    <a:cubicBezTo>
                      <a:pt x="13" y="10"/>
                      <a:pt x="15" y="10"/>
                      <a:pt x="17" y="8"/>
                    </a:cubicBezTo>
                    <a:cubicBezTo>
                      <a:pt x="21" y="4"/>
                      <a:pt x="19" y="0"/>
                      <a:pt x="26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68" name="Freeform 29"/>
              <p:cNvSpPr>
                <a:spLocks noChangeAspect="1"/>
              </p:cNvSpPr>
              <p:nvPr/>
            </p:nvSpPr>
            <p:spPr bwMode="auto">
              <a:xfrm>
                <a:off x="6342" y="8942"/>
                <a:ext cx="108" cy="140"/>
              </a:xfrm>
              <a:custGeom>
                <a:avLst/>
                <a:gdLst>
                  <a:gd name="T0" fmla="*/ 2147483647 w 27"/>
                  <a:gd name="T1" fmla="*/ 2147483647 h 35"/>
                  <a:gd name="T2" fmla="*/ 2147483647 w 27"/>
                  <a:gd name="T3" fmla="*/ 2147483647 h 35"/>
                  <a:gd name="T4" fmla="*/ 2147483647 w 27"/>
                  <a:gd name="T5" fmla="*/ 2147483647 h 35"/>
                  <a:gd name="T6" fmla="*/ 2147483647 w 27"/>
                  <a:gd name="T7" fmla="*/ 2147483647 h 35"/>
                  <a:gd name="T8" fmla="*/ 0 w 27"/>
                  <a:gd name="T9" fmla="*/ 2147483647 h 35"/>
                  <a:gd name="T10" fmla="*/ 2147483647 w 27"/>
                  <a:gd name="T11" fmla="*/ 2147483647 h 3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7"/>
                  <a:gd name="T19" fmla="*/ 0 h 35"/>
                  <a:gd name="T20" fmla="*/ 27 w 27"/>
                  <a:gd name="T21" fmla="*/ 35 h 3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7" h="35">
                    <a:moveTo>
                      <a:pt x="13" y="4"/>
                    </a:moveTo>
                    <a:cubicBezTo>
                      <a:pt x="18" y="5"/>
                      <a:pt x="22" y="10"/>
                      <a:pt x="25" y="14"/>
                    </a:cubicBezTo>
                    <a:cubicBezTo>
                      <a:pt x="24" y="24"/>
                      <a:pt x="26" y="32"/>
                      <a:pt x="16" y="35"/>
                    </a:cubicBezTo>
                    <a:cubicBezTo>
                      <a:pt x="11" y="34"/>
                      <a:pt x="10" y="33"/>
                      <a:pt x="7" y="29"/>
                    </a:cubicBezTo>
                    <a:cubicBezTo>
                      <a:pt x="17" y="23"/>
                      <a:pt x="7" y="13"/>
                      <a:pt x="0" y="10"/>
                    </a:cubicBezTo>
                    <a:cubicBezTo>
                      <a:pt x="3" y="0"/>
                      <a:pt x="27" y="9"/>
                      <a:pt x="13" y="4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69" name="Freeform 30"/>
              <p:cNvSpPr>
                <a:spLocks noChangeAspect="1"/>
              </p:cNvSpPr>
              <p:nvPr/>
            </p:nvSpPr>
            <p:spPr bwMode="auto">
              <a:xfrm>
                <a:off x="6950" y="9454"/>
                <a:ext cx="108" cy="208"/>
              </a:xfrm>
              <a:custGeom>
                <a:avLst/>
                <a:gdLst>
                  <a:gd name="T0" fmla="*/ 2147483647 w 27"/>
                  <a:gd name="T1" fmla="*/ 2147483647 h 52"/>
                  <a:gd name="T2" fmla="*/ 2147483647 w 27"/>
                  <a:gd name="T3" fmla="*/ 2147483647 h 52"/>
                  <a:gd name="T4" fmla="*/ 2147483647 w 27"/>
                  <a:gd name="T5" fmla="*/ 2147483647 h 52"/>
                  <a:gd name="T6" fmla="*/ 2147483647 w 27"/>
                  <a:gd name="T7" fmla="*/ 2147483647 h 52"/>
                  <a:gd name="T8" fmla="*/ 2147483647 w 27"/>
                  <a:gd name="T9" fmla="*/ 2147483647 h 52"/>
                  <a:gd name="T10" fmla="*/ 2147483647 w 27"/>
                  <a:gd name="T11" fmla="*/ 2147483647 h 52"/>
                  <a:gd name="T12" fmla="*/ 2147483647 w 27"/>
                  <a:gd name="T13" fmla="*/ 2147483647 h 52"/>
                  <a:gd name="T14" fmla="*/ 2147483647 w 27"/>
                  <a:gd name="T15" fmla="*/ 2147483647 h 52"/>
                  <a:gd name="T16" fmla="*/ 2147483647 w 27"/>
                  <a:gd name="T17" fmla="*/ 2147483647 h 52"/>
                  <a:gd name="T18" fmla="*/ 2147483647 w 27"/>
                  <a:gd name="T19" fmla="*/ 2147483647 h 52"/>
                  <a:gd name="T20" fmla="*/ 2147483647 w 27"/>
                  <a:gd name="T21" fmla="*/ 2147483647 h 52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27"/>
                  <a:gd name="T34" fmla="*/ 0 h 52"/>
                  <a:gd name="T35" fmla="*/ 27 w 27"/>
                  <a:gd name="T36" fmla="*/ 52 h 52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27" h="52">
                    <a:moveTo>
                      <a:pt x="25" y="2"/>
                    </a:moveTo>
                    <a:cubicBezTo>
                      <a:pt x="20" y="4"/>
                      <a:pt x="19" y="9"/>
                      <a:pt x="14" y="12"/>
                    </a:cubicBezTo>
                    <a:cubicBezTo>
                      <a:pt x="11" y="14"/>
                      <a:pt x="5" y="15"/>
                      <a:pt x="5" y="15"/>
                    </a:cubicBezTo>
                    <a:cubicBezTo>
                      <a:pt x="2" y="24"/>
                      <a:pt x="0" y="40"/>
                      <a:pt x="8" y="46"/>
                    </a:cubicBezTo>
                    <a:cubicBezTo>
                      <a:pt x="12" y="52"/>
                      <a:pt x="15" y="46"/>
                      <a:pt x="19" y="43"/>
                    </a:cubicBezTo>
                    <a:cubicBezTo>
                      <a:pt x="21" y="38"/>
                      <a:pt x="22" y="33"/>
                      <a:pt x="23" y="28"/>
                    </a:cubicBezTo>
                    <a:cubicBezTo>
                      <a:pt x="22" y="21"/>
                      <a:pt x="22" y="19"/>
                      <a:pt x="25" y="13"/>
                    </a:cubicBezTo>
                    <a:cubicBezTo>
                      <a:pt x="26" y="11"/>
                      <a:pt x="27" y="7"/>
                      <a:pt x="27" y="7"/>
                    </a:cubicBezTo>
                    <a:cubicBezTo>
                      <a:pt x="26" y="5"/>
                      <a:pt x="27" y="2"/>
                      <a:pt x="25" y="1"/>
                    </a:cubicBezTo>
                    <a:cubicBezTo>
                      <a:pt x="24" y="0"/>
                      <a:pt x="22" y="3"/>
                      <a:pt x="22" y="4"/>
                    </a:cubicBezTo>
                    <a:cubicBezTo>
                      <a:pt x="22" y="5"/>
                      <a:pt x="24" y="3"/>
                      <a:pt x="25" y="2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70" name="Freeform 31"/>
              <p:cNvSpPr>
                <a:spLocks noChangeAspect="1"/>
              </p:cNvSpPr>
              <p:nvPr/>
            </p:nvSpPr>
            <p:spPr bwMode="auto">
              <a:xfrm>
                <a:off x="6790" y="9682"/>
                <a:ext cx="80" cy="164"/>
              </a:xfrm>
              <a:custGeom>
                <a:avLst/>
                <a:gdLst>
                  <a:gd name="T0" fmla="*/ 2147483647 w 20"/>
                  <a:gd name="T1" fmla="*/ 0 h 41"/>
                  <a:gd name="T2" fmla="*/ 2147483647 w 20"/>
                  <a:gd name="T3" fmla="*/ 2147483647 h 41"/>
                  <a:gd name="T4" fmla="*/ 2147483647 w 20"/>
                  <a:gd name="T5" fmla="*/ 0 h 41"/>
                  <a:gd name="T6" fmla="*/ 0 60000 65536"/>
                  <a:gd name="T7" fmla="*/ 0 60000 65536"/>
                  <a:gd name="T8" fmla="*/ 0 60000 65536"/>
                  <a:gd name="T9" fmla="*/ 0 w 20"/>
                  <a:gd name="T10" fmla="*/ 0 h 41"/>
                  <a:gd name="T11" fmla="*/ 20 w 20"/>
                  <a:gd name="T12" fmla="*/ 41 h 4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0" h="41">
                    <a:moveTo>
                      <a:pt x="20" y="0"/>
                    </a:moveTo>
                    <a:cubicBezTo>
                      <a:pt x="19" y="14"/>
                      <a:pt x="18" y="27"/>
                      <a:pt x="17" y="41"/>
                    </a:cubicBezTo>
                    <a:cubicBezTo>
                      <a:pt x="0" y="38"/>
                      <a:pt x="16" y="9"/>
                      <a:pt x="20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71" name="Freeform 32"/>
              <p:cNvSpPr>
                <a:spLocks noChangeAspect="1"/>
              </p:cNvSpPr>
              <p:nvPr/>
            </p:nvSpPr>
            <p:spPr bwMode="auto">
              <a:xfrm>
                <a:off x="6002" y="9894"/>
                <a:ext cx="700" cy="196"/>
              </a:xfrm>
              <a:custGeom>
                <a:avLst/>
                <a:gdLst>
                  <a:gd name="T0" fmla="*/ 2147483647 w 175"/>
                  <a:gd name="T1" fmla="*/ 2147483647 h 49"/>
                  <a:gd name="T2" fmla="*/ 2147483647 w 175"/>
                  <a:gd name="T3" fmla="*/ 2147483647 h 49"/>
                  <a:gd name="T4" fmla="*/ 2147483647 w 175"/>
                  <a:gd name="T5" fmla="*/ 2147483647 h 49"/>
                  <a:gd name="T6" fmla="*/ 2147483647 w 175"/>
                  <a:gd name="T7" fmla="*/ 2147483647 h 49"/>
                  <a:gd name="T8" fmla="*/ 2147483647 w 175"/>
                  <a:gd name="T9" fmla="*/ 2147483647 h 49"/>
                  <a:gd name="T10" fmla="*/ 2147483647 w 175"/>
                  <a:gd name="T11" fmla="*/ 2147483647 h 49"/>
                  <a:gd name="T12" fmla="*/ 2147483647 w 175"/>
                  <a:gd name="T13" fmla="*/ 2147483647 h 49"/>
                  <a:gd name="T14" fmla="*/ 2147483647 w 175"/>
                  <a:gd name="T15" fmla="*/ 2147483647 h 49"/>
                  <a:gd name="T16" fmla="*/ 2147483647 w 175"/>
                  <a:gd name="T17" fmla="*/ 2147483647 h 49"/>
                  <a:gd name="T18" fmla="*/ 2147483647 w 175"/>
                  <a:gd name="T19" fmla="*/ 2147483647 h 49"/>
                  <a:gd name="T20" fmla="*/ 2147483647 w 175"/>
                  <a:gd name="T21" fmla="*/ 2147483647 h 49"/>
                  <a:gd name="T22" fmla="*/ 2147483647 w 175"/>
                  <a:gd name="T23" fmla="*/ 2147483647 h 49"/>
                  <a:gd name="T24" fmla="*/ 2147483647 w 175"/>
                  <a:gd name="T25" fmla="*/ 2147483647 h 49"/>
                  <a:gd name="T26" fmla="*/ 2147483647 w 175"/>
                  <a:gd name="T27" fmla="*/ 2147483647 h 49"/>
                  <a:gd name="T28" fmla="*/ 2147483647 w 175"/>
                  <a:gd name="T29" fmla="*/ 2147483647 h 49"/>
                  <a:gd name="T30" fmla="*/ 2147483647 w 175"/>
                  <a:gd name="T31" fmla="*/ 2147483647 h 49"/>
                  <a:gd name="T32" fmla="*/ 2147483647 w 175"/>
                  <a:gd name="T33" fmla="*/ 2147483647 h 49"/>
                  <a:gd name="T34" fmla="*/ 2147483647 w 175"/>
                  <a:gd name="T35" fmla="*/ 2147483647 h 49"/>
                  <a:gd name="T36" fmla="*/ 2147483647 w 175"/>
                  <a:gd name="T37" fmla="*/ 2147483647 h 49"/>
                  <a:gd name="T38" fmla="*/ 2147483647 w 175"/>
                  <a:gd name="T39" fmla="*/ 2147483647 h 49"/>
                  <a:gd name="T40" fmla="*/ 2147483647 w 175"/>
                  <a:gd name="T41" fmla="*/ 2147483647 h 49"/>
                  <a:gd name="T42" fmla="*/ 2147483647 w 175"/>
                  <a:gd name="T43" fmla="*/ 2147483647 h 49"/>
                  <a:gd name="T44" fmla="*/ 2147483647 w 175"/>
                  <a:gd name="T45" fmla="*/ 2147483647 h 49"/>
                  <a:gd name="T46" fmla="*/ 0 w 175"/>
                  <a:gd name="T47" fmla="*/ 2147483647 h 49"/>
                  <a:gd name="T48" fmla="*/ 2147483647 w 175"/>
                  <a:gd name="T49" fmla="*/ 2147483647 h 49"/>
                  <a:gd name="T50" fmla="*/ 2147483647 w 175"/>
                  <a:gd name="T51" fmla="*/ 2147483647 h 49"/>
                  <a:gd name="T52" fmla="*/ 2147483647 w 175"/>
                  <a:gd name="T53" fmla="*/ 2147483647 h 49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w 175"/>
                  <a:gd name="T82" fmla="*/ 0 h 49"/>
                  <a:gd name="T83" fmla="*/ 175 w 175"/>
                  <a:gd name="T84" fmla="*/ 49 h 49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T81" t="T82" r="T83" b="T84"/>
                <a:pathLst>
                  <a:path w="175" h="49">
                    <a:moveTo>
                      <a:pt x="8" y="24"/>
                    </a:moveTo>
                    <a:cubicBezTo>
                      <a:pt x="13" y="21"/>
                      <a:pt x="13" y="6"/>
                      <a:pt x="13" y="6"/>
                    </a:cubicBezTo>
                    <a:cubicBezTo>
                      <a:pt x="23" y="9"/>
                      <a:pt x="9" y="17"/>
                      <a:pt x="25" y="19"/>
                    </a:cubicBezTo>
                    <a:cubicBezTo>
                      <a:pt x="32" y="18"/>
                      <a:pt x="29" y="16"/>
                      <a:pt x="34" y="11"/>
                    </a:cubicBezTo>
                    <a:cubicBezTo>
                      <a:pt x="38" y="0"/>
                      <a:pt x="32" y="25"/>
                      <a:pt x="40" y="23"/>
                    </a:cubicBezTo>
                    <a:cubicBezTo>
                      <a:pt x="41" y="19"/>
                      <a:pt x="47" y="22"/>
                      <a:pt x="52" y="23"/>
                    </a:cubicBezTo>
                    <a:cubicBezTo>
                      <a:pt x="57" y="22"/>
                      <a:pt x="64" y="14"/>
                      <a:pt x="70" y="12"/>
                    </a:cubicBezTo>
                    <a:cubicBezTo>
                      <a:pt x="76" y="10"/>
                      <a:pt x="83" y="12"/>
                      <a:pt x="88" y="13"/>
                    </a:cubicBezTo>
                    <a:cubicBezTo>
                      <a:pt x="92" y="7"/>
                      <a:pt x="97" y="12"/>
                      <a:pt x="101" y="16"/>
                    </a:cubicBezTo>
                    <a:cubicBezTo>
                      <a:pt x="111" y="13"/>
                      <a:pt x="107" y="14"/>
                      <a:pt x="114" y="12"/>
                    </a:cubicBezTo>
                    <a:cubicBezTo>
                      <a:pt x="121" y="14"/>
                      <a:pt x="120" y="14"/>
                      <a:pt x="128" y="12"/>
                    </a:cubicBezTo>
                    <a:cubicBezTo>
                      <a:pt x="130" y="7"/>
                      <a:pt x="131" y="4"/>
                      <a:pt x="136" y="6"/>
                    </a:cubicBezTo>
                    <a:cubicBezTo>
                      <a:pt x="137" y="12"/>
                      <a:pt x="137" y="13"/>
                      <a:pt x="134" y="18"/>
                    </a:cubicBezTo>
                    <a:cubicBezTo>
                      <a:pt x="136" y="23"/>
                      <a:pt x="150" y="19"/>
                      <a:pt x="150" y="19"/>
                    </a:cubicBezTo>
                    <a:cubicBezTo>
                      <a:pt x="156" y="16"/>
                      <a:pt x="155" y="11"/>
                      <a:pt x="162" y="10"/>
                    </a:cubicBezTo>
                    <a:cubicBezTo>
                      <a:pt x="174" y="11"/>
                      <a:pt x="173" y="9"/>
                      <a:pt x="175" y="18"/>
                    </a:cubicBezTo>
                    <a:cubicBezTo>
                      <a:pt x="173" y="25"/>
                      <a:pt x="169" y="25"/>
                      <a:pt x="163" y="28"/>
                    </a:cubicBezTo>
                    <a:cubicBezTo>
                      <a:pt x="158" y="36"/>
                      <a:pt x="154" y="25"/>
                      <a:pt x="142" y="30"/>
                    </a:cubicBezTo>
                    <a:cubicBezTo>
                      <a:pt x="135" y="31"/>
                      <a:pt x="129" y="35"/>
                      <a:pt x="122" y="35"/>
                    </a:cubicBezTo>
                    <a:cubicBezTo>
                      <a:pt x="114" y="36"/>
                      <a:pt x="108" y="43"/>
                      <a:pt x="100" y="43"/>
                    </a:cubicBezTo>
                    <a:cubicBezTo>
                      <a:pt x="95" y="44"/>
                      <a:pt x="92" y="46"/>
                      <a:pt x="88" y="49"/>
                    </a:cubicBezTo>
                    <a:cubicBezTo>
                      <a:pt x="63" y="43"/>
                      <a:pt x="100" y="42"/>
                      <a:pt x="52" y="38"/>
                    </a:cubicBezTo>
                    <a:cubicBezTo>
                      <a:pt x="42" y="35"/>
                      <a:pt x="33" y="34"/>
                      <a:pt x="24" y="37"/>
                    </a:cubicBezTo>
                    <a:cubicBezTo>
                      <a:pt x="8" y="36"/>
                      <a:pt x="3" y="45"/>
                      <a:pt x="0" y="32"/>
                    </a:cubicBezTo>
                    <a:cubicBezTo>
                      <a:pt x="1" y="31"/>
                      <a:pt x="2" y="30"/>
                      <a:pt x="2" y="29"/>
                    </a:cubicBezTo>
                    <a:cubicBezTo>
                      <a:pt x="4" y="28"/>
                      <a:pt x="10" y="24"/>
                      <a:pt x="11" y="23"/>
                    </a:cubicBezTo>
                    <a:lnTo>
                      <a:pt x="8" y="24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72" name="Freeform 33"/>
              <p:cNvSpPr>
                <a:spLocks noChangeAspect="1"/>
              </p:cNvSpPr>
              <p:nvPr/>
            </p:nvSpPr>
            <p:spPr bwMode="auto">
              <a:xfrm>
                <a:off x="6458" y="9194"/>
                <a:ext cx="84" cy="72"/>
              </a:xfrm>
              <a:custGeom>
                <a:avLst/>
                <a:gdLst>
                  <a:gd name="T0" fmla="*/ 2147483647 w 21"/>
                  <a:gd name="T1" fmla="*/ 2147483647 h 18"/>
                  <a:gd name="T2" fmla="*/ 2147483647 w 21"/>
                  <a:gd name="T3" fmla="*/ 2147483647 h 18"/>
                  <a:gd name="T4" fmla="*/ 0 w 21"/>
                  <a:gd name="T5" fmla="*/ 2147483647 h 18"/>
                  <a:gd name="T6" fmla="*/ 2147483647 w 21"/>
                  <a:gd name="T7" fmla="*/ 2147483647 h 18"/>
                  <a:gd name="T8" fmla="*/ 2147483647 w 21"/>
                  <a:gd name="T9" fmla="*/ 2147483647 h 18"/>
                  <a:gd name="T10" fmla="*/ 2147483647 w 21"/>
                  <a:gd name="T11" fmla="*/ 2147483647 h 1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1"/>
                  <a:gd name="T19" fmla="*/ 0 h 18"/>
                  <a:gd name="T20" fmla="*/ 21 w 21"/>
                  <a:gd name="T21" fmla="*/ 18 h 1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1" h="18">
                    <a:moveTo>
                      <a:pt x="17" y="2"/>
                    </a:moveTo>
                    <a:cubicBezTo>
                      <a:pt x="13" y="3"/>
                      <a:pt x="12" y="6"/>
                      <a:pt x="8" y="7"/>
                    </a:cubicBezTo>
                    <a:cubicBezTo>
                      <a:pt x="6" y="13"/>
                      <a:pt x="3" y="11"/>
                      <a:pt x="0" y="17"/>
                    </a:cubicBezTo>
                    <a:cubicBezTo>
                      <a:pt x="6" y="18"/>
                      <a:pt x="5" y="16"/>
                      <a:pt x="10" y="13"/>
                    </a:cubicBezTo>
                    <a:cubicBezTo>
                      <a:pt x="13" y="9"/>
                      <a:pt x="15" y="9"/>
                      <a:pt x="19" y="5"/>
                    </a:cubicBezTo>
                    <a:cubicBezTo>
                      <a:pt x="20" y="0"/>
                      <a:pt x="21" y="1"/>
                      <a:pt x="17" y="2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73" name="Freeform 34"/>
              <p:cNvSpPr>
                <a:spLocks noChangeAspect="1"/>
              </p:cNvSpPr>
              <p:nvPr/>
            </p:nvSpPr>
            <p:spPr bwMode="auto">
              <a:xfrm>
                <a:off x="6718" y="9378"/>
                <a:ext cx="84" cy="96"/>
              </a:xfrm>
              <a:custGeom>
                <a:avLst/>
                <a:gdLst>
                  <a:gd name="T0" fmla="*/ 2147483647 w 21"/>
                  <a:gd name="T1" fmla="*/ 2147483647 h 24"/>
                  <a:gd name="T2" fmla="*/ 2147483647 w 21"/>
                  <a:gd name="T3" fmla="*/ 2147483647 h 24"/>
                  <a:gd name="T4" fmla="*/ 2147483647 w 21"/>
                  <a:gd name="T5" fmla="*/ 2147483647 h 24"/>
                  <a:gd name="T6" fmla="*/ 2147483647 w 21"/>
                  <a:gd name="T7" fmla="*/ 2147483647 h 24"/>
                  <a:gd name="T8" fmla="*/ 2147483647 w 21"/>
                  <a:gd name="T9" fmla="*/ 0 h 24"/>
                  <a:gd name="T10" fmla="*/ 2147483647 w 21"/>
                  <a:gd name="T11" fmla="*/ 2147483647 h 2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1"/>
                  <a:gd name="T19" fmla="*/ 0 h 24"/>
                  <a:gd name="T20" fmla="*/ 21 w 21"/>
                  <a:gd name="T21" fmla="*/ 24 h 2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1" h="24">
                    <a:moveTo>
                      <a:pt x="12" y="5"/>
                    </a:moveTo>
                    <a:cubicBezTo>
                      <a:pt x="11" y="9"/>
                      <a:pt x="7" y="13"/>
                      <a:pt x="3" y="16"/>
                    </a:cubicBezTo>
                    <a:cubicBezTo>
                      <a:pt x="0" y="24"/>
                      <a:pt x="4" y="22"/>
                      <a:pt x="12" y="21"/>
                    </a:cubicBezTo>
                    <a:cubicBezTo>
                      <a:pt x="16" y="14"/>
                      <a:pt x="19" y="14"/>
                      <a:pt x="21" y="4"/>
                    </a:cubicBezTo>
                    <a:cubicBezTo>
                      <a:pt x="21" y="1"/>
                      <a:pt x="10" y="0"/>
                      <a:pt x="9" y="0"/>
                    </a:cubicBezTo>
                    <a:cubicBezTo>
                      <a:pt x="8" y="0"/>
                      <a:pt x="13" y="2"/>
                      <a:pt x="12" y="5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74" name="Freeform 35"/>
              <p:cNvSpPr>
                <a:spLocks noChangeAspect="1"/>
              </p:cNvSpPr>
              <p:nvPr/>
            </p:nvSpPr>
            <p:spPr bwMode="auto">
              <a:xfrm>
                <a:off x="5022" y="8018"/>
                <a:ext cx="1316" cy="1284"/>
              </a:xfrm>
              <a:custGeom>
                <a:avLst/>
                <a:gdLst>
                  <a:gd name="T0" fmla="*/ 2147483647 w 329"/>
                  <a:gd name="T1" fmla="*/ 2147483647 h 321"/>
                  <a:gd name="T2" fmla="*/ 2147483647 w 329"/>
                  <a:gd name="T3" fmla="*/ 2147483647 h 321"/>
                  <a:gd name="T4" fmla="*/ 2147483647 w 329"/>
                  <a:gd name="T5" fmla="*/ 2147483647 h 321"/>
                  <a:gd name="T6" fmla="*/ 2147483647 w 329"/>
                  <a:gd name="T7" fmla="*/ 2147483647 h 321"/>
                  <a:gd name="T8" fmla="*/ 2147483647 w 329"/>
                  <a:gd name="T9" fmla="*/ 2147483647 h 321"/>
                  <a:gd name="T10" fmla="*/ 2147483647 w 329"/>
                  <a:gd name="T11" fmla="*/ 2147483647 h 321"/>
                  <a:gd name="T12" fmla="*/ 2147483647 w 329"/>
                  <a:gd name="T13" fmla="*/ 2147483647 h 321"/>
                  <a:gd name="T14" fmla="*/ 2147483647 w 329"/>
                  <a:gd name="T15" fmla="*/ 2147483647 h 321"/>
                  <a:gd name="T16" fmla="*/ 2147483647 w 329"/>
                  <a:gd name="T17" fmla="*/ 2147483647 h 321"/>
                  <a:gd name="T18" fmla="*/ 2147483647 w 329"/>
                  <a:gd name="T19" fmla="*/ 2147483647 h 321"/>
                  <a:gd name="T20" fmla="*/ 2147483647 w 329"/>
                  <a:gd name="T21" fmla="*/ 2147483647 h 321"/>
                  <a:gd name="T22" fmla="*/ 2147483647 w 329"/>
                  <a:gd name="T23" fmla="*/ 2147483647 h 321"/>
                  <a:gd name="T24" fmla="*/ 2147483647 w 329"/>
                  <a:gd name="T25" fmla="*/ 2147483647 h 321"/>
                  <a:gd name="T26" fmla="*/ 2147483647 w 329"/>
                  <a:gd name="T27" fmla="*/ 2147483647 h 321"/>
                  <a:gd name="T28" fmla="*/ 2147483647 w 329"/>
                  <a:gd name="T29" fmla="*/ 2147483647 h 321"/>
                  <a:gd name="T30" fmla="*/ 2147483647 w 329"/>
                  <a:gd name="T31" fmla="*/ 2147483647 h 321"/>
                  <a:gd name="T32" fmla="*/ 2147483647 w 329"/>
                  <a:gd name="T33" fmla="*/ 2147483647 h 321"/>
                  <a:gd name="T34" fmla="*/ 2147483647 w 329"/>
                  <a:gd name="T35" fmla="*/ 2147483647 h 321"/>
                  <a:gd name="T36" fmla="*/ 2147483647 w 329"/>
                  <a:gd name="T37" fmla="*/ 2147483647 h 321"/>
                  <a:gd name="T38" fmla="*/ 2147483647 w 329"/>
                  <a:gd name="T39" fmla="*/ 2147483647 h 321"/>
                  <a:gd name="T40" fmla="*/ 2147483647 w 329"/>
                  <a:gd name="T41" fmla="*/ 2147483647 h 321"/>
                  <a:gd name="T42" fmla="*/ 2147483647 w 329"/>
                  <a:gd name="T43" fmla="*/ 2147483647 h 321"/>
                  <a:gd name="T44" fmla="*/ 2147483647 w 329"/>
                  <a:gd name="T45" fmla="*/ 2147483647 h 321"/>
                  <a:gd name="T46" fmla="*/ 2147483647 w 329"/>
                  <a:gd name="T47" fmla="*/ 2147483647 h 321"/>
                  <a:gd name="T48" fmla="*/ 2147483647 w 329"/>
                  <a:gd name="T49" fmla="*/ 2147483647 h 321"/>
                  <a:gd name="T50" fmla="*/ 2147483647 w 329"/>
                  <a:gd name="T51" fmla="*/ 2147483647 h 321"/>
                  <a:gd name="T52" fmla="*/ 2147483647 w 329"/>
                  <a:gd name="T53" fmla="*/ 2147483647 h 321"/>
                  <a:gd name="T54" fmla="*/ 2147483647 w 329"/>
                  <a:gd name="T55" fmla="*/ 2147483647 h 321"/>
                  <a:gd name="T56" fmla="*/ 2147483647 w 329"/>
                  <a:gd name="T57" fmla="*/ 2147483647 h 321"/>
                  <a:gd name="T58" fmla="*/ 2147483647 w 329"/>
                  <a:gd name="T59" fmla="*/ 2147483647 h 321"/>
                  <a:gd name="T60" fmla="*/ 2147483647 w 329"/>
                  <a:gd name="T61" fmla="*/ 2147483647 h 321"/>
                  <a:gd name="T62" fmla="*/ 2147483647 w 329"/>
                  <a:gd name="T63" fmla="*/ 2147483647 h 321"/>
                  <a:gd name="T64" fmla="*/ 2147483647 w 329"/>
                  <a:gd name="T65" fmla="*/ 2147483647 h 321"/>
                  <a:gd name="T66" fmla="*/ 2147483647 w 329"/>
                  <a:gd name="T67" fmla="*/ 2147483647 h 321"/>
                  <a:gd name="T68" fmla="*/ 2147483647 w 329"/>
                  <a:gd name="T69" fmla="*/ 2147483647 h 321"/>
                  <a:gd name="T70" fmla="*/ 2147483647 w 329"/>
                  <a:gd name="T71" fmla="*/ 2147483647 h 321"/>
                  <a:gd name="T72" fmla="*/ 2147483647 w 329"/>
                  <a:gd name="T73" fmla="*/ 2147483647 h 321"/>
                  <a:gd name="T74" fmla="*/ 2147483647 w 329"/>
                  <a:gd name="T75" fmla="*/ 2147483647 h 321"/>
                  <a:gd name="T76" fmla="*/ 2147483647 w 329"/>
                  <a:gd name="T77" fmla="*/ 2147483647 h 321"/>
                  <a:gd name="T78" fmla="*/ 2147483647 w 329"/>
                  <a:gd name="T79" fmla="*/ 2147483647 h 321"/>
                  <a:gd name="T80" fmla="*/ 2147483647 w 329"/>
                  <a:gd name="T81" fmla="*/ 2147483647 h 321"/>
                  <a:gd name="T82" fmla="*/ 2147483647 w 329"/>
                  <a:gd name="T83" fmla="*/ 2147483647 h 321"/>
                  <a:gd name="T84" fmla="*/ 2147483647 w 329"/>
                  <a:gd name="T85" fmla="*/ 2147483647 h 321"/>
                  <a:gd name="T86" fmla="*/ 2147483647 w 329"/>
                  <a:gd name="T87" fmla="*/ 2147483647 h 321"/>
                  <a:gd name="T88" fmla="*/ 2147483647 w 329"/>
                  <a:gd name="T89" fmla="*/ 2147483647 h 321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329"/>
                  <a:gd name="T136" fmla="*/ 0 h 321"/>
                  <a:gd name="T137" fmla="*/ 329 w 329"/>
                  <a:gd name="T138" fmla="*/ 321 h 321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329" h="321">
                    <a:moveTo>
                      <a:pt x="310" y="79"/>
                    </a:moveTo>
                    <a:cubicBezTo>
                      <a:pt x="311" y="78"/>
                      <a:pt x="311" y="76"/>
                      <a:pt x="312" y="75"/>
                    </a:cubicBezTo>
                    <a:cubicBezTo>
                      <a:pt x="313" y="74"/>
                      <a:pt x="314" y="74"/>
                      <a:pt x="315" y="73"/>
                    </a:cubicBezTo>
                    <a:cubicBezTo>
                      <a:pt x="318" y="69"/>
                      <a:pt x="318" y="62"/>
                      <a:pt x="321" y="57"/>
                    </a:cubicBezTo>
                    <a:cubicBezTo>
                      <a:pt x="317" y="41"/>
                      <a:pt x="321" y="36"/>
                      <a:pt x="329" y="24"/>
                    </a:cubicBezTo>
                    <a:cubicBezTo>
                      <a:pt x="326" y="15"/>
                      <a:pt x="310" y="8"/>
                      <a:pt x="305" y="5"/>
                    </a:cubicBezTo>
                    <a:cubicBezTo>
                      <a:pt x="301" y="0"/>
                      <a:pt x="299" y="0"/>
                      <a:pt x="297" y="6"/>
                    </a:cubicBezTo>
                    <a:cubicBezTo>
                      <a:pt x="299" y="13"/>
                      <a:pt x="302" y="19"/>
                      <a:pt x="304" y="26"/>
                    </a:cubicBezTo>
                    <a:cubicBezTo>
                      <a:pt x="302" y="37"/>
                      <a:pt x="297" y="36"/>
                      <a:pt x="287" y="37"/>
                    </a:cubicBezTo>
                    <a:cubicBezTo>
                      <a:pt x="273" y="48"/>
                      <a:pt x="271" y="48"/>
                      <a:pt x="250" y="49"/>
                    </a:cubicBezTo>
                    <a:cubicBezTo>
                      <a:pt x="243" y="49"/>
                      <a:pt x="235" y="50"/>
                      <a:pt x="228" y="47"/>
                    </a:cubicBezTo>
                    <a:cubicBezTo>
                      <a:pt x="224" y="45"/>
                      <a:pt x="216" y="42"/>
                      <a:pt x="216" y="42"/>
                    </a:cubicBezTo>
                    <a:cubicBezTo>
                      <a:pt x="213" y="39"/>
                      <a:pt x="203" y="37"/>
                      <a:pt x="203" y="37"/>
                    </a:cubicBezTo>
                    <a:cubicBezTo>
                      <a:pt x="197" y="38"/>
                      <a:pt x="192" y="43"/>
                      <a:pt x="187" y="47"/>
                    </a:cubicBezTo>
                    <a:cubicBezTo>
                      <a:pt x="185" y="49"/>
                      <a:pt x="181" y="53"/>
                      <a:pt x="181" y="53"/>
                    </a:cubicBezTo>
                    <a:cubicBezTo>
                      <a:pt x="180" y="55"/>
                      <a:pt x="180" y="58"/>
                      <a:pt x="178" y="59"/>
                    </a:cubicBezTo>
                    <a:cubicBezTo>
                      <a:pt x="176" y="60"/>
                      <a:pt x="172" y="61"/>
                      <a:pt x="172" y="61"/>
                    </a:cubicBezTo>
                    <a:cubicBezTo>
                      <a:pt x="155" y="60"/>
                      <a:pt x="147" y="62"/>
                      <a:pt x="132" y="67"/>
                    </a:cubicBezTo>
                    <a:cubicBezTo>
                      <a:pt x="126" y="92"/>
                      <a:pt x="119" y="89"/>
                      <a:pt x="90" y="90"/>
                    </a:cubicBezTo>
                    <a:cubicBezTo>
                      <a:pt x="82" y="97"/>
                      <a:pt x="79" y="99"/>
                      <a:pt x="75" y="103"/>
                    </a:cubicBezTo>
                    <a:cubicBezTo>
                      <a:pt x="71" y="108"/>
                      <a:pt x="71" y="110"/>
                      <a:pt x="64" y="113"/>
                    </a:cubicBezTo>
                    <a:cubicBezTo>
                      <a:pt x="51" y="119"/>
                      <a:pt x="36" y="121"/>
                      <a:pt x="22" y="126"/>
                    </a:cubicBezTo>
                    <a:cubicBezTo>
                      <a:pt x="31" y="128"/>
                      <a:pt x="27" y="133"/>
                      <a:pt x="31" y="140"/>
                    </a:cubicBezTo>
                    <a:cubicBezTo>
                      <a:pt x="33" y="143"/>
                      <a:pt x="35" y="149"/>
                      <a:pt x="35" y="149"/>
                    </a:cubicBezTo>
                    <a:cubicBezTo>
                      <a:pt x="33" y="155"/>
                      <a:pt x="36" y="150"/>
                      <a:pt x="27" y="153"/>
                    </a:cubicBezTo>
                    <a:cubicBezTo>
                      <a:pt x="24" y="154"/>
                      <a:pt x="19" y="157"/>
                      <a:pt x="19" y="157"/>
                    </a:cubicBezTo>
                    <a:cubicBezTo>
                      <a:pt x="22" y="163"/>
                      <a:pt x="22" y="179"/>
                      <a:pt x="16" y="183"/>
                    </a:cubicBezTo>
                    <a:cubicBezTo>
                      <a:pt x="12" y="185"/>
                      <a:pt x="4" y="188"/>
                      <a:pt x="4" y="188"/>
                    </a:cubicBezTo>
                    <a:cubicBezTo>
                      <a:pt x="2" y="193"/>
                      <a:pt x="0" y="193"/>
                      <a:pt x="3" y="198"/>
                    </a:cubicBezTo>
                    <a:cubicBezTo>
                      <a:pt x="2" y="205"/>
                      <a:pt x="6" y="224"/>
                      <a:pt x="4" y="233"/>
                    </a:cubicBezTo>
                    <a:cubicBezTo>
                      <a:pt x="5" y="238"/>
                      <a:pt x="15" y="240"/>
                      <a:pt x="15" y="240"/>
                    </a:cubicBezTo>
                    <a:cubicBezTo>
                      <a:pt x="17" y="241"/>
                      <a:pt x="17" y="244"/>
                      <a:pt x="19" y="245"/>
                    </a:cubicBezTo>
                    <a:cubicBezTo>
                      <a:pt x="22" y="246"/>
                      <a:pt x="31" y="248"/>
                      <a:pt x="34" y="249"/>
                    </a:cubicBezTo>
                    <a:cubicBezTo>
                      <a:pt x="37" y="251"/>
                      <a:pt x="40" y="252"/>
                      <a:pt x="43" y="254"/>
                    </a:cubicBezTo>
                    <a:cubicBezTo>
                      <a:pt x="47" y="260"/>
                      <a:pt x="51" y="260"/>
                      <a:pt x="57" y="261"/>
                    </a:cubicBezTo>
                    <a:cubicBezTo>
                      <a:pt x="49" y="263"/>
                      <a:pt x="46" y="262"/>
                      <a:pt x="43" y="269"/>
                    </a:cubicBezTo>
                    <a:cubicBezTo>
                      <a:pt x="44" y="273"/>
                      <a:pt x="44" y="283"/>
                      <a:pt x="47" y="287"/>
                    </a:cubicBezTo>
                    <a:cubicBezTo>
                      <a:pt x="52" y="293"/>
                      <a:pt x="60" y="296"/>
                      <a:pt x="66" y="302"/>
                    </a:cubicBezTo>
                    <a:cubicBezTo>
                      <a:pt x="67" y="306"/>
                      <a:pt x="69" y="306"/>
                      <a:pt x="73" y="305"/>
                    </a:cubicBezTo>
                    <a:cubicBezTo>
                      <a:pt x="80" y="298"/>
                      <a:pt x="79" y="298"/>
                      <a:pt x="90" y="302"/>
                    </a:cubicBezTo>
                    <a:cubicBezTo>
                      <a:pt x="98" y="301"/>
                      <a:pt x="100" y="297"/>
                      <a:pt x="108" y="294"/>
                    </a:cubicBezTo>
                    <a:cubicBezTo>
                      <a:pt x="124" y="296"/>
                      <a:pt x="138" y="296"/>
                      <a:pt x="154" y="295"/>
                    </a:cubicBezTo>
                    <a:cubicBezTo>
                      <a:pt x="160" y="294"/>
                      <a:pt x="168" y="293"/>
                      <a:pt x="174" y="295"/>
                    </a:cubicBezTo>
                    <a:cubicBezTo>
                      <a:pt x="176" y="296"/>
                      <a:pt x="176" y="300"/>
                      <a:pt x="178" y="301"/>
                    </a:cubicBezTo>
                    <a:cubicBezTo>
                      <a:pt x="187" y="299"/>
                      <a:pt x="185" y="303"/>
                      <a:pt x="183" y="311"/>
                    </a:cubicBezTo>
                    <a:cubicBezTo>
                      <a:pt x="185" y="321"/>
                      <a:pt x="193" y="310"/>
                      <a:pt x="198" y="308"/>
                    </a:cubicBezTo>
                    <a:cubicBezTo>
                      <a:pt x="212" y="309"/>
                      <a:pt x="211" y="311"/>
                      <a:pt x="221" y="315"/>
                    </a:cubicBezTo>
                    <a:cubicBezTo>
                      <a:pt x="224" y="316"/>
                      <a:pt x="231" y="319"/>
                      <a:pt x="231" y="319"/>
                    </a:cubicBezTo>
                    <a:cubicBezTo>
                      <a:pt x="234" y="319"/>
                      <a:pt x="238" y="320"/>
                      <a:pt x="241" y="318"/>
                    </a:cubicBezTo>
                    <a:cubicBezTo>
                      <a:pt x="243" y="317"/>
                      <a:pt x="239" y="312"/>
                      <a:pt x="239" y="312"/>
                    </a:cubicBezTo>
                    <a:cubicBezTo>
                      <a:pt x="238" y="298"/>
                      <a:pt x="235" y="297"/>
                      <a:pt x="226" y="288"/>
                    </a:cubicBezTo>
                    <a:cubicBezTo>
                      <a:pt x="225" y="285"/>
                      <a:pt x="220" y="278"/>
                      <a:pt x="216" y="277"/>
                    </a:cubicBezTo>
                    <a:cubicBezTo>
                      <a:pt x="212" y="269"/>
                      <a:pt x="205" y="271"/>
                      <a:pt x="197" y="270"/>
                    </a:cubicBezTo>
                    <a:cubicBezTo>
                      <a:pt x="180" y="257"/>
                      <a:pt x="154" y="259"/>
                      <a:pt x="135" y="253"/>
                    </a:cubicBezTo>
                    <a:cubicBezTo>
                      <a:pt x="139" y="245"/>
                      <a:pt x="150" y="248"/>
                      <a:pt x="159" y="247"/>
                    </a:cubicBezTo>
                    <a:cubicBezTo>
                      <a:pt x="162" y="242"/>
                      <a:pt x="161" y="237"/>
                      <a:pt x="156" y="234"/>
                    </a:cubicBezTo>
                    <a:cubicBezTo>
                      <a:pt x="154" y="231"/>
                      <a:pt x="153" y="228"/>
                      <a:pt x="151" y="225"/>
                    </a:cubicBezTo>
                    <a:cubicBezTo>
                      <a:pt x="156" y="217"/>
                      <a:pt x="171" y="223"/>
                      <a:pt x="180" y="222"/>
                    </a:cubicBezTo>
                    <a:cubicBezTo>
                      <a:pt x="179" y="218"/>
                      <a:pt x="178" y="216"/>
                      <a:pt x="174" y="215"/>
                    </a:cubicBezTo>
                    <a:cubicBezTo>
                      <a:pt x="172" y="208"/>
                      <a:pt x="164" y="199"/>
                      <a:pt x="157" y="197"/>
                    </a:cubicBezTo>
                    <a:cubicBezTo>
                      <a:pt x="156" y="193"/>
                      <a:pt x="154" y="193"/>
                      <a:pt x="150" y="191"/>
                    </a:cubicBezTo>
                    <a:cubicBezTo>
                      <a:pt x="148" y="185"/>
                      <a:pt x="149" y="183"/>
                      <a:pt x="144" y="180"/>
                    </a:cubicBezTo>
                    <a:cubicBezTo>
                      <a:pt x="142" y="177"/>
                      <a:pt x="136" y="175"/>
                      <a:pt x="136" y="175"/>
                    </a:cubicBezTo>
                    <a:cubicBezTo>
                      <a:pt x="133" y="171"/>
                      <a:pt x="131" y="166"/>
                      <a:pt x="127" y="162"/>
                    </a:cubicBezTo>
                    <a:cubicBezTo>
                      <a:pt x="125" y="157"/>
                      <a:pt x="124" y="152"/>
                      <a:pt x="121" y="147"/>
                    </a:cubicBezTo>
                    <a:cubicBezTo>
                      <a:pt x="122" y="136"/>
                      <a:pt x="120" y="128"/>
                      <a:pt x="130" y="125"/>
                    </a:cubicBezTo>
                    <a:cubicBezTo>
                      <a:pt x="132" y="122"/>
                      <a:pt x="138" y="120"/>
                      <a:pt x="138" y="120"/>
                    </a:cubicBezTo>
                    <a:cubicBezTo>
                      <a:pt x="150" y="122"/>
                      <a:pt x="152" y="127"/>
                      <a:pt x="147" y="135"/>
                    </a:cubicBezTo>
                    <a:cubicBezTo>
                      <a:pt x="150" y="145"/>
                      <a:pt x="161" y="139"/>
                      <a:pt x="169" y="144"/>
                    </a:cubicBezTo>
                    <a:cubicBezTo>
                      <a:pt x="170" y="150"/>
                      <a:pt x="170" y="166"/>
                      <a:pt x="177" y="168"/>
                    </a:cubicBezTo>
                    <a:cubicBezTo>
                      <a:pt x="186" y="167"/>
                      <a:pt x="197" y="168"/>
                      <a:pt x="187" y="162"/>
                    </a:cubicBezTo>
                    <a:cubicBezTo>
                      <a:pt x="185" y="156"/>
                      <a:pt x="181" y="149"/>
                      <a:pt x="177" y="144"/>
                    </a:cubicBezTo>
                    <a:cubicBezTo>
                      <a:pt x="174" y="141"/>
                      <a:pt x="166" y="133"/>
                      <a:pt x="169" y="135"/>
                    </a:cubicBezTo>
                    <a:cubicBezTo>
                      <a:pt x="170" y="136"/>
                      <a:pt x="171" y="136"/>
                      <a:pt x="172" y="137"/>
                    </a:cubicBezTo>
                    <a:cubicBezTo>
                      <a:pt x="178" y="147"/>
                      <a:pt x="194" y="153"/>
                      <a:pt x="205" y="156"/>
                    </a:cubicBezTo>
                    <a:cubicBezTo>
                      <a:pt x="215" y="153"/>
                      <a:pt x="207" y="147"/>
                      <a:pt x="199" y="144"/>
                    </a:cubicBezTo>
                    <a:cubicBezTo>
                      <a:pt x="197" y="138"/>
                      <a:pt x="195" y="138"/>
                      <a:pt x="190" y="135"/>
                    </a:cubicBezTo>
                    <a:cubicBezTo>
                      <a:pt x="195" y="131"/>
                      <a:pt x="201" y="134"/>
                      <a:pt x="207" y="135"/>
                    </a:cubicBezTo>
                    <a:cubicBezTo>
                      <a:pt x="210" y="140"/>
                      <a:pt x="217" y="140"/>
                      <a:pt x="222" y="143"/>
                    </a:cubicBezTo>
                    <a:cubicBezTo>
                      <a:pt x="224" y="142"/>
                      <a:pt x="227" y="142"/>
                      <a:pt x="228" y="141"/>
                    </a:cubicBezTo>
                    <a:cubicBezTo>
                      <a:pt x="230" y="139"/>
                      <a:pt x="225" y="136"/>
                      <a:pt x="223" y="135"/>
                    </a:cubicBezTo>
                    <a:cubicBezTo>
                      <a:pt x="215" y="131"/>
                      <a:pt x="207" y="124"/>
                      <a:pt x="199" y="121"/>
                    </a:cubicBezTo>
                    <a:cubicBezTo>
                      <a:pt x="197" y="117"/>
                      <a:pt x="196" y="114"/>
                      <a:pt x="192" y="113"/>
                    </a:cubicBezTo>
                    <a:cubicBezTo>
                      <a:pt x="191" y="109"/>
                      <a:pt x="187" y="109"/>
                      <a:pt x="186" y="105"/>
                    </a:cubicBezTo>
                    <a:cubicBezTo>
                      <a:pt x="188" y="96"/>
                      <a:pt x="197" y="98"/>
                      <a:pt x="205" y="97"/>
                    </a:cubicBezTo>
                    <a:cubicBezTo>
                      <a:pt x="211" y="95"/>
                      <a:pt x="212" y="90"/>
                      <a:pt x="217" y="87"/>
                    </a:cubicBezTo>
                    <a:cubicBezTo>
                      <a:pt x="222" y="84"/>
                      <a:pt x="232" y="83"/>
                      <a:pt x="237" y="83"/>
                    </a:cubicBezTo>
                    <a:cubicBezTo>
                      <a:pt x="243" y="79"/>
                      <a:pt x="250" y="78"/>
                      <a:pt x="257" y="77"/>
                    </a:cubicBezTo>
                    <a:cubicBezTo>
                      <a:pt x="262" y="74"/>
                      <a:pt x="268" y="73"/>
                      <a:pt x="274" y="72"/>
                    </a:cubicBezTo>
                    <a:cubicBezTo>
                      <a:pt x="282" y="73"/>
                      <a:pt x="297" y="75"/>
                      <a:pt x="297" y="75"/>
                    </a:cubicBezTo>
                    <a:cubicBezTo>
                      <a:pt x="301" y="78"/>
                      <a:pt x="305" y="79"/>
                      <a:pt x="310" y="79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</p:grpSp>
        <p:sp>
          <p:nvSpPr>
            <p:cNvPr id="262" name="Freeform 36"/>
            <p:cNvSpPr>
              <a:spLocks noChangeAspect="1"/>
            </p:cNvSpPr>
            <p:nvPr/>
          </p:nvSpPr>
          <p:spPr bwMode="auto">
            <a:xfrm>
              <a:off x="2879" y="2969"/>
              <a:ext cx="273" cy="143"/>
            </a:xfrm>
            <a:custGeom>
              <a:avLst/>
              <a:gdLst>
                <a:gd name="T0" fmla="*/ 495 w 270"/>
                <a:gd name="T1" fmla="*/ 67 h 142"/>
                <a:gd name="T2" fmla="*/ 519 w 270"/>
                <a:gd name="T3" fmla="*/ 26 h 142"/>
                <a:gd name="T4" fmla="*/ 526 w 270"/>
                <a:gd name="T5" fmla="*/ 16 h 142"/>
                <a:gd name="T6" fmla="*/ 423 w 270"/>
                <a:gd name="T7" fmla="*/ 0 h 142"/>
                <a:gd name="T8" fmla="*/ 359 w 270"/>
                <a:gd name="T9" fmla="*/ 9 h 142"/>
                <a:gd name="T10" fmla="*/ 329 w 270"/>
                <a:gd name="T11" fmla="*/ 9 h 142"/>
                <a:gd name="T12" fmla="*/ 291 w 270"/>
                <a:gd name="T13" fmla="*/ 18 h 142"/>
                <a:gd name="T14" fmla="*/ 274 w 270"/>
                <a:gd name="T15" fmla="*/ 25 h 142"/>
                <a:gd name="T16" fmla="*/ 246 w 270"/>
                <a:gd name="T17" fmla="*/ 18 h 142"/>
                <a:gd name="T18" fmla="*/ 213 w 270"/>
                <a:gd name="T19" fmla="*/ 7 h 142"/>
                <a:gd name="T20" fmla="*/ 203 w 270"/>
                <a:gd name="T21" fmla="*/ 2 h 142"/>
                <a:gd name="T22" fmla="*/ 189 w 270"/>
                <a:gd name="T23" fmla="*/ 14 h 142"/>
                <a:gd name="T24" fmla="*/ 159 w 270"/>
                <a:gd name="T25" fmla="*/ 8 h 142"/>
                <a:gd name="T26" fmla="*/ 131 w 270"/>
                <a:gd name="T27" fmla="*/ 13 h 142"/>
                <a:gd name="T28" fmla="*/ 124 w 270"/>
                <a:gd name="T29" fmla="*/ 22 h 142"/>
                <a:gd name="T30" fmla="*/ 115 w 270"/>
                <a:gd name="T31" fmla="*/ 36 h 142"/>
                <a:gd name="T32" fmla="*/ 108 w 270"/>
                <a:gd name="T33" fmla="*/ 46 h 142"/>
                <a:gd name="T34" fmla="*/ 41 w 270"/>
                <a:gd name="T35" fmla="*/ 57 h 142"/>
                <a:gd name="T36" fmla="*/ 6 w 270"/>
                <a:gd name="T37" fmla="*/ 69 h 142"/>
                <a:gd name="T38" fmla="*/ 0 w 270"/>
                <a:gd name="T39" fmla="*/ 153 h 142"/>
                <a:gd name="T40" fmla="*/ 6 w 270"/>
                <a:gd name="T41" fmla="*/ 164 h 142"/>
                <a:gd name="T42" fmla="*/ 10 w 270"/>
                <a:gd name="T43" fmla="*/ 185 h 142"/>
                <a:gd name="T44" fmla="*/ 23 w 270"/>
                <a:gd name="T45" fmla="*/ 189 h 142"/>
                <a:gd name="T46" fmla="*/ 26 w 270"/>
                <a:gd name="T47" fmla="*/ 190 h 142"/>
                <a:gd name="T48" fmla="*/ 35 w 270"/>
                <a:gd name="T49" fmla="*/ 196 h 142"/>
                <a:gd name="T50" fmla="*/ 41 w 270"/>
                <a:gd name="T51" fmla="*/ 203 h 142"/>
                <a:gd name="T52" fmla="*/ 171 w 270"/>
                <a:gd name="T53" fmla="*/ 200 h 142"/>
                <a:gd name="T54" fmla="*/ 189 w 270"/>
                <a:gd name="T55" fmla="*/ 191 h 142"/>
                <a:gd name="T56" fmla="*/ 240 w 270"/>
                <a:gd name="T57" fmla="*/ 169 h 142"/>
                <a:gd name="T58" fmla="*/ 270 w 270"/>
                <a:gd name="T59" fmla="*/ 161 h 142"/>
                <a:gd name="T60" fmla="*/ 277 w 270"/>
                <a:gd name="T61" fmla="*/ 157 h 142"/>
                <a:gd name="T62" fmla="*/ 291 w 270"/>
                <a:gd name="T63" fmla="*/ 160 h 142"/>
                <a:gd name="T64" fmla="*/ 316 w 270"/>
                <a:gd name="T65" fmla="*/ 157 h 142"/>
                <a:gd name="T66" fmla="*/ 360 w 270"/>
                <a:gd name="T67" fmla="*/ 66 h 142"/>
                <a:gd name="T68" fmla="*/ 413 w 270"/>
                <a:gd name="T69" fmla="*/ 66 h 142"/>
                <a:gd name="T70" fmla="*/ 451 w 270"/>
                <a:gd name="T71" fmla="*/ 67 h 142"/>
                <a:gd name="T72" fmla="*/ 466 w 270"/>
                <a:gd name="T73" fmla="*/ 133 h 142"/>
                <a:gd name="T74" fmla="*/ 495 w 270"/>
                <a:gd name="T75" fmla="*/ 67 h 142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70"/>
                <a:gd name="T115" fmla="*/ 0 h 142"/>
                <a:gd name="T116" fmla="*/ 270 w 270"/>
                <a:gd name="T117" fmla="*/ 142 h 142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70" h="142">
                  <a:moveTo>
                    <a:pt x="254" y="67"/>
                  </a:moveTo>
                  <a:cubicBezTo>
                    <a:pt x="257" y="58"/>
                    <a:pt x="256" y="33"/>
                    <a:pt x="266" y="26"/>
                  </a:cubicBezTo>
                  <a:cubicBezTo>
                    <a:pt x="267" y="22"/>
                    <a:pt x="269" y="20"/>
                    <a:pt x="270" y="16"/>
                  </a:cubicBezTo>
                  <a:cubicBezTo>
                    <a:pt x="251" y="13"/>
                    <a:pt x="234" y="4"/>
                    <a:pt x="216" y="0"/>
                  </a:cubicBezTo>
                  <a:cubicBezTo>
                    <a:pt x="202" y="1"/>
                    <a:pt x="197" y="5"/>
                    <a:pt x="185" y="9"/>
                  </a:cubicBezTo>
                  <a:cubicBezTo>
                    <a:pt x="182" y="17"/>
                    <a:pt x="176" y="11"/>
                    <a:pt x="171" y="9"/>
                  </a:cubicBezTo>
                  <a:cubicBezTo>
                    <a:pt x="158" y="10"/>
                    <a:pt x="154" y="9"/>
                    <a:pt x="147" y="18"/>
                  </a:cubicBezTo>
                  <a:cubicBezTo>
                    <a:pt x="146" y="27"/>
                    <a:pt x="145" y="26"/>
                    <a:pt x="136" y="25"/>
                  </a:cubicBezTo>
                  <a:cubicBezTo>
                    <a:pt x="133" y="23"/>
                    <a:pt x="126" y="18"/>
                    <a:pt x="126" y="18"/>
                  </a:cubicBezTo>
                  <a:cubicBezTo>
                    <a:pt x="124" y="12"/>
                    <a:pt x="117" y="11"/>
                    <a:pt x="113" y="7"/>
                  </a:cubicBezTo>
                  <a:cubicBezTo>
                    <a:pt x="112" y="5"/>
                    <a:pt x="112" y="1"/>
                    <a:pt x="108" y="2"/>
                  </a:cubicBezTo>
                  <a:cubicBezTo>
                    <a:pt x="108" y="2"/>
                    <a:pt x="104" y="12"/>
                    <a:pt x="101" y="14"/>
                  </a:cubicBezTo>
                  <a:cubicBezTo>
                    <a:pt x="96" y="23"/>
                    <a:pt x="91" y="11"/>
                    <a:pt x="86" y="8"/>
                  </a:cubicBezTo>
                  <a:cubicBezTo>
                    <a:pt x="80" y="9"/>
                    <a:pt x="76" y="12"/>
                    <a:pt x="70" y="13"/>
                  </a:cubicBezTo>
                  <a:cubicBezTo>
                    <a:pt x="69" y="17"/>
                    <a:pt x="63" y="22"/>
                    <a:pt x="63" y="22"/>
                  </a:cubicBezTo>
                  <a:cubicBezTo>
                    <a:pt x="62" y="28"/>
                    <a:pt x="58" y="32"/>
                    <a:pt x="54" y="36"/>
                  </a:cubicBezTo>
                  <a:cubicBezTo>
                    <a:pt x="52" y="41"/>
                    <a:pt x="52" y="44"/>
                    <a:pt x="47" y="46"/>
                  </a:cubicBezTo>
                  <a:cubicBezTo>
                    <a:pt x="45" y="52"/>
                    <a:pt x="46" y="54"/>
                    <a:pt x="41" y="57"/>
                  </a:cubicBezTo>
                  <a:cubicBezTo>
                    <a:pt x="32" y="70"/>
                    <a:pt x="22" y="68"/>
                    <a:pt x="6" y="69"/>
                  </a:cubicBezTo>
                  <a:cubicBezTo>
                    <a:pt x="1" y="76"/>
                    <a:pt x="3" y="84"/>
                    <a:pt x="0" y="92"/>
                  </a:cubicBezTo>
                  <a:cubicBezTo>
                    <a:pt x="2" y="98"/>
                    <a:pt x="4" y="98"/>
                    <a:pt x="6" y="103"/>
                  </a:cubicBezTo>
                  <a:cubicBezTo>
                    <a:pt x="4" y="109"/>
                    <a:pt x="3" y="120"/>
                    <a:pt x="10" y="124"/>
                  </a:cubicBezTo>
                  <a:cubicBezTo>
                    <a:pt x="14" y="126"/>
                    <a:pt x="19" y="127"/>
                    <a:pt x="23" y="128"/>
                  </a:cubicBezTo>
                  <a:cubicBezTo>
                    <a:pt x="24" y="128"/>
                    <a:pt x="26" y="129"/>
                    <a:pt x="26" y="129"/>
                  </a:cubicBezTo>
                  <a:cubicBezTo>
                    <a:pt x="29" y="132"/>
                    <a:pt x="32" y="133"/>
                    <a:pt x="35" y="135"/>
                  </a:cubicBezTo>
                  <a:cubicBezTo>
                    <a:pt x="36" y="139"/>
                    <a:pt x="39" y="138"/>
                    <a:pt x="41" y="142"/>
                  </a:cubicBezTo>
                  <a:cubicBezTo>
                    <a:pt x="58" y="141"/>
                    <a:pt x="75" y="140"/>
                    <a:pt x="92" y="139"/>
                  </a:cubicBezTo>
                  <a:cubicBezTo>
                    <a:pt x="97" y="137"/>
                    <a:pt x="99" y="135"/>
                    <a:pt x="101" y="130"/>
                  </a:cubicBezTo>
                  <a:cubicBezTo>
                    <a:pt x="99" y="106"/>
                    <a:pt x="99" y="109"/>
                    <a:pt x="124" y="108"/>
                  </a:cubicBezTo>
                  <a:cubicBezTo>
                    <a:pt x="129" y="106"/>
                    <a:pt x="131" y="104"/>
                    <a:pt x="134" y="100"/>
                  </a:cubicBezTo>
                  <a:cubicBezTo>
                    <a:pt x="135" y="98"/>
                    <a:pt x="135" y="96"/>
                    <a:pt x="138" y="96"/>
                  </a:cubicBezTo>
                  <a:cubicBezTo>
                    <a:pt x="141" y="96"/>
                    <a:pt x="147" y="99"/>
                    <a:pt x="147" y="99"/>
                  </a:cubicBezTo>
                  <a:cubicBezTo>
                    <a:pt x="153" y="98"/>
                    <a:pt x="164" y="96"/>
                    <a:pt x="164" y="96"/>
                  </a:cubicBezTo>
                  <a:cubicBezTo>
                    <a:pt x="169" y="82"/>
                    <a:pt x="169" y="70"/>
                    <a:pt x="186" y="66"/>
                  </a:cubicBezTo>
                  <a:cubicBezTo>
                    <a:pt x="195" y="67"/>
                    <a:pt x="203" y="69"/>
                    <a:pt x="212" y="66"/>
                  </a:cubicBezTo>
                  <a:cubicBezTo>
                    <a:pt x="217" y="66"/>
                    <a:pt x="223" y="66"/>
                    <a:pt x="228" y="67"/>
                  </a:cubicBezTo>
                  <a:cubicBezTo>
                    <a:pt x="231" y="67"/>
                    <a:pt x="237" y="72"/>
                    <a:pt x="237" y="72"/>
                  </a:cubicBezTo>
                  <a:cubicBezTo>
                    <a:pt x="238" y="72"/>
                    <a:pt x="254" y="72"/>
                    <a:pt x="254" y="67"/>
                  </a:cubicBez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  <p:grpSp>
          <p:nvGrpSpPr>
            <p:cNvPr id="263" name="Group 37"/>
            <p:cNvGrpSpPr>
              <a:grpSpLocks noChangeAspect="1"/>
            </p:cNvGrpSpPr>
            <p:nvPr/>
          </p:nvGrpSpPr>
          <p:grpSpPr bwMode="auto">
            <a:xfrm>
              <a:off x="2726" y="3208"/>
              <a:ext cx="304" cy="292"/>
              <a:chOff x="2859" y="3044"/>
              <a:chExt cx="302" cy="289"/>
            </a:xfrm>
            <a:grpFill/>
          </p:grpSpPr>
          <p:sp>
            <p:nvSpPr>
              <p:cNvPr id="345" name="Freeform 38"/>
              <p:cNvSpPr>
                <a:spLocks noChangeAspect="1"/>
              </p:cNvSpPr>
              <p:nvPr/>
            </p:nvSpPr>
            <p:spPr bwMode="auto">
              <a:xfrm>
                <a:off x="2901" y="3158"/>
                <a:ext cx="24" cy="49"/>
              </a:xfrm>
              <a:custGeom>
                <a:avLst/>
                <a:gdLst>
                  <a:gd name="T0" fmla="*/ 0 w 24"/>
                  <a:gd name="T1" fmla="*/ 0 h 49"/>
                  <a:gd name="T2" fmla="*/ 16 w 24"/>
                  <a:gd name="T3" fmla="*/ 43 h 49"/>
                  <a:gd name="T4" fmla="*/ 22 w 24"/>
                  <a:gd name="T5" fmla="*/ 43 h 49"/>
                  <a:gd name="T6" fmla="*/ 14 w 24"/>
                  <a:gd name="T7" fmla="*/ 10 h 49"/>
                  <a:gd name="T8" fmla="*/ 0 w 24"/>
                  <a:gd name="T9" fmla="*/ 0 h 4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4"/>
                  <a:gd name="T16" fmla="*/ 0 h 49"/>
                  <a:gd name="T17" fmla="*/ 24 w 24"/>
                  <a:gd name="T18" fmla="*/ 49 h 4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4" h="49">
                    <a:moveTo>
                      <a:pt x="0" y="0"/>
                    </a:moveTo>
                    <a:cubicBezTo>
                      <a:pt x="2" y="12"/>
                      <a:pt x="7" y="34"/>
                      <a:pt x="16" y="43"/>
                    </a:cubicBezTo>
                    <a:cubicBezTo>
                      <a:pt x="18" y="49"/>
                      <a:pt x="19" y="49"/>
                      <a:pt x="22" y="43"/>
                    </a:cubicBezTo>
                    <a:cubicBezTo>
                      <a:pt x="21" y="34"/>
                      <a:pt x="24" y="17"/>
                      <a:pt x="14" y="10"/>
                    </a:cubicBezTo>
                    <a:cubicBezTo>
                      <a:pt x="11" y="5"/>
                      <a:pt x="6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46" name="Freeform 39"/>
              <p:cNvSpPr>
                <a:spLocks noChangeAspect="1"/>
              </p:cNvSpPr>
              <p:nvPr/>
            </p:nvSpPr>
            <p:spPr bwMode="auto">
              <a:xfrm>
                <a:off x="2933" y="3220"/>
                <a:ext cx="39" cy="37"/>
              </a:xfrm>
              <a:custGeom>
                <a:avLst/>
                <a:gdLst>
                  <a:gd name="T0" fmla="*/ 0 w 39"/>
                  <a:gd name="T1" fmla="*/ 0 h 37"/>
                  <a:gd name="T2" fmla="*/ 20 w 39"/>
                  <a:gd name="T3" fmla="*/ 11 h 37"/>
                  <a:gd name="T4" fmla="*/ 26 w 39"/>
                  <a:gd name="T5" fmla="*/ 15 h 37"/>
                  <a:gd name="T6" fmla="*/ 36 w 39"/>
                  <a:gd name="T7" fmla="*/ 33 h 37"/>
                  <a:gd name="T8" fmla="*/ 38 w 39"/>
                  <a:gd name="T9" fmla="*/ 36 h 37"/>
                  <a:gd name="T10" fmla="*/ 34 w 39"/>
                  <a:gd name="T11" fmla="*/ 35 h 37"/>
                  <a:gd name="T12" fmla="*/ 0 w 39"/>
                  <a:gd name="T13" fmla="*/ 0 h 3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9"/>
                  <a:gd name="T22" fmla="*/ 0 h 37"/>
                  <a:gd name="T23" fmla="*/ 39 w 39"/>
                  <a:gd name="T24" fmla="*/ 37 h 37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9" h="37">
                    <a:moveTo>
                      <a:pt x="0" y="0"/>
                    </a:moveTo>
                    <a:cubicBezTo>
                      <a:pt x="8" y="3"/>
                      <a:pt x="12" y="8"/>
                      <a:pt x="20" y="11"/>
                    </a:cubicBezTo>
                    <a:cubicBezTo>
                      <a:pt x="22" y="13"/>
                      <a:pt x="24" y="13"/>
                      <a:pt x="26" y="15"/>
                    </a:cubicBezTo>
                    <a:cubicBezTo>
                      <a:pt x="31" y="20"/>
                      <a:pt x="33" y="27"/>
                      <a:pt x="36" y="33"/>
                    </a:cubicBezTo>
                    <a:cubicBezTo>
                      <a:pt x="37" y="34"/>
                      <a:pt x="39" y="35"/>
                      <a:pt x="38" y="36"/>
                    </a:cubicBezTo>
                    <a:cubicBezTo>
                      <a:pt x="37" y="37"/>
                      <a:pt x="35" y="35"/>
                      <a:pt x="34" y="35"/>
                    </a:cubicBezTo>
                    <a:cubicBezTo>
                      <a:pt x="28" y="29"/>
                      <a:pt x="2" y="4"/>
                      <a:pt x="0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47" name="Freeform 40"/>
              <p:cNvSpPr>
                <a:spLocks noChangeAspect="1"/>
              </p:cNvSpPr>
              <p:nvPr/>
            </p:nvSpPr>
            <p:spPr bwMode="auto">
              <a:xfrm>
                <a:off x="2926" y="3185"/>
                <a:ext cx="31" cy="34"/>
              </a:xfrm>
              <a:custGeom>
                <a:avLst/>
                <a:gdLst>
                  <a:gd name="T0" fmla="*/ 5 w 31"/>
                  <a:gd name="T1" fmla="*/ 2 h 34"/>
                  <a:gd name="T2" fmla="*/ 27 w 31"/>
                  <a:gd name="T3" fmla="*/ 23 h 34"/>
                  <a:gd name="T4" fmla="*/ 21 w 31"/>
                  <a:gd name="T5" fmla="*/ 27 h 34"/>
                  <a:gd name="T6" fmla="*/ 10 w 31"/>
                  <a:gd name="T7" fmla="*/ 13 h 34"/>
                  <a:gd name="T8" fmla="*/ 5 w 31"/>
                  <a:gd name="T9" fmla="*/ 2 h 3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1"/>
                  <a:gd name="T16" fmla="*/ 0 h 34"/>
                  <a:gd name="T17" fmla="*/ 31 w 31"/>
                  <a:gd name="T18" fmla="*/ 34 h 3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1" h="34">
                    <a:moveTo>
                      <a:pt x="5" y="2"/>
                    </a:moveTo>
                    <a:cubicBezTo>
                      <a:pt x="13" y="8"/>
                      <a:pt x="19" y="17"/>
                      <a:pt x="27" y="23"/>
                    </a:cubicBezTo>
                    <a:cubicBezTo>
                      <a:pt x="31" y="34"/>
                      <a:pt x="31" y="33"/>
                      <a:pt x="21" y="27"/>
                    </a:cubicBezTo>
                    <a:cubicBezTo>
                      <a:pt x="18" y="21"/>
                      <a:pt x="15" y="16"/>
                      <a:pt x="10" y="13"/>
                    </a:cubicBezTo>
                    <a:cubicBezTo>
                      <a:pt x="9" y="11"/>
                      <a:pt x="0" y="0"/>
                      <a:pt x="5" y="2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48" name="Freeform 41"/>
              <p:cNvSpPr>
                <a:spLocks noChangeAspect="1"/>
              </p:cNvSpPr>
              <p:nvPr/>
            </p:nvSpPr>
            <p:spPr bwMode="auto">
              <a:xfrm>
                <a:off x="3023" y="3273"/>
                <a:ext cx="27" cy="13"/>
              </a:xfrm>
              <a:custGeom>
                <a:avLst/>
                <a:gdLst>
                  <a:gd name="T0" fmla="*/ 0 w 27"/>
                  <a:gd name="T1" fmla="*/ 0 h 13"/>
                  <a:gd name="T2" fmla="*/ 11 w 27"/>
                  <a:gd name="T3" fmla="*/ 6 h 13"/>
                  <a:gd name="T4" fmla="*/ 27 w 27"/>
                  <a:gd name="T5" fmla="*/ 4 h 13"/>
                  <a:gd name="T6" fmla="*/ 12 w 27"/>
                  <a:gd name="T7" fmla="*/ 13 h 13"/>
                  <a:gd name="T8" fmla="*/ 0 w 27"/>
                  <a:gd name="T9" fmla="*/ 0 h 1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7"/>
                  <a:gd name="T16" fmla="*/ 0 h 13"/>
                  <a:gd name="T17" fmla="*/ 27 w 27"/>
                  <a:gd name="T18" fmla="*/ 13 h 1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7" h="13">
                    <a:moveTo>
                      <a:pt x="0" y="0"/>
                    </a:moveTo>
                    <a:cubicBezTo>
                      <a:pt x="3" y="3"/>
                      <a:pt x="11" y="6"/>
                      <a:pt x="11" y="6"/>
                    </a:cubicBezTo>
                    <a:cubicBezTo>
                      <a:pt x="17" y="5"/>
                      <a:pt x="22" y="3"/>
                      <a:pt x="27" y="4"/>
                    </a:cubicBezTo>
                    <a:cubicBezTo>
                      <a:pt x="24" y="12"/>
                      <a:pt x="19" y="12"/>
                      <a:pt x="12" y="13"/>
                    </a:cubicBezTo>
                    <a:cubicBezTo>
                      <a:pt x="5" y="11"/>
                      <a:pt x="0" y="8"/>
                      <a:pt x="0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49" name="Freeform 42"/>
              <p:cNvSpPr>
                <a:spLocks noChangeAspect="1"/>
              </p:cNvSpPr>
              <p:nvPr/>
            </p:nvSpPr>
            <p:spPr bwMode="auto">
              <a:xfrm>
                <a:off x="3008" y="3284"/>
                <a:ext cx="55" cy="11"/>
              </a:xfrm>
              <a:custGeom>
                <a:avLst/>
                <a:gdLst>
                  <a:gd name="T0" fmla="*/ 12 w 55"/>
                  <a:gd name="T1" fmla="*/ 4 h 11"/>
                  <a:gd name="T2" fmla="*/ 55 w 55"/>
                  <a:gd name="T3" fmla="*/ 4 h 11"/>
                  <a:gd name="T4" fmla="*/ 31 w 55"/>
                  <a:gd name="T5" fmla="*/ 8 h 11"/>
                  <a:gd name="T6" fmla="*/ 12 w 55"/>
                  <a:gd name="T7" fmla="*/ 4 h 11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55"/>
                  <a:gd name="T13" fmla="*/ 0 h 11"/>
                  <a:gd name="T14" fmla="*/ 55 w 55"/>
                  <a:gd name="T15" fmla="*/ 11 h 11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55" h="11">
                    <a:moveTo>
                      <a:pt x="12" y="4"/>
                    </a:moveTo>
                    <a:cubicBezTo>
                      <a:pt x="27" y="0"/>
                      <a:pt x="39" y="2"/>
                      <a:pt x="55" y="4"/>
                    </a:cubicBezTo>
                    <a:cubicBezTo>
                      <a:pt x="53" y="11"/>
                      <a:pt x="38" y="7"/>
                      <a:pt x="31" y="8"/>
                    </a:cubicBezTo>
                    <a:cubicBezTo>
                      <a:pt x="25" y="7"/>
                      <a:pt x="0" y="11"/>
                      <a:pt x="12" y="4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50" name="Freeform 43"/>
              <p:cNvSpPr>
                <a:spLocks noChangeAspect="1"/>
              </p:cNvSpPr>
              <p:nvPr/>
            </p:nvSpPr>
            <p:spPr bwMode="auto">
              <a:xfrm>
                <a:off x="3032" y="3300"/>
                <a:ext cx="33" cy="9"/>
              </a:xfrm>
              <a:custGeom>
                <a:avLst/>
                <a:gdLst>
                  <a:gd name="T0" fmla="*/ 5 w 33"/>
                  <a:gd name="T1" fmla="*/ 2 h 9"/>
                  <a:gd name="T2" fmla="*/ 30 w 33"/>
                  <a:gd name="T3" fmla="*/ 2 h 9"/>
                  <a:gd name="T4" fmla="*/ 19 w 33"/>
                  <a:gd name="T5" fmla="*/ 9 h 9"/>
                  <a:gd name="T6" fmla="*/ 5 w 33"/>
                  <a:gd name="T7" fmla="*/ 8 h 9"/>
                  <a:gd name="T8" fmla="*/ 5 w 33"/>
                  <a:gd name="T9" fmla="*/ 2 h 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3"/>
                  <a:gd name="T16" fmla="*/ 0 h 9"/>
                  <a:gd name="T17" fmla="*/ 33 w 33"/>
                  <a:gd name="T18" fmla="*/ 9 h 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3" h="9">
                    <a:moveTo>
                      <a:pt x="5" y="2"/>
                    </a:moveTo>
                    <a:cubicBezTo>
                      <a:pt x="6" y="2"/>
                      <a:pt x="27" y="0"/>
                      <a:pt x="30" y="2"/>
                    </a:cubicBezTo>
                    <a:cubicBezTo>
                      <a:pt x="33" y="4"/>
                      <a:pt x="19" y="9"/>
                      <a:pt x="19" y="9"/>
                    </a:cubicBezTo>
                    <a:cubicBezTo>
                      <a:pt x="14" y="9"/>
                      <a:pt x="9" y="9"/>
                      <a:pt x="5" y="8"/>
                    </a:cubicBezTo>
                    <a:cubicBezTo>
                      <a:pt x="0" y="6"/>
                      <a:pt x="5" y="0"/>
                      <a:pt x="5" y="2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51" name="Freeform 44"/>
              <p:cNvSpPr>
                <a:spLocks noChangeAspect="1"/>
              </p:cNvSpPr>
              <p:nvPr/>
            </p:nvSpPr>
            <p:spPr bwMode="auto">
              <a:xfrm>
                <a:off x="3074" y="3312"/>
                <a:ext cx="20" cy="10"/>
              </a:xfrm>
              <a:custGeom>
                <a:avLst/>
                <a:gdLst>
                  <a:gd name="T0" fmla="*/ 0 w 20"/>
                  <a:gd name="T1" fmla="*/ 2 h 10"/>
                  <a:gd name="T2" fmla="*/ 20 w 20"/>
                  <a:gd name="T3" fmla="*/ 4 h 10"/>
                  <a:gd name="T4" fmla="*/ 0 w 20"/>
                  <a:gd name="T5" fmla="*/ 2 h 10"/>
                  <a:gd name="T6" fmla="*/ 0 60000 65536"/>
                  <a:gd name="T7" fmla="*/ 0 60000 65536"/>
                  <a:gd name="T8" fmla="*/ 0 60000 65536"/>
                  <a:gd name="T9" fmla="*/ 0 w 20"/>
                  <a:gd name="T10" fmla="*/ 0 h 10"/>
                  <a:gd name="T11" fmla="*/ 20 w 20"/>
                  <a:gd name="T12" fmla="*/ 10 h 10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0" h="10">
                    <a:moveTo>
                      <a:pt x="0" y="2"/>
                    </a:moveTo>
                    <a:cubicBezTo>
                      <a:pt x="6" y="0"/>
                      <a:pt x="14" y="2"/>
                      <a:pt x="20" y="4"/>
                    </a:cubicBezTo>
                    <a:cubicBezTo>
                      <a:pt x="20" y="4"/>
                      <a:pt x="0" y="10"/>
                      <a:pt x="0" y="2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52" name="Freeform 45"/>
              <p:cNvSpPr>
                <a:spLocks noChangeAspect="1"/>
              </p:cNvSpPr>
              <p:nvPr/>
            </p:nvSpPr>
            <p:spPr bwMode="auto">
              <a:xfrm>
                <a:off x="2859" y="3044"/>
                <a:ext cx="302" cy="289"/>
              </a:xfrm>
              <a:custGeom>
                <a:avLst/>
                <a:gdLst>
                  <a:gd name="T0" fmla="*/ 248 w 302"/>
                  <a:gd name="T1" fmla="*/ 268 h 289"/>
                  <a:gd name="T2" fmla="*/ 235 w 302"/>
                  <a:gd name="T3" fmla="*/ 256 h 289"/>
                  <a:gd name="T4" fmla="*/ 220 w 302"/>
                  <a:gd name="T5" fmla="*/ 244 h 289"/>
                  <a:gd name="T6" fmla="*/ 192 w 302"/>
                  <a:gd name="T7" fmla="*/ 215 h 289"/>
                  <a:gd name="T8" fmla="*/ 170 w 302"/>
                  <a:gd name="T9" fmla="*/ 193 h 289"/>
                  <a:gd name="T10" fmla="*/ 131 w 302"/>
                  <a:gd name="T11" fmla="*/ 140 h 289"/>
                  <a:gd name="T12" fmla="*/ 119 w 302"/>
                  <a:gd name="T13" fmla="*/ 98 h 289"/>
                  <a:gd name="T14" fmla="*/ 158 w 302"/>
                  <a:gd name="T15" fmla="*/ 101 h 289"/>
                  <a:gd name="T16" fmla="*/ 196 w 302"/>
                  <a:gd name="T17" fmla="*/ 101 h 289"/>
                  <a:gd name="T18" fmla="*/ 244 w 302"/>
                  <a:gd name="T19" fmla="*/ 94 h 289"/>
                  <a:gd name="T20" fmla="*/ 277 w 302"/>
                  <a:gd name="T21" fmla="*/ 110 h 289"/>
                  <a:gd name="T22" fmla="*/ 293 w 302"/>
                  <a:gd name="T23" fmla="*/ 91 h 289"/>
                  <a:gd name="T24" fmla="*/ 295 w 302"/>
                  <a:gd name="T25" fmla="*/ 77 h 289"/>
                  <a:gd name="T26" fmla="*/ 283 w 302"/>
                  <a:gd name="T27" fmla="*/ 67 h 289"/>
                  <a:gd name="T28" fmla="*/ 275 w 302"/>
                  <a:gd name="T29" fmla="*/ 53 h 289"/>
                  <a:gd name="T30" fmla="*/ 250 w 302"/>
                  <a:gd name="T31" fmla="*/ 44 h 289"/>
                  <a:gd name="T32" fmla="*/ 204 w 302"/>
                  <a:gd name="T33" fmla="*/ 44 h 289"/>
                  <a:gd name="T34" fmla="*/ 186 w 302"/>
                  <a:gd name="T35" fmla="*/ 30 h 289"/>
                  <a:gd name="T36" fmla="*/ 145 w 302"/>
                  <a:gd name="T37" fmla="*/ 4 h 289"/>
                  <a:gd name="T38" fmla="*/ 133 w 302"/>
                  <a:gd name="T39" fmla="*/ 7 h 289"/>
                  <a:gd name="T40" fmla="*/ 109 w 302"/>
                  <a:gd name="T41" fmla="*/ 25 h 289"/>
                  <a:gd name="T42" fmla="*/ 91 w 302"/>
                  <a:gd name="T43" fmla="*/ 64 h 289"/>
                  <a:gd name="T44" fmla="*/ 85 w 302"/>
                  <a:gd name="T45" fmla="*/ 90 h 289"/>
                  <a:gd name="T46" fmla="*/ 62 w 302"/>
                  <a:gd name="T47" fmla="*/ 86 h 289"/>
                  <a:gd name="T48" fmla="*/ 54 w 302"/>
                  <a:gd name="T49" fmla="*/ 76 h 289"/>
                  <a:gd name="T50" fmla="*/ 47 w 302"/>
                  <a:gd name="T51" fmla="*/ 88 h 289"/>
                  <a:gd name="T52" fmla="*/ 34 w 302"/>
                  <a:gd name="T53" fmla="*/ 89 h 289"/>
                  <a:gd name="T54" fmla="*/ 20 w 302"/>
                  <a:gd name="T55" fmla="*/ 89 h 289"/>
                  <a:gd name="T56" fmla="*/ 1 w 302"/>
                  <a:gd name="T57" fmla="*/ 95 h 289"/>
                  <a:gd name="T58" fmla="*/ 16 w 302"/>
                  <a:gd name="T59" fmla="*/ 122 h 289"/>
                  <a:gd name="T60" fmla="*/ 34 w 302"/>
                  <a:gd name="T61" fmla="*/ 115 h 289"/>
                  <a:gd name="T62" fmla="*/ 52 w 302"/>
                  <a:gd name="T63" fmla="*/ 97 h 289"/>
                  <a:gd name="T64" fmla="*/ 76 w 302"/>
                  <a:gd name="T65" fmla="*/ 112 h 289"/>
                  <a:gd name="T66" fmla="*/ 88 w 302"/>
                  <a:gd name="T67" fmla="*/ 145 h 289"/>
                  <a:gd name="T68" fmla="*/ 103 w 302"/>
                  <a:gd name="T69" fmla="*/ 168 h 289"/>
                  <a:gd name="T70" fmla="*/ 121 w 302"/>
                  <a:gd name="T71" fmla="*/ 199 h 289"/>
                  <a:gd name="T72" fmla="*/ 192 w 302"/>
                  <a:gd name="T73" fmla="*/ 229 h 289"/>
                  <a:gd name="T74" fmla="*/ 209 w 302"/>
                  <a:gd name="T75" fmla="*/ 246 h 289"/>
                  <a:gd name="T76" fmla="*/ 239 w 302"/>
                  <a:gd name="T77" fmla="*/ 266 h 289"/>
                  <a:gd name="T78" fmla="*/ 262 w 302"/>
                  <a:gd name="T79" fmla="*/ 278 h 289"/>
                  <a:gd name="T80" fmla="*/ 275 w 302"/>
                  <a:gd name="T81" fmla="*/ 289 h 289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w 302"/>
                  <a:gd name="T124" fmla="*/ 0 h 289"/>
                  <a:gd name="T125" fmla="*/ 302 w 302"/>
                  <a:gd name="T126" fmla="*/ 289 h 289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T123" t="T124" r="T125" b="T126"/>
                <a:pathLst>
                  <a:path w="302" h="289">
                    <a:moveTo>
                      <a:pt x="275" y="289"/>
                    </a:moveTo>
                    <a:cubicBezTo>
                      <a:pt x="272" y="273"/>
                      <a:pt x="260" y="274"/>
                      <a:pt x="248" y="268"/>
                    </a:cubicBezTo>
                    <a:cubicBezTo>
                      <a:pt x="246" y="265"/>
                      <a:pt x="243" y="262"/>
                      <a:pt x="241" y="260"/>
                    </a:cubicBezTo>
                    <a:cubicBezTo>
                      <a:pt x="239" y="258"/>
                      <a:pt x="235" y="256"/>
                      <a:pt x="235" y="256"/>
                    </a:cubicBezTo>
                    <a:cubicBezTo>
                      <a:pt x="233" y="251"/>
                      <a:pt x="231" y="248"/>
                      <a:pt x="226" y="246"/>
                    </a:cubicBezTo>
                    <a:cubicBezTo>
                      <a:pt x="224" y="245"/>
                      <a:pt x="220" y="244"/>
                      <a:pt x="220" y="244"/>
                    </a:cubicBezTo>
                    <a:cubicBezTo>
                      <a:pt x="213" y="237"/>
                      <a:pt x="210" y="232"/>
                      <a:pt x="204" y="223"/>
                    </a:cubicBezTo>
                    <a:cubicBezTo>
                      <a:pt x="199" y="218"/>
                      <a:pt x="196" y="218"/>
                      <a:pt x="192" y="215"/>
                    </a:cubicBezTo>
                    <a:cubicBezTo>
                      <a:pt x="190" y="206"/>
                      <a:pt x="189" y="204"/>
                      <a:pt x="180" y="203"/>
                    </a:cubicBezTo>
                    <a:cubicBezTo>
                      <a:pt x="175" y="201"/>
                      <a:pt x="175" y="196"/>
                      <a:pt x="170" y="193"/>
                    </a:cubicBezTo>
                    <a:cubicBezTo>
                      <a:pt x="158" y="185"/>
                      <a:pt x="152" y="173"/>
                      <a:pt x="145" y="162"/>
                    </a:cubicBezTo>
                    <a:cubicBezTo>
                      <a:pt x="141" y="154"/>
                      <a:pt x="137" y="146"/>
                      <a:pt x="131" y="140"/>
                    </a:cubicBezTo>
                    <a:cubicBezTo>
                      <a:pt x="127" y="136"/>
                      <a:pt x="119" y="131"/>
                      <a:pt x="119" y="131"/>
                    </a:cubicBezTo>
                    <a:cubicBezTo>
                      <a:pt x="115" y="120"/>
                      <a:pt x="115" y="110"/>
                      <a:pt x="119" y="98"/>
                    </a:cubicBezTo>
                    <a:cubicBezTo>
                      <a:pt x="129" y="100"/>
                      <a:pt x="132" y="105"/>
                      <a:pt x="140" y="110"/>
                    </a:cubicBezTo>
                    <a:cubicBezTo>
                      <a:pt x="153" y="109"/>
                      <a:pt x="150" y="107"/>
                      <a:pt x="158" y="101"/>
                    </a:cubicBezTo>
                    <a:cubicBezTo>
                      <a:pt x="160" y="98"/>
                      <a:pt x="162" y="96"/>
                      <a:pt x="166" y="95"/>
                    </a:cubicBezTo>
                    <a:cubicBezTo>
                      <a:pt x="181" y="96"/>
                      <a:pt x="184" y="97"/>
                      <a:pt x="196" y="101"/>
                    </a:cubicBezTo>
                    <a:cubicBezTo>
                      <a:pt x="209" y="100"/>
                      <a:pt x="219" y="98"/>
                      <a:pt x="232" y="97"/>
                    </a:cubicBezTo>
                    <a:cubicBezTo>
                      <a:pt x="236" y="96"/>
                      <a:pt x="244" y="94"/>
                      <a:pt x="244" y="94"/>
                    </a:cubicBezTo>
                    <a:cubicBezTo>
                      <a:pt x="250" y="96"/>
                      <a:pt x="262" y="96"/>
                      <a:pt x="268" y="97"/>
                    </a:cubicBezTo>
                    <a:cubicBezTo>
                      <a:pt x="274" y="103"/>
                      <a:pt x="269" y="109"/>
                      <a:pt x="277" y="110"/>
                    </a:cubicBezTo>
                    <a:cubicBezTo>
                      <a:pt x="284" y="113"/>
                      <a:pt x="286" y="111"/>
                      <a:pt x="292" y="107"/>
                    </a:cubicBezTo>
                    <a:cubicBezTo>
                      <a:pt x="293" y="102"/>
                      <a:pt x="290" y="96"/>
                      <a:pt x="293" y="91"/>
                    </a:cubicBezTo>
                    <a:cubicBezTo>
                      <a:pt x="295" y="88"/>
                      <a:pt x="302" y="84"/>
                      <a:pt x="302" y="84"/>
                    </a:cubicBezTo>
                    <a:cubicBezTo>
                      <a:pt x="301" y="79"/>
                      <a:pt x="300" y="79"/>
                      <a:pt x="295" y="77"/>
                    </a:cubicBezTo>
                    <a:cubicBezTo>
                      <a:pt x="293" y="73"/>
                      <a:pt x="288" y="71"/>
                      <a:pt x="284" y="70"/>
                    </a:cubicBezTo>
                    <a:cubicBezTo>
                      <a:pt x="284" y="69"/>
                      <a:pt x="284" y="68"/>
                      <a:pt x="283" y="67"/>
                    </a:cubicBezTo>
                    <a:cubicBezTo>
                      <a:pt x="282" y="66"/>
                      <a:pt x="280" y="67"/>
                      <a:pt x="280" y="66"/>
                    </a:cubicBezTo>
                    <a:cubicBezTo>
                      <a:pt x="274" y="51"/>
                      <a:pt x="282" y="58"/>
                      <a:pt x="275" y="53"/>
                    </a:cubicBezTo>
                    <a:cubicBezTo>
                      <a:pt x="272" y="44"/>
                      <a:pt x="272" y="47"/>
                      <a:pt x="271" y="34"/>
                    </a:cubicBezTo>
                    <a:cubicBezTo>
                      <a:pt x="263" y="37"/>
                      <a:pt x="258" y="41"/>
                      <a:pt x="250" y="44"/>
                    </a:cubicBezTo>
                    <a:cubicBezTo>
                      <a:pt x="248" y="45"/>
                      <a:pt x="244" y="48"/>
                      <a:pt x="244" y="48"/>
                    </a:cubicBezTo>
                    <a:cubicBezTo>
                      <a:pt x="230" y="47"/>
                      <a:pt x="218" y="46"/>
                      <a:pt x="204" y="44"/>
                    </a:cubicBezTo>
                    <a:cubicBezTo>
                      <a:pt x="201" y="41"/>
                      <a:pt x="200" y="36"/>
                      <a:pt x="196" y="35"/>
                    </a:cubicBezTo>
                    <a:cubicBezTo>
                      <a:pt x="193" y="31"/>
                      <a:pt x="191" y="31"/>
                      <a:pt x="186" y="30"/>
                    </a:cubicBezTo>
                    <a:cubicBezTo>
                      <a:pt x="183" y="22"/>
                      <a:pt x="163" y="16"/>
                      <a:pt x="155" y="13"/>
                    </a:cubicBezTo>
                    <a:cubicBezTo>
                      <a:pt x="150" y="6"/>
                      <a:pt x="150" y="6"/>
                      <a:pt x="145" y="4"/>
                    </a:cubicBezTo>
                    <a:cubicBezTo>
                      <a:pt x="145" y="4"/>
                      <a:pt x="141" y="0"/>
                      <a:pt x="139" y="1"/>
                    </a:cubicBezTo>
                    <a:cubicBezTo>
                      <a:pt x="137" y="2"/>
                      <a:pt x="133" y="7"/>
                      <a:pt x="133" y="7"/>
                    </a:cubicBezTo>
                    <a:cubicBezTo>
                      <a:pt x="132" y="13"/>
                      <a:pt x="126" y="19"/>
                      <a:pt x="119" y="22"/>
                    </a:cubicBezTo>
                    <a:cubicBezTo>
                      <a:pt x="116" y="23"/>
                      <a:pt x="109" y="25"/>
                      <a:pt x="109" y="25"/>
                    </a:cubicBezTo>
                    <a:cubicBezTo>
                      <a:pt x="104" y="32"/>
                      <a:pt x="107" y="41"/>
                      <a:pt x="110" y="49"/>
                    </a:cubicBezTo>
                    <a:cubicBezTo>
                      <a:pt x="108" y="54"/>
                      <a:pt x="96" y="58"/>
                      <a:pt x="91" y="64"/>
                    </a:cubicBezTo>
                    <a:cubicBezTo>
                      <a:pt x="93" y="71"/>
                      <a:pt x="94" y="74"/>
                      <a:pt x="95" y="82"/>
                    </a:cubicBezTo>
                    <a:cubicBezTo>
                      <a:pt x="92" y="84"/>
                      <a:pt x="88" y="89"/>
                      <a:pt x="85" y="90"/>
                    </a:cubicBezTo>
                    <a:cubicBezTo>
                      <a:pt x="78" y="89"/>
                      <a:pt x="78" y="89"/>
                      <a:pt x="76" y="83"/>
                    </a:cubicBezTo>
                    <a:cubicBezTo>
                      <a:pt x="71" y="84"/>
                      <a:pt x="67" y="85"/>
                      <a:pt x="62" y="86"/>
                    </a:cubicBezTo>
                    <a:cubicBezTo>
                      <a:pt x="52" y="84"/>
                      <a:pt x="63" y="88"/>
                      <a:pt x="56" y="72"/>
                    </a:cubicBezTo>
                    <a:cubicBezTo>
                      <a:pt x="55" y="71"/>
                      <a:pt x="55" y="75"/>
                      <a:pt x="54" y="76"/>
                    </a:cubicBezTo>
                    <a:cubicBezTo>
                      <a:pt x="52" y="79"/>
                      <a:pt x="52" y="79"/>
                      <a:pt x="49" y="82"/>
                    </a:cubicBezTo>
                    <a:cubicBezTo>
                      <a:pt x="48" y="84"/>
                      <a:pt x="48" y="86"/>
                      <a:pt x="47" y="88"/>
                    </a:cubicBezTo>
                    <a:cubicBezTo>
                      <a:pt x="46" y="90"/>
                      <a:pt x="41" y="90"/>
                      <a:pt x="41" y="90"/>
                    </a:cubicBezTo>
                    <a:cubicBezTo>
                      <a:pt x="39" y="90"/>
                      <a:pt x="36" y="90"/>
                      <a:pt x="34" y="89"/>
                    </a:cubicBezTo>
                    <a:cubicBezTo>
                      <a:pt x="33" y="89"/>
                      <a:pt x="33" y="86"/>
                      <a:pt x="32" y="86"/>
                    </a:cubicBezTo>
                    <a:cubicBezTo>
                      <a:pt x="28" y="86"/>
                      <a:pt x="20" y="89"/>
                      <a:pt x="20" y="89"/>
                    </a:cubicBezTo>
                    <a:cubicBezTo>
                      <a:pt x="15" y="92"/>
                      <a:pt x="10" y="95"/>
                      <a:pt x="5" y="96"/>
                    </a:cubicBezTo>
                    <a:cubicBezTo>
                      <a:pt x="4" y="96"/>
                      <a:pt x="0" y="95"/>
                      <a:pt x="1" y="95"/>
                    </a:cubicBezTo>
                    <a:cubicBezTo>
                      <a:pt x="3" y="95"/>
                      <a:pt x="5" y="94"/>
                      <a:pt x="6" y="96"/>
                    </a:cubicBezTo>
                    <a:cubicBezTo>
                      <a:pt x="12" y="113"/>
                      <a:pt x="3" y="113"/>
                      <a:pt x="16" y="122"/>
                    </a:cubicBezTo>
                    <a:cubicBezTo>
                      <a:pt x="18" y="127"/>
                      <a:pt x="18" y="133"/>
                      <a:pt x="22" y="136"/>
                    </a:cubicBezTo>
                    <a:cubicBezTo>
                      <a:pt x="30" y="132"/>
                      <a:pt x="30" y="123"/>
                      <a:pt x="34" y="115"/>
                    </a:cubicBezTo>
                    <a:cubicBezTo>
                      <a:pt x="35" y="109"/>
                      <a:pt x="35" y="104"/>
                      <a:pt x="40" y="101"/>
                    </a:cubicBezTo>
                    <a:cubicBezTo>
                      <a:pt x="45" y="94"/>
                      <a:pt x="44" y="94"/>
                      <a:pt x="52" y="97"/>
                    </a:cubicBezTo>
                    <a:cubicBezTo>
                      <a:pt x="55" y="101"/>
                      <a:pt x="64" y="104"/>
                      <a:pt x="64" y="104"/>
                    </a:cubicBezTo>
                    <a:cubicBezTo>
                      <a:pt x="67" y="108"/>
                      <a:pt x="72" y="109"/>
                      <a:pt x="76" y="112"/>
                    </a:cubicBezTo>
                    <a:cubicBezTo>
                      <a:pt x="78" y="113"/>
                      <a:pt x="82" y="114"/>
                      <a:pt x="82" y="114"/>
                    </a:cubicBezTo>
                    <a:cubicBezTo>
                      <a:pt x="75" y="123"/>
                      <a:pt x="78" y="138"/>
                      <a:pt x="88" y="145"/>
                    </a:cubicBezTo>
                    <a:cubicBezTo>
                      <a:pt x="90" y="151"/>
                      <a:pt x="90" y="153"/>
                      <a:pt x="95" y="156"/>
                    </a:cubicBezTo>
                    <a:cubicBezTo>
                      <a:pt x="96" y="161"/>
                      <a:pt x="98" y="165"/>
                      <a:pt x="103" y="168"/>
                    </a:cubicBezTo>
                    <a:cubicBezTo>
                      <a:pt x="104" y="174"/>
                      <a:pt x="107" y="186"/>
                      <a:pt x="112" y="191"/>
                    </a:cubicBezTo>
                    <a:cubicBezTo>
                      <a:pt x="115" y="194"/>
                      <a:pt x="121" y="199"/>
                      <a:pt x="121" y="199"/>
                    </a:cubicBezTo>
                    <a:cubicBezTo>
                      <a:pt x="122" y="203"/>
                      <a:pt x="126" y="208"/>
                      <a:pt x="130" y="210"/>
                    </a:cubicBezTo>
                    <a:cubicBezTo>
                      <a:pt x="136" y="233"/>
                      <a:pt x="173" y="228"/>
                      <a:pt x="192" y="229"/>
                    </a:cubicBezTo>
                    <a:cubicBezTo>
                      <a:pt x="195" y="231"/>
                      <a:pt x="202" y="236"/>
                      <a:pt x="202" y="236"/>
                    </a:cubicBezTo>
                    <a:cubicBezTo>
                      <a:pt x="203" y="240"/>
                      <a:pt x="205" y="245"/>
                      <a:pt x="209" y="246"/>
                    </a:cubicBezTo>
                    <a:cubicBezTo>
                      <a:pt x="212" y="252"/>
                      <a:pt x="221" y="257"/>
                      <a:pt x="226" y="262"/>
                    </a:cubicBezTo>
                    <a:cubicBezTo>
                      <a:pt x="229" y="265"/>
                      <a:pt x="239" y="266"/>
                      <a:pt x="239" y="266"/>
                    </a:cubicBezTo>
                    <a:cubicBezTo>
                      <a:pt x="242" y="270"/>
                      <a:pt x="246" y="274"/>
                      <a:pt x="251" y="275"/>
                    </a:cubicBezTo>
                    <a:cubicBezTo>
                      <a:pt x="255" y="276"/>
                      <a:pt x="262" y="278"/>
                      <a:pt x="262" y="278"/>
                    </a:cubicBezTo>
                    <a:cubicBezTo>
                      <a:pt x="264" y="280"/>
                      <a:pt x="265" y="281"/>
                      <a:pt x="266" y="282"/>
                    </a:cubicBezTo>
                    <a:lnTo>
                      <a:pt x="275" y="289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</p:grpSp>
        <p:grpSp>
          <p:nvGrpSpPr>
            <p:cNvPr id="264" name="Group 46"/>
            <p:cNvGrpSpPr>
              <a:grpSpLocks/>
            </p:cNvGrpSpPr>
            <p:nvPr/>
          </p:nvGrpSpPr>
          <p:grpSpPr bwMode="auto">
            <a:xfrm>
              <a:off x="2362" y="3183"/>
              <a:ext cx="666" cy="766"/>
              <a:chOff x="1971" y="6871"/>
              <a:chExt cx="2639" cy="3027"/>
            </a:xfrm>
            <a:grpFill/>
          </p:grpSpPr>
          <p:sp>
            <p:nvSpPr>
              <p:cNvPr id="340" name="Freeform 47"/>
              <p:cNvSpPr>
                <a:spLocks noChangeAspect="1"/>
              </p:cNvSpPr>
              <p:nvPr/>
            </p:nvSpPr>
            <p:spPr bwMode="auto">
              <a:xfrm>
                <a:off x="3259" y="9410"/>
                <a:ext cx="764" cy="488"/>
              </a:xfrm>
              <a:custGeom>
                <a:avLst/>
                <a:gdLst>
                  <a:gd name="T0" fmla="*/ 2147483647 w 191"/>
                  <a:gd name="T1" fmla="*/ 0 h 122"/>
                  <a:gd name="T2" fmla="*/ 2147483647 w 191"/>
                  <a:gd name="T3" fmla="*/ 2147483647 h 122"/>
                  <a:gd name="T4" fmla="*/ 2147483647 w 191"/>
                  <a:gd name="T5" fmla="*/ 2147483647 h 122"/>
                  <a:gd name="T6" fmla="*/ 2147483647 w 191"/>
                  <a:gd name="T7" fmla="*/ 2147483647 h 122"/>
                  <a:gd name="T8" fmla="*/ 2147483647 w 191"/>
                  <a:gd name="T9" fmla="*/ 2147483647 h 122"/>
                  <a:gd name="T10" fmla="*/ 2147483647 w 191"/>
                  <a:gd name="T11" fmla="*/ 2147483647 h 122"/>
                  <a:gd name="T12" fmla="*/ 2147483647 w 191"/>
                  <a:gd name="T13" fmla="*/ 2147483647 h 122"/>
                  <a:gd name="T14" fmla="*/ 2147483647 w 191"/>
                  <a:gd name="T15" fmla="*/ 2147483647 h 122"/>
                  <a:gd name="T16" fmla="*/ 2147483647 w 191"/>
                  <a:gd name="T17" fmla="*/ 2147483647 h 122"/>
                  <a:gd name="T18" fmla="*/ 2147483647 w 191"/>
                  <a:gd name="T19" fmla="*/ 2147483647 h 122"/>
                  <a:gd name="T20" fmla="*/ 2147483647 w 191"/>
                  <a:gd name="T21" fmla="*/ 2147483647 h 122"/>
                  <a:gd name="T22" fmla="*/ 2147483647 w 191"/>
                  <a:gd name="T23" fmla="*/ 2147483647 h 122"/>
                  <a:gd name="T24" fmla="*/ 2147483647 w 191"/>
                  <a:gd name="T25" fmla="*/ 2147483647 h 122"/>
                  <a:gd name="T26" fmla="*/ 2147483647 w 191"/>
                  <a:gd name="T27" fmla="*/ 2147483647 h 122"/>
                  <a:gd name="T28" fmla="*/ 2147483647 w 191"/>
                  <a:gd name="T29" fmla="*/ 2147483647 h 122"/>
                  <a:gd name="T30" fmla="*/ 0 w 191"/>
                  <a:gd name="T31" fmla="*/ 2147483647 h 122"/>
                  <a:gd name="T32" fmla="*/ 2147483647 w 191"/>
                  <a:gd name="T33" fmla="*/ 2147483647 h 122"/>
                  <a:gd name="T34" fmla="*/ 2147483647 w 191"/>
                  <a:gd name="T35" fmla="*/ 2147483647 h 122"/>
                  <a:gd name="T36" fmla="*/ 2147483647 w 191"/>
                  <a:gd name="T37" fmla="*/ 2147483647 h 122"/>
                  <a:gd name="T38" fmla="*/ 2147483647 w 191"/>
                  <a:gd name="T39" fmla="*/ 2147483647 h 122"/>
                  <a:gd name="T40" fmla="*/ 2147483647 w 191"/>
                  <a:gd name="T41" fmla="*/ 2147483647 h 122"/>
                  <a:gd name="T42" fmla="*/ 2147483647 w 191"/>
                  <a:gd name="T43" fmla="*/ 2147483647 h 122"/>
                  <a:gd name="T44" fmla="*/ 2147483647 w 191"/>
                  <a:gd name="T45" fmla="*/ 2147483647 h 122"/>
                  <a:gd name="T46" fmla="*/ 2147483647 w 191"/>
                  <a:gd name="T47" fmla="*/ 2147483647 h 122"/>
                  <a:gd name="T48" fmla="*/ 2147483647 w 191"/>
                  <a:gd name="T49" fmla="*/ 2147483647 h 122"/>
                  <a:gd name="T50" fmla="*/ 2147483647 w 191"/>
                  <a:gd name="T51" fmla="*/ 2147483647 h 122"/>
                  <a:gd name="T52" fmla="*/ 2147483647 w 191"/>
                  <a:gd name="T53" fmla="*/ 2147483647 h 122"/>
                  <a:gd name="T54" fmla="*/ 2147483647 w 191"/>
                  <a:gd name="T55" fmla="*/ 2147483647 h 122"/>
                  <a:gd name="T56" fmla="*/ 2147483647 w 191"/>
                  <a:gd name="T57" fmla="*/ 2147483647 h 122"/>
                  <a:gd name="T58" fmla="*/ 2147483647 w 191"/>
                  <a:gd name="T59" fmla="*/ 2147483647 h 122"/>
                  <a:gd name="T60" fmla="*/ 2147483647 w 191"/>
                  <a:gd name="T61" fmla="*/ 2147483647 h 122"/>
                  <a:gd name="T62" fmla="*/ 2147483647 w 191"/>
                  <a:gd name="T63" fmla="*/ 2147483647 h 122"/>
                  <a:gd name="T64" fmla="*/ 2147483647 w 191"/>
                  <a:gd name="T65" fmla="*/ 2147483647 h 122"/>
                  <a:gd name="T66" fmla="*/ 2147483647 w 191"/>
                  <a:gd name="T67" fmla="*/ 2147483647 h 122"/>
                  <a:gd name="T68" fmla="*/ 2147483647 w 191"/>
                  <a:gd name="T69" fmla="*/ 2147483647 h 122"/>
                  <a:gd name="T70" fmla="*/ 2147483647 w 191"/>
                  <a:gd name="T71" fmla="*/ 2147483647 h 122"/>
                  <a:gd name="T72" fmla="*/ 2147483647 w 191"/>
                  <a:gd name="T73" fmla="*/ 2147483647 h 122"/>
                  <a:gd name="T74" fmla="*/ 2147483647 w 191"/>
                  <a:gd name="T75" fmla="*/ 0 h 122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191"/>
                  <a:gd name="T115" fmla="*/ 0 h 122"/>
                  <a:gd name="T116" fmla="*/ 191 w 191"/>
                  <a:gd name="T117" fmla="*/ 122 h 122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191" h="122">
                    <a:moveTo>
                      <a:pt x="180" y="0"/>
                    </a:moveTo>
                    <a:cubicBezTo>
                      <a:pt x="174" y="2"/>
                      <a:pt x="171" y="6"/>
                      <a:pt x="165" y="8"/>
                    </a:cubicBezTo>
                    <a:cubicBezTo>
                      <a:pt x="162" y="11"/>
                      <a:pt x="159" y="12"/>
                      <a:pt x="156" y="14"/>
                    </a:cubicBezTo>
                    <a:cubicBezTo>
                      <a:pt x="149" y="13"/>
                      <a:pt x="142" y="11"/>
                      <a:pt x="135" y="13"/>
                    </a:cubicBezTo>
                    <a:cubicBezTo>
                      <a:pt x="129" y="21"/>
                      <a:pt x="124" y="24"/>
                      <a:pt x="114" y="25"/>
                    </a:cubicBezTo>
                    <a:cubicBezTo>
                      <a:pt x="107" y="27"/>
                      <a:pt x="104" y="26"/>
                      <a:pt x="97" y="24"/>
                    </a:cubicBezTo>
                    <a:cubicBezTo>
                      <a:pt x="89" y="25"/>
                      <a:pt x="86" y="30"/>
                      <a:pt x="78" y="33"/>
                    </a:cubicBezTo>
                    <a:cubicBezTo>
                      <a:pt x="71" y="31"/>
                      <a:pt x="72" y="27"/>
                      <a:pt x="63" y="26"/>
                    </a:cubicBezTo>
                    <a:cubicBezTo>
                      <a:pt x="63" y="24"/>
                      <a:pt x="63" y="22"/>
                      <a:pt x="62" y="21"/>
                    </a:cubicBezTo>
                    <a:cubicBezTo>
                      <a:pt x="61" y="20"/>
                      <a:pt x="59" y="21"/>
                      <a:pt x="58" y="20"/>
                    </a:cubicBezTo>
                    <a:cubicBezTo>
                      <a:pt x="51" y="11"/>
                      <a:pt x="61" y="15"/>
                      <a:pt x="52" y="13"/>
                    </a:cubicBezTo>
                    <a:cubicBezTo>
                      <a:pt x="46" y="15"/>
                      <a:pt x="45" y="17"/>
                      <a:pt x="38" y="18"/>
                    </a:cubicBezTo>
                    <a:cubicBezTo>
                      <a:pt x="36" y="24"/>
                      <a:pt x="36" y="25"/>
                      <a:pt x="30" y="27"/>
                    </a:cubicBezTo>
                    <a:cubicBezTo>
                      <a:pt x="21" y="26"/>
                      <a:pt x="25" y="21"/>
                      <a:pt x="18" y="19"/>
                    </a:cubicBezTo>
                    <a:cubicBezTo>
                      <a:pt x="13" y="28"/>
                      <a:pt x="18" y="26"/>
                      <a:pt x="3" y="27"/>
                    </a:cubicBezTo>
                    <a:cubicBezTo>
                      <a:pt x="2" y="28"/>
                      <a:pt x="0" y="31"/>
                      <a:pt x="0" y="33"/>
                    </a:cubicBezTo>
                    <a:cubicBezTo>
                      <a:pt x="0" y="35"/>
                      <a:pt x="2" y="39"/>
                      <a:pt x="2" y="39"/>
                    </a:cubicBezTo>
                    <a:cubicBezTo>
                      <a:pt x="2" y="44"/>
                      <a:pt x="1" y="50"/>
                      <a:pt x="3" y="55"/>
                    </a:cubicBezTo>
                    <a:cubicBezTo>
                      <a:pt x="4" y="57"/>
                      <a:pt x="9" y="57"/>
                      <a:pt x="9" y="57"/>
                    </a:cubicBezTo>
                    <a:cubicBezTo>
                      <a:pt x="11" y="62"/>
                      <a:pt x="13" y="64"/>
                      <a:pt x="18" y="66"/>
                    </a:cubicBezTo>
                    <a:cubicBezTo>
                      <a:pt x="28" y="64"/>
                      <a:pt x="25" y="63"/>
                      <a:pt x="36" y="65"/>
                    </a:cubicBezTo>
                    <a:cubicBezTo>
                      <a:pt x="39" y="67"/>
                      <a:pt x="42" y="68"/>
                      <a:pt x="46" y="69"/>
                    </a:cubicBezTo>
                    <a:cubicBezTo>
                      <a:pt x="49" y="71"/>
                      <a:pt x="55" y="73"/>
                      <a:pt x="55" y="73"/>
                    </a:cubicBezTo>
                    <a:cubicBezTo>
                      <a:pt x="58" y="84"/>
                      <a:pt x="61" y="84"/>
                      <a:pt x="72" y="85"/>
                    </a:cubicBezTo>
                    <a:cubicBezTo>
                      <a:pt x="78" y="87"/>
                      <a:pt x="77" y="91"/>
                      <a:pt x="82" y="92"/>
                    </a:cubicBezTo>
                    <a:cubicBezTo>
                      <a:pt x="91" y="95"/>
                      <a:pt x="101" y="94"/>
                      <a:pt x="111" y="95"/>
                    </a:cubicBezTo>
                    <a:cubicBezTo>
                      <a:pt x="113" y="101"/>
                      <a:pt x="116" y="100"/>
                      <a:pt x="121" y="103"/>
                    </a:cubicBezTo>
                    <a:cubicBezTo>
                      <a:pt x="123" y="113"/>
                      <a:pt x="126" y="117"/>
                      <a:pt x="136" y="120"/>
                    </a:cubicBezTo>
                    <a:cubicBezTo>
                      <a:pt x="150" y="118"/>
                      <a:pt x="150" y="119"/>
                      <a:pt x="164" y="122"/>
                    </a:cubicBezTo>
                    <a:cubicBezTo>
                      <a:pt x="166" y="119"/>
                      <a:pt x="164" y="111"/>
                      <a:pt x="164" y="111"/>
                    </a:cubicBezTo>
                    <a:cubicBezTo>
                      <a:pt x="165" y="106"/>
                      <a:pt x="165" y="105"/>
                      <a:pt x="169" y="102"/>
                    </a:cubicBezTo>
                    <a:cubicBezTo>
                      <a:pt x="172" y="98"/>
                      <a:pt x="175" y="98"/>
                      <a:pt x="177" y="92"/>
                    </a:cubicBezTo>
                    <a:cubicBezTo>
                      <a:pt x="176" y="88"/>
                      <a:pt x="174" y="86"/>
                      <a:pt x="171" y="84"/>
                    </a:cubicBezTo>
                    <a:cubicBezTo>
                      <a:pt x="168" y="75"/>
                      <a:pt x="170" y="75"/>
                      <a:pt x="160" y="73"/>
                    </a:cubicBezTo>
                    <a:cubicBezTo>
                      <a:pt x="162" y="68"/>
                      <a:pt x="162" y="61"/>
                      <a:pt x="164" y="56"/>
                    </a:cubicBezTo>
                    <a:cubicBezTo>
                      <a:pt x="165" y="54"/>
                      <a:pt x="168" y="50"/>
                      <a:pt x="168" y="50"/>
                    </a:cubicBezTo>
                    <a:cubicBezTo>
                      <a:pt x="170" y="21"/>
                      <a:pt x="169" y="33"/>
                      <a:pt x="184" y="18"/>
                    </a:cubicBezTo>
                    <a:cubicBezTo>
                      <a:pt x="186" y="1"/>
                      <a:pt x="191" y="5"/>
                      <a:pt x="180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grpSp>
            <p:nvGrpSpPr>
              <p:cNvPr id="341" name="Group 48"/>
              <p:cNvGrpSpPr>
                <a:grpSpLocks noChangeAspect="1"/>
              </p:cNvGrpSpPr>
              <p:nvPr/>
            </p:nvGrpSpPr>
            <p:grpSpPr bwMode="auto">
              <a:xfrm>
                <a:off x="1971" y="6871"/>
                <a:ext cx="2639" cy="2667"/>
                <a:chOff x="2499" y="3020"/>
                <a:chExt cx="660" cy="667"/>
              </a:xfrm>
              <a:grpFill/>
            </p:grpSpPr>
            <p:sp>
              <p:nvSpPr>
                <p:cNvPr id="342" name="Freeform 49"/>
                <p:cNvSpPr>
                  <a:spLocks noChangeAspect="1"/>
                </p:cNvSpPr>
                <p:nvPr/>
              </p:nvSpPr>
              <p:spPr bwMode="auto">
                <a:xfrm>
                  <a:off x="2575" y="3447"/>
                  <a:ext cx="92" cy="181"/>
                </a:xfrm>
                <a:custGeom>
                  <a:avLst/>
                  <a:gdLst>
                    <a:gd name="T0" fmla="*/ 61 w 92"/>
                    <a:gd name="T1" fmla="*/ 0 h 181"/>
                    <a:gd name="T2" fmla="*/ 52 w 92"/>
                    <a:gd name="T3" fmla="*/ 6 h 181"/>
                    <a:gd name="T4" fmla="*/ 45 w 92"/>
                    <a:gd name="T5" fmla="*/ 13 h 181"/>
                    <a:gd name="T6" fmla="*/ 33 w 92"/>
                    <a:gd name="T7" fmla="*/ 24 h 181"/>
                    <a:gd name="T8" fmla="*/ 21 w 92"/>
                    <a:gd name="T9" fmla="*/ 30 h 181"/>
                    <a:gd name="T10" fmla="*/ 10 w 92"/>
                    <a:gd name="T11" fmla="*/ 29 h 181"/>
                    <a:gd name="T12" fmla="*/ 3 w 92"/>
                    <a:gd name="T13" fmla="*/ 18 h 181"/>
                    <a:gd name="T14" fmla="*/ 0 w 92"/>
                    <a:gd name="T15" fmla="*/ 36 h 181"/>
                    <a:gd name="T16" fmla="*/ 7 w 92"/>
                    <a:gd name="T17" fmla="*/ 49 h 181"/>
                    <a:gd name="T18" fmla="*/ 13 w 92"/>
                    <a:gd name="T19" fmla="*/ 58 h 181"/>
                    <a:gd name="T20" fmla="*/ 18 w 92"/>
                    <a:gd name="T21" fmla="*/ 76 h 181"/>
                    <a:gd name="T22" fmla="*/ 21 w 92"/>
                    <a:gd name="T23" fmla="*/ 106 h 181"/>
                    <a:gd name="T24" fmla="*/ 15 w 92"/>
                    <a:gd name="T25" fmla="*/ 118 h 181"/>
                    <a:gd name="T26" fmla="*/ 12 w 92"/>
                    <a:gd name="T27" fmla="*/ 132 h 181"/>
                    <a:gd name="T28" fmla="*/ 14 w 92"/>
                    <a:gd name="T29" fmla="*/ 145 h 181"/>
                    <a:gd name="T30" fmla="*/ 8 w 92"/>
                    <a:gd name="T31" fmla="*/ 154 h 181"/>
                    <a:gd name="T32" fmla="*/ 8 w 92"/>
                    <a:gd name="T33" fmla="*/ 168 h 181"/>
                    <a:gd name="T34" fmla="*/ 18 w 92"/>
                    <a:gd name="T35" fmla="*/ 165 h 181"/>
                    <a:gd name="T36" fmla="*/ 24 w 92"/>
                    <a:gd name="T37" fmla="*/ 177 h 181"/>
                    <a:gd name="T38" fmla="*/ 36 w 92"/>
                    <a:gd name="T39" fmla="*/ 180 h 181"/>
                    <a:gd name="T40" fmla="*/ 48 w 92"/>
                    <a:gd name="T41" fmla="*/ 159 h 181"/>
                    <a:gd name="T42" fmla="*/ 55 w 92"/>
                    <a:gd name="T43" fmla="*/ 154 h 181"/>
                    <a:gd name="T44" fmla="*/ 72 w 92"/>
                    <a:gd name="T45" fmla="*/ 160 h 181"/>
                    <a:gd name="T46" fmla="*/ 84 w 92"/>
                    <a:gd name="T47" fmla="*/ 145 h 181"/>
                    <a:gd name="T48" fmla="*/ 91 w 92"/>
                    <a:gd name="T49" fmla="*/ 96 h 181"/>
                    <a:gd name="T50" fmla="*/ 81 w 92"/>
                    <a:gd name="T51" fmla="*/ 72 h 181"/>
                    <a:gd name="T52" fmla="*/ 86 w 92"/>
                    <a:gd name="T53" fmla="*/ 63 h 181"/>
                    <a:gd name="T54" fmla="*/ 90 w 92"/>
                    <a:gd name="T55" fmla="*/ 57 h 181"/>
                    <a:gd name="T56" fmla="*/ 90 w 92"/>
                    <a:gd name="T57" fmla="*/ 28 h 181"/>
                    <a:gd name="T58" fmla="*/ 79 w 92"/>
                    <a:gd name="T59" fmla="*/ 21 h 181"/>
                    <a:gd name="T60" fmla="*/ 79 w 92"/>
                    <a:gd name="T61" fmla="*/ 4 h 181"/>
                    <a:gd name="T62" fmla="*/ 61 w 92"/>
                    <a:gd name="T63" fmla="*/ 0 h 181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92"/>
                    <a:gd name="T97" fmla="*/ 0 h 181"/>
                    <a:gd name="T98" fmla="*/ 92 w 92"/>
                    <a:gd name="T99" fmla="*/ 181 h 181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92" h="181">
                      <a:moveTo>
                        <a:pt x="61" y="0"/>
                      </a:moveTo>
                      <a:cubicBezTo>
                        <a:pt x="58" y="3"/>
                        <a:pt x="55" y="4"/>
                        <a:pt x="52" y="6"/>
                      </a:cubicBezTo>
                      <a:cubicBezTo>
                        <a:pt x="47" y="13"/>
                        <a:pt x="50" y="11"/>
                        <a:pt x="45" y="13"/>
                      </a:cubicBezTo>
                      <a:cubicBezTo>
                        <a:pt x="44" y="17"/>
                        <a:pt x="38" y="22"/>
                        <a:pt x="33" y="24"/>
                      </a:cubicBezTo>
                      <a:cubicBezTo>
                        <a:pt x="30" y="28"/>
                        <a:pt x="26" y="29"/>
                        <a:pt x="21" y="30"/>
                      </a:cubicBezTo>
                      <a:cubicBezTo>
                        <a:pt x="17" y="30"/>
                        <a:pt x="13" y="30"/>
                        <a:pt x="10" y="29"/>
                      </a:cubicBezTo>
                      <a:cubicBezTo>
                        <a:pt x="4" y="27"/>
                        <a:pt x="9" y="20"/>
                        <a:pt x="3" y="18"/>
                      </a:cubicBezTo>
                      <a:cubicBezTo>
                        <a:pt x="2" y="24"/>
                        <a:pt x="2" y="30"/>
                        <a:pt x="0" y="36"/>
                      </a:cubicBezTo>
                      <a:cubicBezTo>
                        <a:pt x="1" y="40"/>
                        <a:pt x="3" y="48"/>
                        <a:pt x="7" y="49"/>
                      </a:cubicBezTo>
                      <a:cubicBezTo>
                        <a:pt x="8" y="53"/>
                        <a:pt x="10" y="55"/>
                        <a:pt x="13" y="58"/>
                      </a:cubicBezTo>
                      <a:cubicBezTo>
                        <a:pt x="15" y="64"/>
                        <a:pt x="15" y="70"/>
                        <a:pt x="18" y="76"/>
                      </a:cubicBezTo>
                      <a:cubicBezTo>
                        <a:pt x="15" y="93"/>
                        <a:pt x="16" y="92"/>
                        <a:pt x="21" y="106"/>
                      </a:cubicBezTo>
                      <a:cubicBezTo>
                        <a:pt x="20" y="110"/>
                        <a:pt x="16" y="114"/>
                        <a:pt x="15" y="118"/>
                      </a:cubicBezTo>
                      <a:cubicBezTo>
                        <a:pt x="16" y="124"/>
                        <a:pt x="18" y="128"/>
                        <a:pt x="12" y="132"/>
                      </a:cubicBezTo>
                      <a:cubicBezTo>
                        <a:pt x="9" y="137"/>
                        <a:pt x="11" y="140"/>
                        <a:pt x="14" y="145"/>
                      </a:cubicBezTo>
                      <a:cubicBezTo>
                        <a:pt x="12" y="148"/>
                        <a:pt x="9" y="150"/>
                        <a:pt x="8" y="154"/>
                      </a:cubicBezTo>
                      <a:cubicBezTo>
                        <a:pt x="10" y="160"/>
                        <a:pt x="10" y="162"/>
                        <a:pt x="8" y="168"/>
                      </a:cubicBezTo>
                      <a:cubicBezTo>
                        <a:pt x="11" y="169"/>
                        <a:pt x="18" y="165"/>
                        <a:pt x="18" y="165"/>
                      </a:cubicBezTo>
                      <a:cubicBezTo>
                        <a:pt x="23" y="157"/>
                        <a:pt x="23" y="175"/>
                        <a:pt x="24" y="177"/>
                      </a:cubicBezTo>
                      <a:cubicBezTo>
                        <a:pt x="25" y="181"/>
                        <a:pt x="32" y="179"/>
                        <a:pt x="36" y="180"/>
                      </a:cubicBezTo>
                      <a:cubicBezTo>
                        <a:pt x="52" y="178"/>
                        <a:pt x="36" y="167"/>
                        <a:pt x="48" y="159"/>
                      </a:cubicBezTo>
                      <a:cubicBezTo>
                        <a:pt x="49" y="156"/>
                        <a:pt x="55" y="154"/>
                        <a:pt x="55" y="154"/>
                      </a:cubicBezTo>
                      <a:cubicBezTo>
                        <a:pt x="63" y="155"/>
                        <a:pt x="65" y="158"/>
                        <a:pt x="72" y="160"/>
                      </a:cubicBezTo>
                      <a:cubicBezTo>
                        <a:pt x="81" y="158"/>
                        <a:pt x="80" y="151"/>
                        <a:pt x="84" y="145"/>
                      </a:cubicBezTo>
                      <a:cubicBezTo>
                        <a:pt x="86" y="128"/>
                        <a:pt x="88" y="112"/>
                        <a:pt x="91" y="96"/>
                      </a:cubicBezTo>
                      <a:cubicBezTo>
                        <a:pt x="90" y="86"/>
                        <a:pt x="86" y="81"/>
                        <a:pt x="81" y="72"/>
                      </a:cubicBezTo>
                      <a:cubicBezTo>
                        <a:pt x="83" y="61"/>
                        <a:pt x="80" y="70"/>
                        <a:pt x="86" y="63"/>
                      </a:cubicBezTo>
                      <a:cubicBezTo>
                        <a:pt x="88" y="61"/>
                        <a:pt x="90" y="57"/>
                        <a:pt x="90" y="57"/>
                      </a:cubicBezTo>
                      <a:cubicBezTo>
                        <a:pt x="91" y="55"/>
                        <a:pt x="92" y="34"/>
                        <a:pt x="90" y="28"/>
                      </a:cubicBezTo>
                      <a:lnTo>
                        <a:pt x="79" y="21"/>
                      </a:lnTo>
                      <a:lnTo>
                        <a:pt x="79" y="4"/>
                      </a:lnTo>
                      <a:lnTo>
                        <a:pt x="61" y="0"/>
                      </a:lnTo>
                      <a:close/>
                    </a:path>
                  </a:pathLst>
                </a:custGeom>
                <a:grpFill/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orpoS" pitchFamily="2" charset="0"/>
                    <a:ea typeface="+mn-ea"/>
                  </a:endParaRPr>
                </a:p>
              </p:txBody>
            </p:sp>
            <p:sp>
              <p:nvSpPr>
                <p:cNvPr id="343" name="Freeform 50"/>
                <p:cNvSpPr>
                  <a:spLocks noChangeAspect="1"/>
                </p:cNvSpPr>
                <p:nvPr/>
              </p:nvSpPr>
              <p:spPr bwMode="auto">
                <a:xfrm>
                  <a:off x="2686" y="3330"/>
                  <a:ext cx="17" cy="14"/>
                </a:xfrm>
                <a:custGeom>
                  <a:avLst/>
                  <a:gdLst>
                    <a:gd name="T0" fmla="*/ 0 w 17"/>
                    <a:gd name="T1" fmla="*/ 3 h 14"/>
                    <a:gd name="T2" fmla="*/ 16 w 17"/>
                    <a:gd name="T3" fmla="*/ 2 h 14"/>
                    <a:gd name="T4" fmla="*/ 15 w 17"/>
                    <a:gd name="T5" fmla="*/ 14 h 14"/>
                    <a:gd name="T6" fmla="*/ 0 w 17"/>
                    <a:gd name="T7" fmla="*/ 3 h 14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7"/>
                    <a:gd name="T13" fmla="*/ 0 h 14"/>
                    <a:gd name="T14" fmla="*/ 17 w 17"/>
                    <a:gd name="T15" fmla="*/ 14 h 14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7" h="14">
                      <a:moveTo>
                        <a:pt x="0" y="3"/>
                      </a:moveTo>
                      <a:cubicBezTo>
                        <a:pt x="5" y="3"/>
                        <a:pt x="11" y="0"/>
                        <a:pt x="16" y="2"/>
                      </a:cubicBezTo>
                      <a:cubicBezTo>
                        <a:pt x="16" y="6"/>
                        <a:pt x="17" y="10"/>
                        <a:pt x="15" y="14"/>
                      </a:cubicBezTo>
                      <a:cubicBezTo>
                        <a:pt x="12" y="14"/>
                        <a:pt x="0" y="5"/>
                        <a:pt x="0" y="3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orpoS" pitchFamily="2" charset="0"/>
                    <a:ea typeface="+mn-ea"/>
                  </a:endParaRPr>
                </a:p>
              </p:txBody>
            </p:sp>
            <p:sp>
              <p:nvSpPr>
                <p:cNvPr id="344" name="Freeform 51"/>
                <p:cNvSpPr>
                  <a:spLocks noChangeAspect="1"/>
                </p:cNvSpPr>
                <p:nvPr/>
              </p:nvSpPr>
              <p:spPr bwMode="auto">
                <a:xfrm>
                  <a:off x="2499" y="3020"/>
                  <a:ext cx="660" cy="667"/>
                </a:xfrm>
                <a:custGeom>
                  <a:avLst/>
                  <a:gdLst>
                    <a:gd name="T0" fmla="*/ 355 w 660"/>
                    <a:gd name="T1" fmla="*/ 73 h 667"/>
                    <a:gd name="T2" fmla="*/ 353 w 660"/>
                    <a:gd name="T3" fmla="*/ 58 h 667"/>
                    <a:gd name="T4" fmla="*/ 302 w 660"/>
                    <a:gd name="T5" fmla="*/ 24 h 667"/>
                    <a:gd name="T6" fmla="*/ 280 w 660"/>
                    <a:gd name="T7" fmla="*/ 0 h 667"/>
                    <a:gd name="T8" fmla="*/ 211 w 660"/>
                    <a:gd name="T9" fmla="*/ 14 h 667"/>
                    <a:gd name="T10" fmla="*/ 184 w 660"/>
                    <a:gd name="T11" fmla="*/ 48 h 667"/>
                    <a:gd name="T12" fmla="*/ 155 w 660"/>
                    <a:gd name="T13" fmla="*/ 52 h 667"/>
                    <a:gd name="T14" fmla="*/ 137 w 660"/>
                    <a:gd name="T15" fmla="*/ 62 h 667"/>
                    <a:gd name="T16" fmla="*/ 118 w 660"/>
                    <a:gd name="T17" fmla="*/ 80 h 667"/>
                    <a:gd name="T18" fmla="*/ 88 w 660"/>
                    <a:gd name="T19" fmla="*/ 62 h 667"/>
                    <a:gd name="T20" fmla="*/ 53 w 660"/>
                    <a:gd name="T21" fmla="*/ 80 h 667"/>
                    <a:gd name="T22" fmla="*/ 22 w 660"/>
                    <a:gd name="T23" fmla="*/ 91 h 667"/>
                    <a:gd name="T24" fmla="*/ 5 w 660"/>
                    <a:gd name="T25" fmla="*/ 150 h 667"/>
                    <a:gd name="T26" fmla="*/ 32 w 660"/>
                    <a:gd name="T27" fmla="*/ 212 h 667"/>
                    <a:gd name="T28" fmla="*/ 64 w 660"/>
                    <a:gd name="T29" fmla="*/ 238 h 667"/>
                    <a:gd name="T30" fmla="*/ 100 w 660"/>
                    <a:gd name="T31" fmla="*/ 208 h 667"/>
                    <a:gd name="T32" fmla="*/ 131 w 660"/>
                    <a:gd name="T33" fmla="*/ 194 h 667"/>
                    <a:gd name="T34" fmla="*/ 176 w 660"/>
                    <a:gd name="T35" fmla="*/ 218 h 667"/>
                    <a:gd name="T36" fmla="*/ 236 w 660"/>
                    <a:gd name="T37" fmla="*/ 323 h 667"/>
                    <a:gd name="T38" fmla="*/ 266 w 660"/>
                    <a:gd name="T39" fmla="*/ 350 h 667"/>
                    <a:gd name="T40" fmla="*/ 335 w 660"/>
                    <a:gd name="T41" fmla="*/ 409 h 667"/>
                    <a:gd name="T42" fmla="*/ 388 w 660"/>
                    <a:gd name="T43" fmla="*/ 420 h 667"/>
                    <a:gd name="T44" fmla="*/ 424 w 660"/>
                    <a:gd name="T45" fmla="*/ 454 h 667"/>
                    <a:gd name="T46" fmla="*/ 502 w 660"/>
                    <a:gd name="T47" fmla="*/ 503 h 667"/>
                    <a:gd name="T48" fmla="*/ 535 w 660"/>
                    <a:gd name="T49" fmla="*/ 571 h 667"/>
                    <a:gd name="T50" fmla="*/ 527 w 660"/>
                    <a:gd name="T51" fmla="*/ 662 h 667"/>
                    <a:gd name="T52" fmla="*/ 551 w 660"/>
                    <a:gd name="T53" fmla="*/ 638 h 667"/>
                    <a:gd name="T54" fmla="*/ 592 w 660"/>
                    <a:gd name="T55" fmla="*/ 582 h 667"/>
                    <a:gd name="T56" fmla="*/ 557 w 660"/>
                    <a:gd name="T57" fmla="*/ 526 h 667"/>
                    <a:gd name="T58" fmla="*/ 583 w 660"/>
                    <a:gd name="T59" fmla="*/ 467 h 667"/>
                    <a:gd name="T60" fmla="*/ 635 w 660"/>
                    <a:gd name="T61" fmla="*/ 498 h 667"/>
                    <a:gd name="T62" fmla="*/ 659 w 660"/>
                    <a:gd name="T63" fmla="*/ 469 h 667"/>
                    <a:gd name="T64" fmla="*/ 608 w 660"/>
                    <a:gd name="T65" fmla="*/ 437 h 667"/>
                    <a:gd name="T66" fmla="*/ 566 w 660"/>
                    <a:gd name="T67" fmla="*/ 424 h 667"/>
                    <a:gd name="T68" fmla="*/ 516 w 660"/>
                    <a:gd name="T69" fmla="*/ 377 h 667"/>
                    <a:gd name="T70" fmla="*/ 469 w 660"/>
                    <a:gd name="T71" fmla="*/ 367 h 667"/>
                    <a:gd name="T72" fmla="*/ 398 w 660"/>
                    <a:gd name="T73" fmla="*/ 323 h 667"/>
                    <a:gd name="T74" fmla="*/ 350 w 660"/>
                    <a:gd name="T75" fmla="*/ 244 h 667"/>
                    <a:gd name="T76" fmla="*/ 314 w 660"/>
                    <a:gd name="T77" fmla="*/ 217 h 667"/>
                    <a:gd name="T78" fmla="*/ 305 w 660"/>
                    <a:gd name="T79" fmla="*/ 168 h 667"/>
                    <a:gd name="T80" fmla="*/ 299 w 660"/>
                    <a:gd name="T81" fmla="*/ 142 h 667"/>
                    <a:gd name="T82" fmla="*/ 336 w 660"/>
                    <a:gd name="T83" fmla="*/ 107 h 667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w 660"/>
                    <a:gd name="T127" fmla="*/ 0 h 667"/>
                    <a:gd name="T128" fmla="*/ 660 w 660"/>
                    <a:gd name="T129" fmla="*/ 667 h 667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T126" t="T127" r="T128" b="T129"/>
                  <a:pathLst>
                    <a:path w="660" h="667">
                      <a:moveTo>
                        <a:pt x="359" y="90"/>
                      </a:moveTo>
                      <a:cubicBezTo>
                        <a:pt x="360" y="87"/>
                        <a:pt x="362" y="80"/>
                        <a:pt x="362" y="80"/>
                      </a:cubicBezTo>
                      <a:cubicBezTo>
                        <a:pt x="360" y="75"/>
                        <a:pt x="360" y="74"/>
                        <a:pt x="355" y="73"/>
                      </a:cubicBezTo>
                      <a:cubicBezTo>
                        <a:pt x="354" y="71"/>
                        <a:pt x="356" y="69"/>
                        <a:pt x="357" y="68"/>
                      </a:cubicBezTo>
                      <a:cubicBezTo>
                        <a:pt x="358" y="67"/>
                        <a:pt x="361" y="66"/>
                        <a:pt x="360" y="64"/>
                      </a:cubicBezTo>
                      <a:cubicBezTo>
                        <a:pt x="359" y="61"/>
                        <a:pt x="353" y="58"/>
                        <a:pt x="353" y="58"/>
                      </a:cubicBezTo>
                      <a:cubicBezTo>
                        <a:pt x="352" y="54"/>
                        <a:pt x="365" y="41"/>
                        <a:pt x="358" y="36"/>
                      </a:cubicBezTo>
                      <a:cubicBezTo>
                        <a:pt x="345" y="32"/>
                        <a:pt x="327" y="33"/>
                        <a:pt x="314" y="30"/>
                      </a:cubicBezTo>
                      <a:cubicBezTo>
                        <a:pt x="310" y="28"/>
                        <a:pt x="302" y="24"/>
                        <a:pt x="302" y="24"/>
                      </a:cubicBezTo>
                      <a:cubicBezTo>
                        <a:pt x="299" y="21"/>
                        <a:pt x="294" y="14"/>
                        <a:pt x="294" y="14"/>
                      </a:cubicBezTo>
                      <a:cubicBezTo>
                        <a:pt x="293" y="10"/>
                        <a:pt x="293" y="7"/>
                        <a:pt x="289" y="6"/>
                      </a:cubicBezTo>
                      <a:cubicBezTo>
                        <a:pt x="286" y="1"/>
                        <a:pt x="285" y="1"/>
                        <a:pt x="280" y="0"/>
                      </a:cubicBezTo>
                      <a:cubicBezTo>
                        <a:pt x="266" y="5"/>
                        <a:pt x="257" y="6"/>
                        <a:pt x="241" y="7"/>
                      </a:cubicBezTo>
                      <a:cubicBezTo>
                        <a:pt x="238" y="11"/>
                        <a:pt x="236" y="15"/>
                        <a:pt x="233" y="19"/>
                      </a:cubicBezTo>
                      <a:cubicBezTo>
                        <a:pt x="224" y="18"/>
                        <a:pt x="219" y="18"/>
                        <a:pt x="211" y="14"/>
                      </a:cubicBezTo>
                      <a:cubicBezTo>
                        <a:pt x="199" y="19"/>
                        <a:pt x="206" y="22"/>
                        <a:pt x="200" y="31"/>
                      </a:cubicBezTo>
                      <a:cubicBezTo>
                        <a:pt x="198" y="38"/>
                        <a:pt x="195" y="36"/>
                        <a:pt x="188" y="37"/>
                      </a:cubicBezTo>
                      <a:cubicBezTo>
                        <a:pt x="187" y="41"/>
                        <a:pt x="185" y="44"/>
                        <a:pt x="184" y="48"/>
                      </a:cubicBezTo>
                      <a:cubicBezTo>
                        <a:pt x="182" y="51"/>
                        <a:pt x="177" y="51"/>
                        <a:pt x="174" y="53"/>
                      </a:cubicBezTo>
                      <a:cubicBezTo>
                        <a:pt x="171" y="54"/>
                        <a:pt x="164" y="61"/>
                        <a:pt x="164" y="61"/>
                      </a:cubicBezTo>
                      <a:cubicBezTo>
                        <a:pt x="162" y="54"/>
                        <a:pt x="162" y="54"/>
                        <a:pt x="155" y="52"/>
                      </a:cubicBezTo>
                      <a:cubicBezTo>
                        <a:pt x="154" y="50"/>
                        <a:pt x="154" y="48"/>
                        <a:pt x="151" y="48"/>
                      </a:cubicBezTo>
                      <a:cubicBezTo>
                        <a:pt x="149" y="48"/>
                        <a:pt x="145" y="50"/>
                        <a:pt x="145" y="50"/>
                      </a:cubicBezTo>
                      <a:cubicBezTo>
                        <a:pt x="143" y="55"/>
                        <a:pt x="141" y="58"/>
                        <a:pt x="137" y="62"/>
                      </a:cubicBezTo>
                      <a:cubicBezTo>
                        <a:pt x="135" y="69"/>
                        <a:pt x="131" y="75"/>
                        <a:pt x="128" y="82"/>
                      </a:cubicBezTo>
                      <a:cubicBezTo>
                        <a:pt x="126" y="86"/>
                        <a:pt x="124" y="94"/>
                        <a:pt x="124" y="94"/>
                      </a:cubicBezTo>
                      <a:cubicBezTo>
                        <a:pt x="122" y="92"/>
                        <a:pt x="118" y="80"/>
                        <a:pt x="118" y="80"/>
                      </a:cubicBezTo>
                      <a:cubicBezTo>
                        <a:pt x="117" y="71"/>
                        <a:pt x="119" y="68"/>
                        <a:pt x="110" y="66"/>
                      </a:cubicBezTo>
                      <a:cubicBezTo>
                        <a:pt x="108" y="59"/>
                        <a:pt x="107" y="55"/>
                        <a:pt x="100" y="53"/>
                      </a:cubicBezTo>
                      <a:cubicBezTo>
                        <a:pt x="95" y="55"/>
                        <a:pt x="94" y="60"/>
                        <a:pt x="88" y="62"/>
                      </a:cubicBezTo>
                      <a:cubicBezTo>
                        <a:pt x="85" y="66"/>
                        <a:pt x="85" y="72"/>
                        <a:pt x="82" y="76"/>
                      </a:cubicBezTo>
                      <a:cubicBezTo>
                        <a:pt x="80" y="79"/>
                        <a:pt x="73" y="80"/>
                        <a:pt x="73" y="80"/>
                      </a:cubicBezTo>
                      <a:cubicBezTo>
                        <a:pt x="65" y="79"/>
                        <a:pt x="61" y="78"/>
                        <a:pt x="53" y="80"/>
                      </a:cubicBezTo>
                      <a:cubicBezTo>
                        <a:pt x="48" y="81"/>
                        <a:pt x="40" y="85"/>
                        <a:pt x="40" y="85"/>
                      </a:cubicBezTo>
                      <a:cubicBezTo>
                        <a:pt x="34" y="84"/>
                        <a:pt x="28" y="81"/>
                        <a:pt x="23" y="85"/>
                      </a:cubicBezTo>
                      <a:cubicBezTo>
                        <a:pt x="25" y="92"/>
                        <a:pt x="24" y="86"/>
                        <a:pt x="22" y="91"/>
                      </a:cubicBezTo>
                      <a:cubicBezTo>
                        <a:pt x="23" y="101"/>
                        <a:pt x="26" y="117"/>
                        <a:pt x="32" y="125"/>
                      </a:cubicBezTo>
                      <a:cubicBezTo>
                        <a:pt x="19" y="136"/>
                        <a:pt x="18" y="139"/>
                        <a:pt x="2" y="140"/>
                      </a:cubicBezTo>
                      <a:cubicBezTo>
                        <a:pt x="0" y="145"/>
                        <a:pt x="0" y="148"/>
                        <a:pt x="5" y="150"/>
                      </a:cubicBezTo>
                      <a:cubicBezTo>
                        <a:pt x="7" y="159"/>
                        <a:pt x="16" y="157"/>
                        <a:pt x="25" y="158"/>
                      </a:cubicBezTo>
                      <a:cubicBezTo>
                        <a:pt x="30" y="165"/>
                        <a:pt x="20" y="179"/>
                        <a:pt x="17" y="186"/>
                      </a:cubicBezTo>
                      <a:cubicBezTo>
                        <a:pt x="19" y="199"/>
                        <a:pt x="21" y="205"/>
                        <a:pt x="32" y="212"/>
                      </a:cubicBezTo>
                      <a:cubicBezTo>
                        <a:pt x="41" y="211"/>
                        <a:pt x="51" y="209"/>
                        <a:pt x="59" y="214"/>
                      </a:cubicBezTo>
                      <a:cubicBezTo>
                        <a:pt x="62" y="219"/>
                        <a:pt x="56" y="232"/>
                        <a:pt x="50" y="234"/>
                      </a:cubicBezTo>
                      <a:cubicBezTo>
                        <a:pt x="46" y="243"/>
                        <a:pt x="58" y="239"/>
                        <a:pt x="64" y="238"/>
                      </a:cubicBezTo>
                      <a:cubicBezTo>
                        <a:pt x="70" y="234"/>
                        <a:pt x="78" y="234"/>
                        <a:pt x="83" y="230"/>
                      </a:cubicBezTo>
                      <a:cubicBezTo>
                        <a:pt x="86" y="228"/>
                        <a:pt x="90" y="221"/>
                        <a:pt x="90" y="221"/>
                      </a:cubicBezTo>
                      <a:cubicBezTo>
                        <a:pt x="91" y="217"/>
                        <a:pt x="95" y="210"/>
                        <a:pt x="100" y="208"/>
                      </a:cubicBezTo>
                      <a:cubicBezTo>
                        <a:pt x="102" y="205"/>
                        <a:pt x="105" y="202"/>
                        <a:pt x="107" y="200"/>
                      </a:cubicBezTo>
                      <a:cubicBezTo>
                        <a:pt x="109" y="198"/>
                        <a:pt x="113" y="196"/>
                        <a:pt x="113" y="196"/>
                      </a:cubicBezTo>
                      <a:cubicBezTo>
                        <a:pt x="118" y="189"/>
                        <a:pt x="115" y="191"/>
                        <a:pt x="131" y="194"/>
                      </a:cubicBezTo>
                      <a:cubicBezTo>
                        <a:pt x="136" y="195"/>
                        <a:pt x="141" y="201"/>
                        <a:pt x="145" y="203"/>
                      </a:cubicBezTo>
                      <a:cubicBezTo>
                        <a:pt x="151" y="206"/>
                        <a:pt x="160" y="209"/>
                        <a:pt x="166" y="210"/>
                      </a:cubicBezTo>
                      <a:cubicBezTo>
                        <a:pt x="170" y="213"/>
                        <a:pt x="172" y="215"/>
                        <a:pt x="176" y="218"/>
                      </a:cubicBezTo>
                      <a:cubicBezTo>
                        <a:pt x="180" y="224"/>
                        <a:pt x="187" y="227"/>
                        <a:pt x="190" y="235"/>
                      </a:cubicBezTo>
                      <a:cubicBezTo>
                        <a:pt x="205" y="250"/>
                        <a:pt x="194" y="277"/>
                        <a:pt x="212" y="289"/>
                      </a:cubicBezTo>
                      <a:cubicBezTo>
                        <a:pt x="219" y="304"/>
                        <a:pt x="230" y="314"/>
                        <a:pt x="236" y="323"/>
                      </a:cubicBezTo>
                      <a:cubicBezTo>
                        <a:pt x="238" y="326"/>
                        <a:pt x="248" y="341"/>
                        <a:pt x="250" y="342"/>
                      </a:cubicBezTo>
                      <a:cubicBezTo>
                        <a:pt x="252" y="343"/>
                        <a:pt x="256" y="344"/>
                        <a:pt x="256" y="344"/>
                      </a:cubicBezTo>
                      <a:cubicBezTo>
                        <a:pt x="259" y="347"/>
                        <a:pt x="263" y="348"/>
                        <a:pt x="266" y="350"/>
                      </a:cubicBezTo>
                      <a:cubicBezTo>
                        <a:pt x="272" y="355"/>
                        <a:pt x="285" y="364"/>
                        <a:pt x="294" y="372"/>
                      </a:cubicBezTo>
                      <a:cubicBezTo>
                        <a:pt x="304" y="377"/>
                        <a:pt x="311" y="392"/>
                        <a:pt x="322" y="398"/>
                      </a:cubicBezTo>
                      <a:cubicBezTo>
                        <a:pt x="324" y="404"/>
                        <a:pt x="329" y="407"/>
                        <a:pt x="335" y="409"/>
                      </a:cubicBezTo>
                      <a:cubicBezTo>
                        <a:pt x="340" y="417"/>
                        <a:pt x="345" y="419"/>
                        <a:pt x="352" y="424"/>
                      </a:cubicBezTo>
                      <a:cubicBezTo>
                        <a:pt x="365" y="422"/>
                        <a:pt x="364" y="421"/>
                        <a:pt x="373" y="418"/>
                      </a:cubicBezTo>
                      <a:cubicBezTo>
                        <a:pt x="378" y="418"/>
                        <a:pt x="384" y="416"/>
                        <a:pt x="388" y="420"/>
                      </a:cubicBezTo>
                      <a:cubicBezTo>
                        <a:pt x="391" y="423"/>
                        <a:pt x="395" y="428"/>
                        <a:pt x="395" y="428"/>
                      </a:cubicBezTo>
                      <a:cubicBezTo>
                        <a:pt x="397" y="435"/>
                        <a:pt x="398" y="442"/>
                        <a:pt x="400" y="449"/>
                      </a:cubicBezTo>
                      <a:cubicBezTo>
                        <a:pt x="405" y="453"/>
                        <a:pt x="415" y="452"/>
                        <a:pt x="424" y="454"/>
                      </a:cubicBezTo>
                      <a:cubicBezTo>
                        <a:pt x="432" y="460"/>
                        <a:pt x="442" y="458"/>
                        <a:pt x="452" y="460"/>
                      </a:cubicBezTo>
                      <a:cubicBezTo>
                        <a:pt x="457" y="468"/>
                        <a:pt x="458" y="489"/>
                        <a:pt x="467" y="492"/>
                      </a:cubicBezTo>
                      <a:cubicBezTo>
                        <a:pt x="475" y="503"/>
                        <a:pt x="489" y="501"/>
                        <a:pt x="502" y="503"/>
                      </a:cubicBezTo>
                      <a:cubicBezTo>
                        <a:pt x="508" y="511"/>
                        <a:pt x="514" y="524"/>
                        <a:pt x="516" y="534"/>
                      </a:cubicBezTo>
                      <a:cubicBezTo>
                        <a:pt x="517" y="539"/>
                        <a:pt x="522" y="547"/>
                        <a:pt x="522" y="547"/>
                      </a:cubicBezTo>
                      <a:cubicBezTo>
                        <a:pt x="524" y="553"/>
                        <a:pt x="530" y="566"/>
                        <a:pt x="535" y="571"/>
                      </a:cubicBezTo>
                      <a:cubicBezTo>
                        <a:pt x="539" y="584"/>
                        <a:pt x="534" y="599"/>
                        <a:pt x="523" y="607"/>
                      </a:cubicBezTo>
                      <a:cubicBezTo>
                        <a:pt x="519" y="620"/>
                        <a:pt x="516" y="633"/>
                        <a:pt x="515" y="647"/>
                      </a:cubicBezTo>
                      <a:cubicBezTo>
                        <a:pt x="516" y="658"/>
                        <a:pt x="517" y="659"/>
                        <a:pt x="527" y="662"/>
                      </a:cubicBezTo>
                      <a:cubicBezTo>
                        <a:pt x="534" y="661"/>
                        <a:pt x="531" y="667"/>
                        <a:pt x="535" y="662"/>
                      </a:cubicBezTo>
                      <a:cubicBezTo>
                        <a:pt x="536" y="658"/>
                        <a:pt x="538" y="656"/>
                        <a:pt x="541" y="653"/>
                      </a:cubicBezTo>
                      <a:cubicBezTo>
                        <a:pt x="543" y="648"/>
                        <a:pt x="547" y="642"/>
                        <a:pt x="551" y="638"/>
                      </a:cubicBezTo>
                      <a:cubicBezTo>
                        <a:pt x="553" y="631"/>
                        <a:pt x="559" y="627"/>
                        <a:pt x="560" y="620"/>
                      </a:cubicBezTo>
                      <a:cubicBezTo>
                        <a:pt x="562" y="606"/>
                        <a:pt x="566" y="589"/>
                        <a:pt x="582" y="586"/>
                      </a:cubicBezTo>
                      <a:cubicBezTo>
                        <a:pt x="585" y="584"/>
                        <a:pt x="592" y="582"/>
                        <a:pt x="592" y="582"/>
                      </a:cubicBezTo>
                      <a:cubicBezTo>
                        <a:pt x="592" y="581"/>
                        <a:pt x="595" y="576"/>
                        <a:pt x="595" y="575"/>
                      </a:cubicBezTo>
                      <a:cubicBezTo>
                        <a:pt x="595" y="568"/>
                        <a:pt x="595" y="561"/>
                        <a:pt x="594" y="554"/>
                      </a:cubicBezTo>
                      <a:cubicBezTo>
                        <a:pt x="592" y="532"/>
                        <a:pt x="571" y="535"/>
                        <a:pt x="557" y="526"/>
                      </a:cubicBezTo>
                      <a:cubicBezTo>
                        <a:pt x="556" y="523"/>
                        <a:pt x="554" y="520"/>
                        <a:pt x="553" y="517"/>
                      </a:cubicBezTo>
                      <a:cubicBezTo>
                        <a:pt x="554" y="494"/>
                        <a:pt x="556" y="491"/>
                        <a:pt x="563" y="479"/>
                      </a:cubicBezTo>
                      <a:cubicBezTo>
                        <a:pt x="566" y="471"/>
                        <a:pt x="575" y="468"/>
                        <a:pt x="583" y="467"/>
                      </a:cubicBezTo>
                      <a:cubicBezTo>
                        <a:pt x="595" y="468"/>
                        <a:pt x="592" y="471"/>
                        <a:pt x="601" y="474"/>
                      </a:cubicBezTo>
                      <a:cubicBezTo>
                        <a:pt x="607" y="474"/>
                        <a:pt x="628" y="469"/>
                        <a:pt x="630" y="478"/>
                      </a:cubicBezTo>
                      <a:cubicBezTo>
                        <a:pt x="629" y="484"/>
                        <a:pt x="627" y="495"/>
                        <a:pt x="635" y="498"/>
                      </a:cubicBezTo>
                      <a:cubicBezTo>
                        <a:pt x="639" y="506"/>
                        <a:pt x="649" y="504"/>
                        <a:pt x="656" y="509"/>
                      </a:cubicBezTo>
                      <a:cubicBezTo>
                        <a:pt x="659" y="501"/>
                        <a:pt x="659" y="498"/>
                        <a:pt x="660" y="490"/>
                      </a:cubicBezTo>
                      <a:cubicBezTo>
                        <a:pt x="660" y="483"/>
                        <a:pt x="660" y="476"/>
                        <a:pt x="659" y="469"/>
                      </a:cubicBezTo>
                      <a:cubicBezTo>
                        <a:pt x="658" y="464"/>
                        <a:pt x="644" y="462"/>
                        <a:pt x="644" y="462"/>
                      </a:cubicBezTo>
                      <a:cubicBezTo>
                        <a:pt x="638" y="450"/>
                        <a:pt x="632" y="450"/>
                        <a:pt x="622" y="443"/>
                      </a:cubicBezTo>
                      <a:cubicBezTo>
                        <a:pt x="618" y="440"/>
                        <a:pt x="608" y="437"/>
                        <a:pt x="608" y="437"/>
                      </a:cubicBezTo>
                      <a:cubicBezTo>
                        <a:pt x="604" y="434"/>
                        <a:pt x="595" y="431"/>
                        <a:pt x="595" y="431"/>
                      </a:cubicBezTo>
                      <a:cubicBezTo>
                        <a:pt x="591" y="425"/>
                        <a:pt x="584" y="427"/>
                        <a:pt x="578" y="426"/>
                      </a:cubicBezTo>
                      <a:cubicBezTo>
                        <a:pt x="574" y="425"/>
                        <a:pt x="570" y="425"/>
                        <a:pt x="566" y="424"/>
                      </a:cubicBezTo>
                      <a:cubicBezTo>
                        <a:pt x="556" y="420"/>
                        <a:pt x="527" y="408"/>
                        <a:pt x="518" y="403"/>
                      </a:cubicBezTo>
                      <a:cubicBezTo>
                        <a:pt x="512" y="401"/>
                        <a:pt x="512" y="399"/>
                        <a:pt x="509" y="394"/>
                      </a:cubicBezTo>
                      <a:cubicBezTo>
                        <a:pt x="511" y="388"/>
                        <a:pt x="513" y="383"/>
                        <a:pt x="516" y="377"/>
                      </a:cubicBezTo>
                      <a:cubicBezTo>
                        <a:pt x="517" y="375"/>
                        <a:pt x="520" y="362"/>
                        <a:pt x="520" y="362"/>
                      </a:cubicBezTo>
                      <a:cubicBezTo>
                        <a:pt x="518" y="351"/>
                        <a:pt x="509" y="361"/>
                        <a:pt x="499" y="360"/>
                      </a:cubicBezTo>
                      <a:cubicBezTo>
                        <a:pt x="485" y="362"/>
                        <a:pt x="483" y="368"/>
                        <a:pt x="469" y="367"/>
                      </a:cubicBezTo>
                      <a:cubicBezTo>
                        <a:pt x="457" y="363"/>
                        <a:pt x="434" y="351"/>
                        <a:pt x="422" y="347"/>
                      </a:cubicBezTo>
                      <a:cubicBezTo>
                        <a:pt x="417" y="342"/>
                        <a:pt x="412" y="339"/>
                        <a:pt x="407" y="334"/>
                      </a:cubicBezTo>
                      <a:cubicBezTo>
                        <a:pt x="406" y="330"/>
                        <a:pt x="402" y="325"/>
                        <a:pt x="398" y="323"/>
                      </a:cubicBezTo>
                      <a:cubicBezTo>
                        <a:pt x="387" y="307"/>
                        <a:pt x="395" y="279"/>
                        <a:pt x="378" y="268"/>
                      </a:cubicBezTo>
                      <a:cubicBezTo>
                        <a:pt x="377" y="264"/>
                        <a:pt x="365" y="254"/>
                        <a:pt x="361" y="253"/>
                      </a:cubicBezTo>
                      <a:cubicBezTo>
                        <a:pt x="358" y="249"/>
                        <a:pt x="350" y="244"/>
                        <a:pt x="350" y="244"/>
                      </a:cubicBezTo>
                      <a:cubicBezTo>
                        <a:pt x="347" y="239"/>
                        <a:pt x="341" y="235"/>
                        <a:pt x="335" y="233"/>
                      </a:cubicBezTo>
                      <a:cubicBezTo>
                        <a:pt x="332" y="230"/>
                        <a:pt x="330" y="227"/>
                        <a:pt x="326" y="226"/>
                      </a:cubicBezTo>
                      <a:cubicBezTo>
                        <a:pt x="323" y="222"/>
                        <a:pt x="319" y="218"/>
                        <a:pt x="314" y="217"/>
                      </a:cubicBezTo>
                      <a:cubicBezTo>
                        <a:pt x="310" y="215"/>
                        <a:pt x="311" y="212"/>
                        <a:pt x="307" y="210"/>
                      </a:cubicBezTo>
                      <a:cubicBezTo>
                        <a:pt x="306" y="202"/>
                        <a:pt x="304" y="194"/>
                        <a:pt x="301" y="187"/>
                      </a:cubicBezTo>
                      <a:cubicBezTo>
                        <a:pt x="305" y="155"/>
                        <a:pt x="302" y="181"/>
                        <a:pt x="305" y="168"/>
                      </a:cubicBezTo>
                      <a:cubicBezTo>
                        <a:pt x="306" y="165"/>
                        <a:pt x="307" y="158"/>
                        <a:pt x="307" y="158"/>
                      </a:cubicBezTo>
                      <a:cubicBezTo>
                        <a:pt x="307" y="155"/>
                        <a:pt x="307" y="151"/>
                        <a:pt x="305" y="148"/>
                      </a:cubicBezTo>
                      <a:cubicBezTo>
                        <a:pt x="303" y="146"/>
                        <a:pt x="299" y="142"/>
                        <a:pt x="299" y="142"/>
                      </a:cubicBezTo>
                      <a:cubicBezTo>
                        <a:pt x="298" y="138"/>
                        <a:pt x="295" y="137"/>
                        <a:pt x="294" y="133"/>
                      </a:cubicBezTo>
                      <a:cubicBezTo>
                        <a:pt x="296" y="126"/>
                        <a:pt x="294" y="128"/>
                        <a:pt x="299" y="125"/>
                      </a:cubicBezTo>
                      <a:cubicBezTo>
                        <a:pt x="303" y="114"/>
                        <a:pt x="326" y="109"/>
                        <a:pt x="336" y="107"/>
                      </a:cubicBezTo>
                      <a:cubicBezTo>
                        <a:pt x="339" y="105"/>
                        <a:pt x="346" y="100"/>
                        <a:pt x="346" y="100"/>
                      </a:cubicBezTo>
                      <a:cubicBezTo>
                        <a:pt x="349" y="96"/>
                        <a:pt x="354" y="92"/>
                        <a:pt x="359" y="90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orpoS" pitchFamily="2" charset="0"/>
                    <a:ea typeface="+mn-ea"/>
                  </a:endParaRPr>
                </a:p>
              </p:txBody>
            </p:sp>
          </p:grpSp>
        </p:grpSp>
        <p:grpSp>
          <p:nvGrpSpPr>
            <p:cNvPr id="265" name="Group 52"/>
            <p:cNvGrpSpPr>
              <a:grpSpLocks noChangeAspect="1"/>
            </p:cNvGrpSpPr>
            <p:nvPr/>
          </p:nvGrpSpPr>
          <p:grpSpPr bwMode="auto">
            <a:xfrm>
              <a:off x="1502" y="3309"/>
              <a:ext cx="714" cy="596"/>
              <a:chOff x="1648" y="3145"/>
              <a:chExt cx="707" cy="590"/>
            </a:xfrm>
            <a:grpFill/>
          </p:grpSpPr>
          <p:sp>
            <p:nvSpPr>
              <p:cNvPr id="335" name="Freeform 53"/>
              <p:cNvSpPr>
                <a:spLocks noChangeAspect="1"/>
              </p:cNvSpPr>
              <p:nvPr/>
            </p:nvSpPr>
            <p:spPr bwMode="auto">
              <a:xfrm>
                <a:off x="2167" y="3576"/>
                <a:ext cx="27" cy="21"/>
              </a:xfrm>
              <a:custGeom>
                <a:avLst/>
                <a:gdLst>
                  <a:gd name="T0" fmla="*/ 25 w 27"/>
                  <a:gd name="T1" fmla="*/ 0 h 21"/>
                  <a:gd name="T2" fmla="*/ 0 w 27"/>
                  <a:gd name="T3" fmla="*/ 10 h 21"/>
                  <a:gd name="T4" fmla="*/ 10 w 27"/>
                  <a:gd name="T5" fmla="*/ 20 h 21"/>
                  <a:gd name="T6" fmla="*/ 27 w 27"/>
                  <a:gd name="T7" fmla="*/ 15 h 21"/>
                  <a:gd name="T8" fmla="*/ 19 w 27"/>
                  <a:gd name="T9" fmla="*/ 1 h 21"/>
                  <a:gd name="T10" fmla="*/ 9 w 27"/>
                  <a:gd name="T11" fmla="*/ 3 h 21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7"/>
                  <a:gd name="T19" fmla="*/ 0 h 21"/>
                  <a:gd name="T20" fmla="*/ 27 w 27"/>
                  <a:gd name="T21" fmla="*/ 21 h 21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7" h="21">
                    <a:moveTo>
                      <a:pt x="25" y="0"/>
                    </a:moveTo>
                    <a:cubicBezTo>
                      <a:pt x="5" y="2"/>
                      <a:pt x="12" y="2"/>
                      <a:pt x="0" y="10"/>
                    </a:cubicBezTo>
                    <a:cubicBezTo>
                      <a:pt x="1" y="15"/>
                      <a:pt x="10" y="20"/>
                      <a:pt x="10" y="20"/>
                    </a:cubicBezTo>
                    <a:cubicBezTo>
                      <a:pt x="16" y="19"/>
                      <a:pt x="23" y="21"/>
                      <a:pt x="27" y="15"/>
                    </a:cubicBezTo>
                    <a:cubicBezTo>
                      <a:pt x="25" y="10"/>
                      <a:pt x="24" y="3"/>
                      <a:pt x="19" y="1"/>
                    </a:cubicBezTo>
                    <a:cubicBezTo>
                      <a:pt x="16" y="2"/>
                      <a:pt x="9" y="3"/>
                      <a:pt x="9" y="3"/>
                    </a:cubicBezTo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36" name="Freeform 54"/>
              <p:cNvSpPr>
                <a:spLocks noChangeAspect="1"/>
              </p:cNvSpPr>
              <p:nvPr/>
            </p:nvSpPr>
            <p:spPr bwMode="auto">
              <a:xfrm>
                <a:off x="2178" y="3606"/>
                <a:ext cx="23" cy="9"/>
              </a:xfrm>
              <a:custGeom>
                <a:avLst/>
                <a:gdLst>
                  <a:gd name="T0" fmla="*/ 1 w 23"/>
                  <a:gd name="T1" fmla="*/ 0 h 9"/>
                  <a:gd name="T2" fmla="*/ 3 w 23"/>
                  <a:gd name="T3" fmla="*/ 7 h 9"/>
                  <a:gd name="T4" fmla="*/ 1 w 23"/>
                  <a:gd name="T5" fmla="*/ 0 h 9"/>
                  <a:gd name="T6" fmla="*/ 0 60000 65536"/>
                  <a:gd name="T7" fmla="*/ 0 60000 65536"/>
                  <a:gd name="T8" fmla="*/ 0 60000 65536"/>
                  <a:gd name="T9" fmla="*/ 0 w 23"/>
                  <a:gd name="T10" fmla="*/ 0 h 9"/>
                  <a:gd name="T11" fmla="*/ 23 w 23"/>
                  <a:gd name="T12" fmla="*/ 9 h 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3" h="9">
                    <a:moveTo>
                      <a:pt x="1" y="0"/>
                    </a:moveTo>
                    <a:cubicBezTo>
                      <a:pt x="23" y="2"/>
                      <a:pt x="19" y="9"/>
                      <a:pt x="3" y="7"/>
                    </a:cubicBezTo>
                    <a:cubicBezTo>
                      <a:pt x="0" y="3"/>
                      <a:pt x="1" y="5"/>
                      <a:pt x="1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37" name="Freeform 55"/>
              <p:cNvSpPr>
                <a:spLocks noChangeAspect="1"/>
              </p:cNvSpPr>
              <p:nvPr/>
            </p:nvSpPr>
            <p:spPr bwMode="auto">
              <a:xfrm>
                <a:off x="2239" y="3523"/>
                <a:ext cx="64" cy="50"/>
              </a:xfrm>
              <a:custGeom>
                <a:avLst/>
                <a:gdLst>
                  <a:gd name="T0" fmla="*/ 3 w 64"/>
                  <a:gd name="T1" fmla="*/ 19 h 50"/>
                  <a:gd name="T2" fmla="*/ 18 w 64"/>
                  <a:gd name="T3" fmla="*/ 14 h 50"/>
                  <a:gd name="T4" fmla="*/ 30 w 64"/>
                  <a:gd name="T5" fmla="*/ 6 h 50"/>
                  <a:gd name="T6" fmla="*/ 44 w 64"/>
                  <a:gd name="T7" fmla="*/ 0 h 50"/>
                  <a:gd name="T8" fmla="*/ 52 w 64"/>
                  <a:gd name="T9" fmla="*/ 21 h 50"/>
                  <a:gd name="T10" fmla="*/ 64 w 64"/>
                  <a:gd name="T11" fmla="*/ 18 h 50"/>
                  <a:gd name="T12" fmla="*/ 58 w 64"/>
                  <a:gd name="T13" fmla="*/ 32 h 50"/>
                  <a:gd name="T14" fmla="*/ 56 w 64"/>
                  <a:gd name="T15" fmla="*/ 35 h 50"/>
                  <a:gd name="T16" fmla="*/ 52 w 64"/>
                  <a:gd name="T17" fmla="*/ 37 h 50"/>
                  <a:gd name="T18" fmla="*/ 40 w 64"/>
                  <a:gd name="T19" fmla="*/ 50 h 50"/>
                  <a:gd name="T20" fmla="*/ 26 w 64"/>
                  <a:gd name="T21" fmla="*/ 42 h 50"/>
                  <a:gd name="T22" fmla="*/ 19 w 64"/>
                  <a:gd name="T23" fmla="*/ 31 h 50"/>
                  <a:gd name="T24" fmla="*/ 0 w 64"/>
                  <a:gd name="T25" fmla="*/ 25 h 50"/>
                  <a:gd name="T26" fmla="*/ 15 w 64"/>
                  <a:gd name="T27" fmla="*/ 15 h 50"/>
                  <a:gd name="T28" fmla="*/ 18 w 64"/>
                  <a:gd name="T29" fmla="*/ 14 h 50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64"/>
                  <a:gd name="T46" fmla="*/ 0 h 50"/>
                  <a:gd name="T47" fmla="*/ 64 w 64"/>
                  <a:gd name="T48" fmla="*/ 50 h 50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64" h="50">
                    <a:moveTo>
                      <a:pt x="3" y="19"/>
                    </a:moveTo>
                    <a:cubicBezTo>
                      <a:pt x="8" y="17"/>
                      <a:pt x="13" y="16"/>
                      <a:pt x="18" y="14"/>
                    </a:cubicBezTo>
                    <a:cubicBezTo>
                      <a:pt x="23" y="12"/>
                      <a:pt x="25" y="8"/>
                      <a:pt x="30" y="6"/>
                    </a:cubicBezTo>
                    <a:cubicBezTo>
                      <a:pt x="33" y="2"/>
                      <a:pt x="44" y="0"/>
                      <a:pt x="44" y="0"/>
                    </a:cubicBezTo>
                    <a:cubicBezTo>
                      <a:pt x="55" y="3"/>
                      <a:pt x="43" y="15"/>
                      <a:pt x="52" y="21"/>
                    </a:cubicBezTo>
                    <a:cubicBezTo>
                      <a:pt x="60" y="16"/>
                      <a:pt x="56" y="17"/>
                      <a:pt x="64" y="18"/>
                    </a:cubicBezTo>
                    <a:cubicBezTo>
                      <a:pt x="63" y="24"/>
                      <a:pt x="63" y="29"/>
                      <a:pt x="58" y="32"/>
                    </a:cubicBezTo>
                    <a:cubicBezTo>
                      <a:pt x="57" y="33"/>
                      <a:pt x="57" y="34"/>
                      <a:pt x="56" y="35"/>
                    </a:cubicBezTo>
                    <a:cubicBezTo>
                      <a:pt x="55" y="36"/>
                      <a:pt x="53" y="36"/>
                      <a:pt x="52" y="37"/>
                    </a:cubicBezTo>
                    <a:cubicBezTo>
                      <a:pt x="45" y="45"/>
                      <a:pt x="52" y="44"/>
                      <a:pt x="40" y="50"/>
                    </a:cubicBezTo>
                    <a:cubicBezTo>
                      <a:pt x="35" y="46"/>
                      <a:pt x="33" y="43"/>
                      <a:pt x="26" y="42"/>
                    </a:cubicBezTo>
                    <a:cubicBezTo>
                      <a:pt x="24" y="36"/>
                      <a:pt x="24" y="34"/>
                      <a:pt x="19" y="31"/>
                    </a:cubicBezTo>
                    <a:cubicBezTo>
                      <a:pt x="3" y="32"/>
                      <a:pt x="0" y="38"/>
                      <a:pt x="0" y="25"/>
                    </a:cubicBezTo>
                    <a:cubicBezTo>
                      <a:pt x="0" y="19"/>
                      <a:pt x="10" y="17"/>
                      <a:pt x="15" y="15"/>
                    </a:cubicBezTo>
                    <a:cubicBezTo>
                      <a:pt x="16" y="15"/>
                      <a:pt x="18" y="14"/>
                      <a:pt x="18" y="14"/>
                    </a:cubicBezTo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38" name="Freeform 56"/>
              <p:cNvSpPr>
                <a:spLocks noChangeAspect="1"/>
              </p:cNvSpPr>
              <p:nvPr/>
            </p:nvSpPr>
            <p:spPr bwMode="auto">
              <a:xfrm>
                <a:off x="2324" y="3522"/>
                <a:ext cx="31" cy="24"/>
              </a:xfrm>
              <a:custGeom>
                <a:avLst/>
                <a:gdLst>
                  <a:gd name="T0" fmla="*/ 1 w 31"/>
                  <a:gd name="T1" fmla="*/ 0 h 24"/>
                  <a:gd name="T2" fmla="*/ 24 w 31"/>
                  <a:gd name="T3" fmla="*/ 1 h 24"/>
                  <a:gd name="T4" fmla="*/ 29 w 31"/>
                  <a:gd name="T5" fmla="*/ 21 h 24"/>
                  <a:gd name="T6" fmla="*/ 19 w 31"/>
                  <a:gd name="T7" fmla="*/ 13 h 24"/>
                  <a:gd name="T8" fmla="*/ 6 w 31"/>
                  <a:gd name="T9" fmla="*/ 10 h 24"/>
                  <a:gd name="T10" fmla="*/ 1 w 31"/>
                  <a:gd name="T11" fmla="*/ 0 h 2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1"/>
                  <a:gd name="T19" fmla="*/ 0 h 24"/>
                  <a:gd name="T20" fmla="*/ 31 w 31"/>
                  <a:gd name="T21" fmla="*/ 24 h 2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1" h="24">
                    <a:moveTo>
                      <a:pt x="1" y="0"/>
                    </a:moveTo>
                    <a:cubicBezTo>
                      <a:pt x="9" y="0"/>
                      <a:pt x="16" y="0"/>
                      <a:pt x="24" y="1"/>
                    </a:cubicBezTo>
                    <a:cubicBezTo>
                      <a:pt x="31" y="2"/>
                      <a:pt x="29" y="21"/>
                      <a:pt x="29" y="21"/>
                    </a:cubicBezTo>
                    <a:cubicBezTo>
                      <a:pt x="21" y="24"/>
                      <a:pt x="24" y="16"/>
                      <a:pt x="19" y="13"/>
                    </a:cubicBezTo>
                    <a:cubicBezTo>
                      <a:pt x="15" y="11"/>
                      <a:pt x="10" y="11"/>
                      <a:pt x="6" y="10"/>
                    </a:cubicBezTo>
                    <a:cubicBezTo>
                      <a:pt x="0" y="6"/>
                      <a:pt x="0" y="9"/>
                      <a:pt x="1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39" name="Freeform 57"/>
              <p:cNvSpPr>
                <a:spLocks noChangeAspect="1"/>
              </p:cNvSpPr>
              <p:nvPr/>
            </p:nvSpPr>
            <p:spPr bwMode="auto">
              <a:xfrm>
                <a:off x="1648" y="3145"/>
                <a:ext cx="665" cy="590"/>
              </a:xfrm>
              <a:custGeom>
                <a:avLst/>
                <a:gdLst>
                  <a:gd name="T0" fmla="*/ 395 w 665"/>
                  <a:gd name="T1" fmla="*/ 96 h 590"/>
                  <a:gd name="T2" fmla="*/ 361 w 665"/>
                  <a:gd name="T3" fmla="*/ 90 h 590"/>
                  <a:gd name="T4" fmla="*/ 337 w 665"/>
                  <a:gd name="T5" fmla="*/ 86 h 590"/>
                  <a:gd name="T6" fmla="*/ 310 w 665"/>
                  <a:gd name="T7" fmla="*/ 71 h 590"/>
                  <a:gd name="T8" fmla="*/ 258 w 665"/>
                  <a:gd name="T9" fmla="*/ 61 h 590"/>
                  <a:gd name="T10" fmla="*/ 220 w 665"/>
                  <a:gd name="T11" fmla="*/ 53 h 590"/>
                  <a:gd name="T12" fmla="*/ 137 w 665"/>
                  <a:gd name="T13" fmla="*/ 26 h 590"/>
                  <a:gd name="T14" fmla="*/ 90 w 665"/>
                  <a:gd name="T15" fmla="*/ 2 h 590"/>
                  <a:gd name="T16" fmla="*/ 66 w 665"/>
                  <a:gd name="T17" fmla="*/ 18 h 590"/>
                  <a:gd name="T18" fmla="*/ 40 w 665"/>
                  <a:gd name="T19" fmla="*/ 23 h 590"/>
                  <a:gd name="T20" fmla="*/ 15 w 665"/>
                  <a:gd name="T21" fmla="*/ 20 h 590"/>
                  <a:gd name="T22" fmla="*/ 12 w 665"/>
                  <a:gd name="T23" fmla="*/ 102 h 590"/>
                  <a:gd name="T24" fmla="*/ 29 w 665"/>
                  <a:gd name="T25" fmla="*/ 115 h 590"/>
                  <a:gd name="T26" fmla="*/ 43 w 665"/>
                  <a:gd name="T27" fmla="*/ 133 h 590"/>
                  <a:gd name="T28" fmla="*/ 129 w 665"/>
                  <a:gd name="T29" fmla="*/ 147 h 590"/>
                  <a:gd name="T30" fmla="*/ 138 w 665"/>
                  <a:gd name="T31" fmla="*/ 182 h 590"/>
                  <a:gd name="T32" fmla="*/ 99 w 665"/>
                  <a:gd name="T33" fmla="*/ 212 h 590"/>
                  <a:gd name="T34" fmla="*/ 91 w 665"/>
                  <a:gd name="T35" fmla="*/ 247 h 590"/>
                  <a:gd name="T36" fmla="*/ 82 w 665"/>
                  <a:gd name="T37" fmla="*/ 275 h 590"/>
                  <a:gd name="T38" fmla="*/ 63 w 665"/>
                  <a:gd name="T39" fmla="*/ 303 h 590"/>
                  <a:gd name="T40" fmla="*/ 45 w 665"/>
                  <a:gd name="T41" fmla="*/ 309 h 590"/>
                  <a:gd name="T42" fmla="*/ 48 w 665"/>
                  <a:gd name="T43" fmla="*/ 362 h 590"/>
                  <a:gd name="T44" fmla="*/ 34 w 665"/>
                  <a:gd name="T45" fmla="*/ 392 h 590"/>
                  <a:gd name="T46" fmla="*/ 40 w 665"/>
                  <a:gd name="T47" fmla="*/ 409 h 590"/>
                  <a:gd name="T48" fmla="*/ 23 w 665"/>
                  <a:gd name="T49" fmla="*/ 428 h 590"/>
                  <a:gd name="T50" fmla="*/ 0 w 665"/>
                  <a:gd name="T51" fmla="*/ 461 h 590"/>
                  <a:gd name="T52" fmla="*/ 34 w 665"/>
                  <a:gd name="T53" fmla="*/ 492 h 590"/>
                  <a:gd name="T54" fmla="*/ 57 w 665"/>
                  <a:gd name="T55" fmla="*/ 537 h 590"/>
                  <a:gd name="T56" fmla="*/ 75 w 665"/>
                  <a:gd name="T57" fmla="*/ 590 h 590"/>
                  <a:gd name="T58" fmla="*/ 124 w 665"/>
                  <a:gd name="T59" fmla="*/ 572 h 590"/>
                  <a:gd name="T60" fmla="*/ 186 w 665"/>
                  <a:gd name="T61" fmla="*/ 554 h 590"/>
                  <a:gd name="T62" fmla="*/ 281 w 665"/>
                  <a:gd name="T63" fmla="*/ 567 h 590"/>
                  <a:gd name="T64" fmla="*/ 336 w 665"/>
                  <a:gd name="T65" fmla="*/ 537 h 590"/>
                  <a:gd name="T66" fmla="*/ 402 w 665"/>
                  <a:gd name="T67" fmla="*/ 518 h 590"/>
                  <a:gd name="T68" fmla="*/ 438 w 665"/>
                  <a:gd name="T69" fmla="*/ 455 h 590"/>
                  <a:gd name="T70" fmla="*/ 450 w 665"/>
                  <a:gd name="T71" fmla="*/ 425 h 590"/>
                  <a:gd name="T72" fmla="*/ 435 w 665"/>
                  <a:gd name="T73" fmla="*/ 405 h 590"/>
                  <a:gd name="T74" fmla="*/ 456 w 665"/>
                  <a:gd name="T75" fmla="*/ 371 h 590"/>
                  <a:gd name="T76" fmla="*/ 480 w 665"/>
                  <a:gd name="T77" fmla="*/ 341 h 590"/>
                  <a:gd name="T78" fmla="*/ 497 w 665"/>
                  <a:gd name="T79" fmla="*/ 315 h 590"/>
                  <a:gd name="T80" fmla="*/ 522 w 665"/>
                  <a:gd name="T81" fmla="*/ 297 h 590"/>
                  <a:gd name="T82" fmla="*/ 549 w 665"/>
                  <a:gd name="T83" fmla="*/ 281 h 590"/>
                  <a:gd name="T84" fmla="*/ 607 w 665"/>
                  <a:gd name="T85" fmla="*/ 267 h 590"/>
                  <a:gd name="T86" fmla="*/ 640 w 665"/>
                  <a:gd name="T87" fmla="*/ 251 h 590"/>
                  <a:gd name="T88" fmla="*/ 659 w 665"/>
                  <a:gd name="T89" fmla="*/ 191 h 590"/>
                  <a:gd name="T90" fmla="*/ 598 w 665"/>
                  <a:gd name="T91" fmla="*/ 193 h 590"/>
                  <a:gd name="T92" fmla="*/ 569 w 665"/>
                  <a:gd name="T93" fmla="*/ 170 h 590"/>
                  <a:gd name="T94" fmla="*/ 531 w 665"/>
                  <a:gd name="T95" fmla="*/ 162 h 590"/>
                  <a:gd name="T96" fmla="*/ 504 w 665"/>
                  <a:gd name="T97" fmla="*/ 159 h 590"/>
                  <a:gd name="T98" fmla="*/ 467 w 665"/>
                  <a:gd name="T99" fmla="*/ 143 h 590"/>
                  <a:gd name="T100" fmla="*/ 437 w 665"/>
                  <a:gd name="T101" fmla="*/ 131 h 590"/>
                  <a:gd name="T102" fmla="*/ 418 w 665"/>
                  <a:gd name="T103" fmla="*/ 89 h 590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665"/>
                  <a:gd name="T157" fmla="*/ 0 h 590"/>
                  <a:gd name="T158" fmla="*/ 665 w 665"/>
                  <a:gd name="T159" fmla="*/ 590 h 590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665" h="590">
                    <a:moveTo>
                      <a:pt x="418" y="89"/>
                    </a:moveTo>
                    <a:cubicBezTo>
                      <a:pt x="411" y="90"/>
                      <a:pt x="402" y="95"/>
                      <a:pt x="395" y="96"/>
                    </a:cubicBezTo>
                    <a:cubicBezTo>
                      <a:pt x="384" y="95"/>
                      <a:pt x="382" y="94"/>
                      <a:pt x="373" y="92"/>
                    </a:cubicBezTo>
                    <a:cubicBezTo>
                      <a:pt x="369" y="91"/>
                      <a:pt x="361" y="90"/>
                      <a:pt x="361" y="90"/>
                    </a:cubicBezTo>
                    <a:cubicBezTo>
                      <a:pt x="358" y="86"/>
                      <a:pt x="356" y="84"/>
                      <a:pt x="351" y="83"/>
                    </a:cubicBezTo>
                    <a:cubicBezTo>
                      <a:pt x="346" y="84"/>
                      <a:pt x="337" y="86"/>
                      <a:pt x="337" y="86"/>
                    </a:cubicBezTo>
                    <a:cubicBezTo>
                      <a:pt x="332" y="84"/>
                      <a:pt x="332" y="78"/>
                      <a:pt x="327" y="75"/>
                    </a:cubicBezTo>
                    <a:cubicBezTo>
                      <a:pt x="323" y="73"/>
                      <a:pt x="315" y="72"/>
                      <a:pt x="310" y="71"/>
                    </a:cubicBezTo>
                    <a:cubicBezTo>
                      <a:pt x="302" y="70"/>
                      <a:pt x="285" y="68"/>
                      <a:pt x="285" y="68"/>
                    </a:cubicBezTo>
                    <a:cubicBezTo>
                      <a:pt x="274" y="64"/>
                      <a:pt x="271" y="62"/>
                      <a:pt x="258" y="61"/>
                    </a:cubicBezTo>
                    <a:cubicBezTo>
                      <a:pt x="249" y="58"/>
                      <a:pt x="240" y="57"/>
                      <a:pt x="231" y="56"/>
                    </a:cubicBezTo>
                    <a:cubicBezTo>
                      <a:pt x="227" y="55"/>
                      <a:pt x="224" y="54"/>
                      <a:pt x="220" y="53"/>
                    </a:cubicBezTo>
                    <a:cubicBezTo>
                      <a:pt x="210" y="43"/>
                      <a:pt x="202" y="37"/>
                      <a:pt x="187" y="35"/>
                    </a:cubicBezTo>
                    <a:cubicBezTo>
                      <a:pt x="168" y="29"/>
                      <a:pt x="160" y="27"/>
                      <a:pt x="137" y="26"/>
                    </a:cubicBezTo>
                    <a:cubicBezTo>
                      <a:pt x="128" y="24"/>
                      <a:pt x="125" y="15"/>
                      <a:pt x="115" y="13"/>
                    </a:cubicBezTo>
                    <a:cubicBezTo>
                      <a:pt x="103" y="5"/>
                      <a:pt x="107" y="3"/>
                      <a:pt x="90" y="2"/>
                    </a:cubicBezTo>
                    <a:cubicBezTo>
                      <a:pt x="84" y="0"/>
                      <a:pt x="84" y="4"/>
                      <a:pt x="79" y="7"/>
                    </a:cubicBezTo>
                    <a:cubicBezTo>
                      <a:pt x="77" y="12"/>
                      <a:pt x="71" y="17"/>
                      <a:pt x="66" y="18"/>
                    </a:cubicBezTo>
                    <a:cubicBezTo>
                      <a:pt x="62" y="21"/>
                      <a:pt x="59" y="24"/>
                      <a:pt x="54" y="26"/>
                    </a:cubicBezTo>
                    <a:cubicBezTo>
                      <a:pt x="49" y="25"/>
                      <a:pt x="45" y="25"/>
                      <a:pt x="40" y="23"/>
                    </a:cubicBezTo>
                    <a:cubicBezTo>
                      <a:pt x="38" y="18"/>
                      <a:pt x="33" y="18"/>
                      <a:pt x="28" y="17"/>
                    </a:cubicBezTo>
                    <a:cubicBezTo>
                      <a:pt x="24" y="18"/>
                      <a:pt x="15" y="20"/>
                      <a:pt x="15" y="20"/>
                    </a:cubicBezTo>
                    <a:cubicBezTo>
                      <a:pt x="6" y="33"/>
                      <a:pt x="14" y="53"/>
                      <a:pt x="16" y="68"/>
                    </a:cubicBezTo>
                    <a:cubicBezTo>
                      <a:pt x="15" y="91"/>
                      <a:pt x="15" y="87"/>
                      <a:pt x="12" y="102"/>
                    </a:cubicBezTo>
                    <a:cubicBezTo>
                      <a:pt x="12" y="109"/>
                      <a:pt x="7" y="121"/>
                      <a:pt x="16" y="119"/>
                    </a:cubicBezTo>
                    <a:cubicBezTo>
                      <a:pt x="23" y="120"/>
                      <a:pt x="24" y="116"/>
                      <a:pt x="29" y="115"/>
                    </a:cubicBezTo>
                    <a:cubicBezTo>
                      <a:pt x="42" y="116"/>
                      <a:pt x="45" y="111"/>
                      <a:pt x="49" y="122"/>
                    </a:cubicBezTo>
                    <a:cubicBezTo>
                      <a:pt x="48" y="127"/>
                      <a:pt x="47" y="130"/>
                      <a:pt x="43" y="133"/>
                    </a:cubicBezTo>
                    <a:cubicBezTo>
                      <a:pt x="55" y="141"/>
                      <a:pt x="67" y="139"/>
                      <a:pt x="81" y="141"/>
                    </a:cubicBezTo>
                    <a:cubicBezTo>
                      <a:pt x="97" y="140"/>
                      <a:pt x="117" y="135"/>
                      <a:pt x="129" y="147"/>
                    </a:cubicBezTo>
                    <a:cubicBezTo>
                      <a:pt x="133" y="158"/>
                      <a:pt x="130" y="164"/>
                      <a:pt x="141" y="170"/>
                    </a:cubicBezTo>
                    <a:cubicBezTo>
                      <a:pt x="142" y="175"/>
                      <a:pt x="142" y="178"/>
                      <a:pt x="138" y="182"/>
                    </a:cubicBezTo>
                    <a:cubicBezTo>
                      <a:pt x="133" y="196"/>
                      <a:pt x="121" y="196"/>
                      <a:pt x="109" y="199"/>
                    </a:cubicBezTo>
                    <a:cubicBezTo>
                      <a:pt x="105" y="204"/>
                      <a:pt x="102" y="207"/>
                      <a:pt x="99" y="212"/>
                    </a:cubicBezTo>
                    <a:cubicBezTo>
                      <a:pt x="98" y="217"/>
                      <a:pt x="95" y="227"/>
                      <a:pt x="95" y="227"/>
                    </a:cubicBezTo>
                    <a:cubicBezTo>
                      <a:pt x="94" y="237"/>
                      <a:pt x="95" y="239"/>
                      <a:pt x="91" y="247"/>
                    </a:cubicBezTo>
                    <a:cubicBezTo>
                      <a:pt x="90" y="255"/>
                      <a:pt x="91" y="263"/>
                      <a:pt x="82" y="266"/>
                    </a:cubicBezTo>
                    <a:cubicBezTo>
                      <a:pt x="78" y="270"/>
                      <a:pt x="80" y="270"/>
                      <a:pt x="82" y="275"/>
                    </a:cubicBezTo>
                    <a:cubicBezTo>
                      <a:pt x="81" y="282"/>
                      <a:pt x="78" y="291"/>
                      <a:pt x="73" y="296"/>
                    </a:cubicBezTo>
                    <a:cubicBezTo>
                      <a:pt x="72" y="300"/>
                      <a:pt x="63" y="303"/>
                      <a:pt x="63" y="303"/>
                    </a:cubicBezTo>
                    <a:cubicBezTo>
                      <a:pt x="59" y="302"/>
                      <a:pt x="55" y="301"/>
                      <a:pt x="51" y="300"/>
                    </a:cubicBezTo>
                    <a:cubicBezTo>
                      <a:pt x="40" y="301"/>
                      <a:pt x="41" y="301"/>
                      <a:pt x="45" y="309"/>
                    </a:cubicBezTo>
                    <a:cubicBezTo>
                      <a:pt x="45" y="316"/>
                      <a:pt x="54" y="336"/>
                      <a:pt x="54" y="345"/>
                    </a:cubicBezTo>
                    <a:cubicBezTo>
                      <a:pt x="65" y="351"/>
                      <a:pt x="54" y="358"/>
                      <a:pt x="48" y="362"/>
                    </a:cubicBezTo>
                    <a:cubicBezTo>
                      <a:pt x="44" y="369"/>
                      <a:pt x="40" y="375"/>
                      <a:pt x="37" y="383"/>
                    </a:cubicBezTo>
                    <a:cubicBezTo>
                      <a:pt x="36" y="386"/>
                      <a:pt x="35" y="389"/>
                      <a:pt x="34" y="392"/>
                    </a:cubicBezTo>
                    <a:cubicBezTo>
                      <a:pt x="34" y="393"/>
                      <a:pt x="33" y="395"/>
                      <a:pt x="33" y="395"/>
                    </a:cubicBezTo>
                    <a:cubicBezTo>
                      <a:pt x="35" y="401"/>
                      <a:pt x="35" y="405"/>
                      <a:pt x="40" y="409"/>
                    </a:cubicBezTo>
                    <a:cubicBezTo>
                      <a:pt x="43" y="415"/>
                      <a:pt x="48" y="416"/>
                      <a:pt x="39" y="422"/>
                    </a:cubicBezTo>
                    <a:cubicBezTo>
                      <a:pt x="35" y="427"/>
                      <a:pt x="29" y="427"/>
                      <a:pt x="23" y="428"/>
                    </a:cubicBezTo>
                    <a:cubicBezTo>
                      <a:pt x="21" y="435"/>
                      <a:pt x="24" y="427"/>
                      <a:pt x="13" y="434"/>
                    </a:cubicBezTo>
                    <a:cubicBezTo>
                      <a:pt x="12" y="435"/>
                      <a:pt x="1" y="458"/>
                      <a:pt x="0" y="461"/>
                    </a:cubicBezTo>
                    <a:cubicBezTo>
                      <a:pt x="1" y="470"/>
                      <a:pt x="2" y="466"/>
                      <a:pt x="4" y="483"/>
                    </a:cubicBezTo>
                    <a:cubicBezTo>
                      <a:pt x="21" y="477"/>
                      <a:pt x="25" y="483"/>
                      <a:pt x="34" y="492"/>
                    </a:cubicBezTo>
                    <a:cubicBezTo>
                      <a:pt x="37" y="500"/>
                      <a:pt x="39" y="510"/>
                      <a:pt x="46" y="515"/>
                    </a:cubicBezTo>
                    <a:cubicBezTo>
                      <a:pt x="51" y="522"/>
                      <a:pt x="52" y="530"/>
                      <a:pt x="57" y="537"/>
                    </a:cubicBezTo>
                    <a:cubicBezTo>
                      <a:pt x="59" y="550"/>
                      <a:pt x="58" y="545"/>
                      <a:pt x="60" y="552"/>
                    </a:cubicBezTo>
                    <a:cubicBezTo>
                      <a:pt x="62" y="565"/>
                      <a:pt x="68" y="579"/>
                      <a:pt x="75" y="590"/>
                    </a:cubicBezTo>
                    <a:cubicBezTo>
                      <a:pt x="87" y="587"/>
                      <a:pt x="97" y="579"/>
                      <a:pt x="111" y="577"/>
                    </a:cubicBezTo>
                    <a:cubicBezTo>
                      <a:pt x="116" y="575"/>
                      <a:pt x="120" y="573"/>
                      <a:pt x="124" y="572"/>
                    </a:cubicBezTo>
                    <a:cubicBezTo>
                      <a:pt x="133" y="563"/>
                      <a:pt x="142" y="565"/>
                      <a:pt x="155" y="564"/>
                    </a:cubicBezTo>
                    <a:cubicBezTo>
                      <a:pt x="166" y="561"/>
                      <a:pt x="175" y="555"/>
                      <a:pt x="186" y="554"/>
                    </a:cubicBezTo>
                    <a:cubicBezTo>
                      <a:pt x="198" y="555"/>
                      <a:pt x="204" y="560"/>
                      <a:pt x="216" y="561"/>
                    </a:cubicBezTo>
                    <a:cubicBezTo>
                      <a:pt x="236" y="569"/>
                      <a:pt x="260" y="566"/>
                      <a:pt x="281" y="567"/>
                    </a:cubicBezTo>
                    <a:cubicBezTo>
                      <a:pt x="302" y="566"/>
                      <a:pt x="289" y="572"/>
                      <a:pt x="309" y="569"/>
                    </a:cubicBezTo>
                    <a:cubicBezTo>
                      <a:pt x="312" y="567"/>
                      <a:pt x="336" y="537"/>
                      <a:pt x="336" y="537"/>
                    </a:cubicBezTo>
                    <a:cubicBezTo>
                      <a:pt x="340" y="526"/>
                      <a:pt x="358" y="529"/>
                      <a:pt x="370" y="527"/>
                    </a:cubicBezTo>
                    <a:cubicBezTo>
                      <a:pt x="394" y="528"/>
                      <a:pt x="396" y="531"/>
                      <a:pt x="402" y="518"/>
                    </a:cubicBezTo>
                    <a:cubicBezTo>
                      <a:pt x="400" y="507"/>
                      <a:pt x="404" y="486"/>
                      <a:pt x="414" y="483"/>
                    </a:cubicBezTo>
                    <a:cubicBezTo>
                      <a:pt x="421" y="474"/>
                      <a:pt x="431" y="462"/>
                      <a:pt x="438" y="455"/>
                    </a:cubicBezTo>
                    <a:cubicBezTo>
                      <a:pt x="440" y="449"/>
                      <a:pt x="455" y="453"/>
                      <a:pt x="459" y="447"/>
                    </a:cubicBezTo>
                    <a:cubicBezTo>
                      <a:pt x="458" y="439"/>
                      <a:pt x="459" y="428"/>
                      <a:pt x="450" y="425"/>
                    </a:cubicBezTo>
                    <a:cubicBezTo>
                      <a:pt x="448" y="421"/>
                      <a:pt x="443" y="418"/>
                      <a:pt x="439" y="415"/>
                    </a:cubicBezTo>
                    <a:cubicBezTo>
                      <a:pt x="437" y="412"/>
                      <a:pt x="435" y="405"/>
                      <a:pt x="435" y="405"/>
                    </a:cubicBezTo>
                    <a:cubicBezTo>
                      <a:pt x="438" y="394"/>
                      <a:pt x="439" y="390"/>
                      <a:pt x="445" y="381"/>
                    </a:cubicBezTo>
                    <a:cubicBezTo>
                      <a:pt x="448" y="377"/>
                      <a:pt x="456" y="371"/>
                      <a:pt x="456" y="371"/>
                    </a:cubicBezTo>
                    <a:cubicBezTo>
                      <a:pt x="458" y="365"/>
                      <a:pt x="466" y="355"/>
                      <a:pt x="471" y="350"/>
                    </a:cubicBezTo>
                    <a:cubicBezTo>
                      <a:pt x="474" y="347"/>
                      <a:pt x="480" y="341"/>
                      <a:pt x="480" y="341"/>
                    </a:cubicBezTo>
                    <a:cubicBezTo>
                      <a:pt x="481" y="337"/>
                      <a:pt x="486" y="333"/>
                      <a:pt x="489" y="330"/>
                    </a:cubicBezTo>
                    <a:cubicBezTo>
                      <a:pt x="491" y="325"/>
                      <a:pt x="492" y="317"/>
                      <a:pt x="497" y="315"/>
                    </a:cubicBezTo>
                    <a:cubicBezTo>
                      <a:pt x="499" y="310"/>
                      <a:pt x="505" y="306"/>
                      <a:pt x="509" y="303"/>
                    </a:cubicBezTo>
                    <a:cubicBezTo>
                      <a:pt x="511" y="300"/>
                      <a:pt x="519" y="300"/>
                      <a:pt x="522" y="297"/>
                    </a:cubicBezTo>
                    <a:cubicBezTo>
                      <a:pt x="524" y="295"/>
                      <a:pt x="528" y="293"/>
                      <a:pt x="528" y="293"/>
                    </a:cubicBezTo>
                    <a:cubicBezTo>
                      <a:pt x="530" y="286"/>
                      <a:pt x="542" y="282"/>
                      <a:pt x="549" y="281"/>
                    </a:cubicBezTo>
                    <a:cubicBezTo>
                      <a:pt x="560" y="276"/>
                      <a:pt x="574" y="277"/>
                      <a:pt x="586" y="275"/>
                    </a:cubicBezTo>
                    <a:cubicBezTo>
                      <a:pt x="592" y="271"/>
                      <a:pt x="600" y="270"/>
                      <a:pt x="607" y="267"/>
                    </a:cubicBezTo>
                    <a:cubicBezTo>
                      <a:pt x="610" y="266"/>
                      <a:pt x="616" y="264"/>
                      <a:pt x="616" y="264"/>
                    </a:cubicBezTo>
                    <a:cubicBezTo>
                      <a:pt x="621" y="259"/>
                      <a:pt x="633" y="254"/>
                      <a:pt x="640" y="251"/>
                    </a:cubicBezTo>
                    <a:cubicBezTo>
                      <a:pt x="643" y="247"/>
                      <a:pt x="650" y="243"/>
                      <a:pt x="654" y="240"/>
                    </a:cubicBezTo>
                    <a:cubicBezTo>
                      <a:pt x="665" y="218"/>
                      <a:pt x="665" y="199"/>
                      <a:pt x="659" y="191"/>
                    </a:cubicBezTo>
                    <a:lnTo>
                      <a:pt x="616" y="194"/>
                    </a:lnTo>
                    <a:lnTo>
                      <a:pt x="598" y="193"/>
                    </a:lnTo>
                    <a:lnTo>
                      <a:pt x="593" y="179"/>
                    </a:lnTo>
                    <a:lnTo>
                      <a:pt x="569" y="170"/>
                    </a:lnTo>
                    <a:lnTo>
                      <a:pt x="539" y="153"/>
                    </a:lnTo>
                    <a:lnTo>
                      <a:pt x="531" y="162"/>
                    </a:lnTo>
                    <a:lnTo>
                      <a:pt x="519" y="164"/>
                    </a:lnTo>
                    <a:lnTo>
                      <a:pt x="504" y="159"/>
                    </a:lnTo>
                    <a:lnTo>
                      <a:pt x="486" y="156"/>
                    </a:lnTo>
                    <a:lnTo>
                      <a:pt x="467" y="143"/>
                    </a:lnTo>
                    <a:lnTo>
                      <a:pt x="455" y="131"/>
                    </a:lnTo>
                    <a:lnTo>
                      <a:pt x="437" y="131"/>
                    </a:lnTo>
                    <a:lnTo>
                      <a:pt x="419" y="110"/>
                    </a:lnTo>
                    <a:lnTo>
                      <a:pt x="418" y="89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</p:grpSp>
        <p:grpSp>
          <p:nvGrpSpPr>
            <p:cNvPr id="266" name="Group 58"/>
            <p:cNvGrpSpPr>
              <a:grpSpLocks/>
            </p:cNvGrpSpPr>
            <p:nvPr/>
          </p:nvGrpSpPr>
          <p:grpSpPr bwMode="auto">
            <a:xfrm>
              <a:off x="2355" y="2602"/>
              <a:ext cx="422" cy="564"/>
              <a:chOff x="2491" y="2445"/>
              <a:chExt cx="418" cy="558"/>
            </a:xfrm>
            <a:grpFill/>
          </p:grpSpPr>
          <p:grpSp>
            <p:nvGrpSpPr>
              <p:cNvPr id="331" name="Group 59"/>
              <p:cNvGrpSpPr>
                <a:grpSpLocks noChangeAspect="1"/>
              </p:cNvGrpSpPr>
              <p:nvPr/>
            </p:nvGrpSpPr>
            <p:grpSpPr bwMode="auto">
              <a:xfrm>
                <a:off x="2491" y="2445"/>
                <a:ext cx="418" cy="558"/>
                <a:chOff x="2492" y="2445"/>
                <a:chExt cx="418" cy="558"/>
              </a:xfrm>
              <a:grpFill/>
            </p:grpSpPr>
            <p:sp>
              <p:nvSpPr>
                <p:cNvPr id="333" name="Freeform 60"/>
                <p:cNvSpPr>
                  <a:spLocks noChangeAspect="1"/>
                </p:cNvSpPr>
                <p:nvPr/>
              </p:nvSpPr>
              <p:spPr bwMode="auto">
                <a:xfrm>
                  <a:off x="2606" y="2445"/>
                  <a:ext cx="12" cy="31"/>
                </a:xfrm>
                <a:custGeom>
                  <a:avLst/>
                  <a:gdLst>
                    <a:gd name="T0" fmla="*/ 6 w 12"/>
                    <a:gd name="T1" fmla="*/ 0 h 31"/>
                    <a:gd name="T2" fmla="*/ 0 w 12"/>
                    <a:gd name="T3" fmla="*/ 12 h 31"/>
                    <a:gd name="T4" fmla="*/ 3 w 12"/>
                    <a:gd name="T5" fmla="*/ 31 h 31"/>
                    <a:gd name="T6" fmla="*/ 6 w 12"/>
                    <a:gd name="T7" fmla="*/ 0 h 31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2"/>
                    <a:gd name="T13" fmla="*/ 0 h 31"/>
                    <a:gd name="T14" fmla="*/ 12 w 12"/>
                    <a:gd name="T15" fmla="*/ 31 h 31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2" h="31">
                      <a:moveTo>
                        <a:pt x="6" y="0"/>
                      </a:moveTo>
                      <a:cubicBezTo>
                        <a:pt x="5" y="4"/>
                        <a:pt x="0" y="12"/>
                        <a:pt x="0" y="12"/>
                      </a:cubicBezTo>
                      <a:cubicBezTo>
                        <a:pt x="1" y="18"/>
                        <a:pt x="2" y="25"/>
                        <a:pt x="3" y="31"/>
                      </a:cubicBezTo>
                      <a:cubicBezTo>
                        <a:pt x="12" y="22"/>
                        <a:pt x="8" y="11"/>
                        <a:pt x="6" y="0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orpoS" pitchFamily="2" charset="0"/>
                    <a:ea typeface="+mn-ea"/>
                  </a:endParaRPr>
                </a:p>
              </p:txBody>
            </p:sp>
            <p:sp>
              <p:nvSpPr>
                <p:cNvPr id="334" name="Freeform 61"/>
                <p:cNvSpPr>
                  <a:spLocks noChangeAspect="1"/>
                </p:cNvSpPr>
                <p:nvPr/>
              </p:nvSpPr>
              <p:spPr bwMode="auto">
                <a:xfrm>
                  <a:off x="2492" y="2450"/>
                  <a:ext cx="418" cy="553"/>
                </a:xfrm>
                <a:custGeom>
                  <a:avLst/>
                  <a:gdLst>
                    <a:gd name="T0" fmla="*/ 351 w 418"/>
                    <a:gd name="T1" fmla="*/ 427 h 553"/>
                    <a:gd name="T2" fmla="*/ 335 w 418"/>
                    <a:gd name="T3" fmla="*/ 412 h 553"/>
                    <a:gd name="T4" fmla="*/ 320 w 418"/>
                    <a:gd name="T5" fmla="*/ 398 h 553"/>
                    <a:gd name="T6" fmla="*/ 303 w 418"/>
                    <a:gd name="T7" fmla="*/ 379 h 553"/>
                    <a:gd name="T8" fmla="*/ 287 w 418"/>
                    <a:gd name="T9" fmla="*/ 344 h 553"/>
                    <a:gd name="T10" fmla="*/ 313 w 418"/>
                    <a:gd name="T11" fmla="*/ 328 h 553"/>
                    <a:gd name="T12" fmla="*/ 354 w 418"/>
                    <a:gd name="T13" fmla="*/ 306 h 553"/>
                    <a:gd name="T14" fmla="*/ 371 w 418"/>
                    <a:gd name="T15" fmla="*/ 298 h 553"/>
                    <a:gd name="T16" fmla="*/ 398 w 418"/>
                    <a:gd name="T17" fmla="*/ 287 h 553"/>
                    <a:gd name="T18" fmla="*/ 411 w 418"/>
                    <a:gd name="T19" fmla="*/ 263 h 553"/>
                    <a:gd name="T20" fmla="*/ 411 w 418"/>
                    <a:gd name="T21" fmla="*/ 242 h 553"/>
                    <a:gd name="T22" fmla="*/ 393 w 418"/>
                    <a:gd name="T23" fmla="*/ 214 h 553"/>
                    <a:gd name="T24" fmla="*/ 392 w 418"/>
                    <a:gd name="T25" fmla="*/ 172 h 553"/>
                    <a:gd name="T26" fmla="*/ 381 w 418"/>
                    <a:gd name="T27" fmla="*/ 154 h 553"/>
                    <a:gd name="T28" fmla="*/ 371 w 418"/>
                    <a:gd name="T29" fmla="*/ 137 h 553"/>
                    <a:gd name="T30" fmla="*/ 371 w 418"/>
                    <a:gd name="T31" fmla="*/ 86 h 553"/>
                    <a:gd name="T32" fmla="*/ 345 w 418"/>
                    <a:gd name="T33" fmla="*/ 59 h 553"/>
                    <a:gd name="T34" fmla="*/ 326 w 418"/>
                    <a:gd name="T35" fmla="*/ 44 h 553"/>
                    <a:gd name="T36" fmla="*/ 303 w 418"/>
                    <a:gd name="T37" fmla="*/ 38 h 553"/>
                    <a:gd name="T38" fmla="*/ 254 w 418"/>
                    <a:gd name="T39" fmla="*/ 61 h 553"/>
                    <a:gd name="T40" fmla="*/ 233 w 418"/>
                    <a:gd name="T41" fmla="*/ 44 h 553"/>
                    <a:gd name="T42" fmla="*/ 195 w 418"/>
                    <a:gd name="T43" fmla="*/ 37 h 553"/>
                    <a:gd name="T44" fmla="*/ 162 w 418"/>
                    <a:gd name="T45" fmla="*/ 6 h 553"/>
                    <a:gd name="T46" fmla="*/ 129 w 418"/>
                    <a:gd name="T47" fmla="*/ 1 h 553"/>
                    <a:gd name="T48" fmla="*/ 138 w 418"/>
                    <a:gd name="T49" fmla="*/ 18 h 553"/>
                    <a:gd name="T50" fmla="*/ 141 w 418"/>
                    <a:gd name="T51" fmla="*/ 46 h 553"/>
                    <a:gd name="T52" fmla="*/ 131 w 418"/>
                    <a:gd name="T53" fmla="*/ 79 h 553"/>
                    <a:gd name="T54" fmla="*/ 117 w 418"/>
                    <a:gd name="T55" fmla="*/ 103 h 553"/>
                    <a:gd name="T56" fmla="*/ 92 w 418"/>
                    <a:gd name="T57" fmla="*/ 86 h 553"/>
                    <a:gd name="T58" fmla="*/ 63 w 418"/>
                    <a:gd name="T59" fmla="*/ 113 h 553"/>
                    <a:gd name="T60" fmla="*/ 63 w 418"/>
                    <a:gd name="T61" fmla="*/ 145 h 553"/>
                    <a:gd name="T62" fmla="*/ 51 w 418"/>
                    <a:gd name="T63" fmla="*/ 167 h 553"/>
                    <a:gd name="T64" fmla="*/ 39 w 418"/>
                    <a:gd name="T65" fmla="*/ 164 h 553"/>
                    <a:gd name="T66" fmla="*/ 57 w 418"/>
                    <a:gd name="T67" fmla="*/ 185 h 553"/>
                    <a:gd name="T68" fmla="*/ 44 w 418"/>
                    <a:gd name="T69" fmla="*/ 200 h 553"/>
                    <a:gd name="T70" fmla="*/ 9 w 418"/>
                    <a:gd name="T71" fmla="*/ 220 h 553"/>
                    <a:gd name="T72" fmla="*/ 13 w 418"/>
                    <a:gd name="T73" fmla="*/ 242 h 553"/>
                    <a:gd name="T74" fmla="*/ 0 w 418"/>
                    <a:gd name="T75" fmla="*/ 280 h 553"/>
                    <a:gd name="T76" fmla="*/ 3 w 418"/>
                    <a:gd name="T77" fmla="*/ 295 h 553"/>
                    <a:gd name="T78" fmla="*/ 18 w 418"/>
                    <a:gd name="T79" fmla="*/ 328 h 553"/>
                    <a:gd name="T80" fmla="*/ 7 w 418"/>
                    <a:gd name="T81" fmla="*/ 350 h 553"/>
                    <a:gd name="T82" fmla="*/ 18 w 418"/>
                    <a:gd name="T83" fmla="*/ 392 h 553"/>
                    <a:gd name="T84" fmla="*/ 65 w 418"/>
                    <a:gd name="T85" fmla="*/ 415 h 553"/>
                    <a:gd name="T86" fmla="*/ 102 w 418"/>
                    <a:gd name="T87" fmla="*/ 434 h 553"/>
                    <a:gd name="T88" fmla="*/ 81 w 418"/>
                    <a:gd name="T89" fmla="*/ 455 h 553"/>
                    <a:gd name="T90" fmla="*/ 66 w 418"/>
                    <a:gd name="T91" fmla="*/ 509 h 553"/>
                    <a:gd name="T92" fmla="*/ 111 w 418"/>
                    <a:gd name="T93" fmla="*/ 532 h 553"/>
                    <a:gd name="T94" fmla="*/ 111 w 418"/>
                    <a:gd name="T95" fmla="*/ 514 h 553"/>
                    <a:gd name="T96" fmla="*/ 134 w 418"/>
                    <a:gd name="T97" fmla="*/ 528 h 553"/>
                    <a:gd name="T98" fmla="*/ 157 w 418"/>
                    <a:gd name="T99" fmla="*/ 526 h 553"/>
                    <a:gd name="T100" fmla="*/ 188 w 418"/>
                    <a:gd name="T101" fmla="*/ 541 h 553"/>
                    <a:gd name="T102" fmla="*/ 204 w 418"/>
                    <a:gd name="T103" fmla="*/ 553 h 553"/>
                    <a:gd name="T104" fmla="*/ 231 w 418"/>
                    <a:gd name="T105" fmla="*/ 542 h 553"/>
                    <a:gd name="T106" fmla="*/ 258 w 418"/>
                    <a:gd name="T107" fmla="*/ 540 h 553"/>
                    <a:gd name="T108" fmla="*/ 299 w 418"/>
                    <a:gd name="T109" fmla="*/ 523 h 553"/>
                    <a:gd name="T110" fmla="*/ 324 w 418"/>
                    <a:gd name="T111" fmla="*/ 527 h 553"/>
                    <a:gd name="T112" fmla="*/ 333 w 418"/>
                    <a:gd name="T113" fmla="*/ 522 h 553"/>
                    <a:gd name="T114" fmla="*/ 320 w 418"/>
                    <a:gd name="T115" fmla="*/ 490 h 553"/>
                    <a:gd name="T116" fmla="*/ 348 w 418"/>
                    <a:gd name="T117" fmla="*/ 473 h 553"/>
                    <a:gd name="T118" fmla="*/ 369 w 418"/>
                    <a:gd name="T119" fmla="*/ 444 h 553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w 418"/>
                    <a:gd name="T181" fmla="*/ 0 h 553"/>
                    <a:gd name="T182" fmla="*/ 418 w 418"/>
                    <a:gd name="T183" fmla="*/ 553 h 553"/>
                  </a:gdLst>
                  <a:ahLst/>
                  <a:cxnLst>
                    <a:cxn ang="T120">
                      <a:pos x="T0" y="T1"/>
                    </a:cxn>
                    <a:cxn ang="T121">
                      <a:pos x="T2" y="T3"/>
                    </a:cxn>
                    <a:cxn ang="T122">
                      <a:pos x="T4" y="T5"/>
                    </a:cxn>
                    <a:cxn ang="T123">
                      <a:pos x="T6" y="T7"/>
                    </a:cxn>
                    <a:cxn ang="T124">
                      <a:pos x="T8" y="T9"/>
                    </a:cxn>
                    <a:cxn ang="T125">
                      <a:pos x="T10" y="T11"/>
                    </a:cxn>
                    <a:cxn ang="T126">
                      <a:pos x="T12" y="T13"/>
                    </a:cxn>
                    <a:cxn ang="T127">
                      <a:pos x="T14" y="T15"/>
                    </a:cxn>
                    <a:cxn ang="T128">
                      <a:pos x="T16" y="T17"/>
                    </a:cxn>
                    <a:cxn ang="T129">
                      <a:pos x="T18" y="T19"/>
                    </a:cxn>
                    <a:cxn ang="T130">
                      <a:pos x="T20" y="T21"/>
                    </a:cxn>
                    <a:cxn ang="T131">
                      <a:pos x="T22" y="T23"/>
                    </a:cxn>
                    <a:cxn ang="T132">
                      <a:pos x="T24" y="T25"/>
                    </a:cxn>
                    <a:cxn ang="T133">
                      <a:pos x="T26" y="T27"/>
                    </a:cxn>
                    <a:cxn ang="T134">
                      <a:pos x="T28" y="T29"/>
                    </a:cxn>
                    <a:cxn ang="T135">
                      <a:pos x="T30" y="T31"/>
                    </a:cxn>
                    <a:cxn ang="T136">
                      <a:pos x="T32" y="T33"/>
                    </a:cxn>
                    <a:cxn ang="T137">
                      <a:pos x="T34" y="T35"/>
                    </a:cxn>
                    <a:cxn ang="T138">
                      <a:pos x="T36" y="T37"/>
                    </a:cxn>
                    <a:cxn ang="T139">
                      <a:pos x="T38" y="T39"/>
                    </a:cxn>
                    <a:cxn ang="T140">
                      <a:pos x="T40" y="T41"/>
                    </a:cxn>
                    <a:cxn ang="T141">
                      <a:pos x="T42" y="T43"/>
                    </a:cxn>
                    <a:cxn ang="T142">
                      <a:pos x="T44" y="T45"/>
                    </a:cxn>
                    <a:cxn ang="T143">
                      <a:pos x="T46" y="T47"/>
                    </a:cxn>
                    <a:cxn ang="T144">
                      <a:pos x="T48" y="T49"/>
                    </a:cxn>
                    <a:cxn ang="T145">
                      <a:pos x="T50" y="T51"/>
                    </a:cxn>
                    <a:cxn ang="T146">
                      <a:pos x="T52" y="T53"/>
                    </a:cxn>
                    <a:cxn ang="T147">
                      <a:pos x="T54" y="T55"/>
                    </a:cxn>
                    <a:cxn ang="T148">
                      <a:pos x="T56" y="T57"/>
                    </a:cxn>
                    <a:cxn ang="T149">
                      <a:pos x="T58" y="T59"/>
                    </a:cxn>
                    <a:cxn ang="T150">
                      <a:pos x="T60" y="T61"/>
                    </a:cxn>
                    <a:cxn ang="T151">
                      <a:pos x="T62" y="T63"/>
                    </a:cxn>
                    <a:cxn ang="T152">
                      <a:pos x="T64" y="T65"/>
                    </a:cxn>
                    <a:cxn ang="T153">
                      <a:pos x="T66" y="T67"/>
                    </a:cxn>
                    <a:cxn ang="T154">
                      <a:pos x="T68" y="T69"/>
                    </a:cxn>
                    <a:cxn ang="T155">
                      <a:pos x="T70" y="T71"/>
                    </a:cxn>
                    <a:cxn ang="T156">
                      <a:pos x="T72" y="T73"/>
                    </a:cxn>
                    <a:cxn ang="T157">
                      <a:pos x="T74" y="T75"/>
                    </a:cxn>
                    <a:cxn ang="T158">
                      <a:pos x="T76" y="T77"/>
                    </a:cxn>
                    <a:cxn ang="T159">
                      <a:pos x="T78" y="T79"/>
                    </a:cxn>
                    <a:cxn ang="T160">
                      <a:pos x="T80" y="T81"/>
                    </a:cxn>
                    <a:cxn ang="T161">
                      <a:pos x="T82" y="T83"/>
                    </a:cxn>
                    <a:cxn ang="T162">
                      <a:pos x="T84" y="T85"/>
                    </a:cxn>
                    <a:cxn ang="T163">
                      <a:pos x="T86" y="T87"/>
                    </a:cxn>
                    <a:cxn ang="T164">
                      <a:pos x="T88" y="T89"/>
                    </a:cxn>
                    <a:cxn ang="T165">
                      <a:pos x="T90" y="T91"/>
                    </a:cxn>
                    <a:cxn ang="T166">
                      <a:pos x="T92" y="T93"/>
                    </a:cxn>
                    <a:cxn ang="T167">
                      <a:pos x="T94" y="T95"/>
                    </a:cxn>
                    <a:cxn ang="T168">
                      <a:pos x="T96" y="T97"/>
                    </a:cxn>
                    <a:cxn ang="T169">
                      <a:pos x="T98" y="T99"/>
                    </a:cxn>
                    <a:cxn ang="T170">
                      <a:pos x="T100" y="T101"/>
                    </a:cxn>
                    <a:cxn ang="T171">
                      <a:pos x="T102" y="T103"/>
                    </a:cxn>
                    <a:cxn ang="T172">
                      <a:pos x="T104" y="T105"/>
                    </a:cxn>
                    <a:cxn ang="T173">
                      <a:pos x="T106" y="T107"/>
                    </a:cxn>
                    <a:cxn ang="T174">
                      <a:pos x="T108" y="T109"/>
                    </a:cxn>
                    <a:cxn ang="T175">
                      <a:pos x="T110" y="T111"/>
                    </a:cxn>
                    <a:cxn ang="T176">
                      <a:pos x="T112" y="T113"/>
                    </a:cxn>
                    <a:cxn ang="T177">
                      <a:pos x="T114" y="T115"/>
                    </a:cxn>
                    <a:cxn ang="T178">
                      <a:pos x="T116" y="T117"/>
                    </a:cxn>
                    <a:cxn ang="T179">
                      <a:pos x="T118" y="T119"/>
                    </a:cxn>
                  </a:cxnLst>
                  <a:rect l="T180" t="T181" r="T182" b="T183"/>
                  <a:pathLst>
                    <a:path w="418" h="553">
                      <a:moveTo>
                        <a:pt x="369" y="444"/>
                      </a:moveTo>
                      <a:cubicBezTo>
                        <a:pt x="366" y="430"/>
                        <a:pt x="362" y="428"/>
                        <a:pt x="351" y="427"/>
                      </a:cubicBezTo>
                      <a:cubicBezTo>
                        <a:pt x="349" y="423"/>
                        <a:pt x="345" y="421"/>
                        <a:pt x="342" y="418"/>
                      </a:cubicBezTo>
                      <a:cubicBezTo>
                        <a:pt x="340" y="413"/>
                        <a:pt x="339" y="414"/>
                        <a:pt x="335" y="412"/>
                      </a:cubicBezTo>
                      <a:cubicBezTo>
                        <a:pt x="332" y="410"/>
                        <a:pt x="326" y="406"/>
                        <a:pt x="326" y="406"/>
                      </a:cubicBezTo>
                      <a:cubicBezTo>
                        <a:pt x="325" y="403"/>
                        <a:pt x="322" y="400"/>
                        <a:pt x="320" y="398"/>
                      </a:cubicBezTo>
                      <a:cubicBezTo>
                        <a:pt x="318" y="396"/>
                        <a:pt x="314" y="394"/>
                        <a:pt x="314" y="394"/>
                      </a:cubicBezTo>
                      <a:cubicBezTo>
                        <a:pt x="312" y="389"/>
                        <a:pt x="306" y="385"/>
                        <a:pt x="303" y="379"/>
                      </a:cubicBezTo>
                      <a:cubicBezTo>
                        <a:pt x="301" y="369"/>
                        <a:pt x="305" y="357"/>
                        <a:pt x="294" y="353"/>
                      </a:cubicBezTo>
                      <a:cubicBezTo>
                        <a:pt x="287" y="346"/>
                        <a:pt x="289" y="350"/>
                        <a:pt x="287" y="344"/>
                      </a:cubicBezTo>
                      <a:cubicBezTo>
                        <a:pt x="288" y="335"/>
                        <a:pt x="295" y="335"/>
                        <a:pt x="303" y="330"/>
                      </a:cubicBezTo>
                      <a:cubicBezTo>
                        <a:pt x="306" y="328"/>
                        <a:pt x="313" y="328"/>
                        <a:pt x="313" y="328"/>
                      </a:cubicBezTo>
                      <a:cubicBezTo>
                        <a:pt x="314" y="326"/>
                        <a:pt x="339" y="311"/>
                        <a:pt x="343" y="310"/>
                      </a:cubicBezTo>
                      <a:cubicBezTo>
                        <a:pt x="344" y="310"/>
                        <a:pt x="353" y="306"/>
                        <a:pt x="354" y="306"/>
                      </a:cubicBezTo>
                      <a:cubicBezTo>
                        <a:pt x="356" y="305"/>
                        <a:pt x="360" y="304"/>
                        <a:pt x="360" y="304"/>
                      </a:cubicBezTo>
                      <a:cubicBezTo>
                        <a:pt x="361" y="300"/>
                        <a:pt x="371" y="298"/>
                        <a:pt x="371" y="298"/>
                      </a:cubicBezTo>
                      <a:cubicBezTo>
                        <a:pt x="375" y="294"/>
                        <a:pt x="381" y="284"/>
                        <a:pt x="384" y="283"/>
                      </a:cubicBezTo>
                      <a:cubicBezTo>
                        <a:pt x="390" y="284"/>
                        <a:pt x="393" y="285"/>
                        <a:pt x="398" y="287"/>
                      </a:cubicBezTo>
                      <a:cubicBezTo>
                        <a:pt x="407" y="286"/>
                        <a:pt x="409" y="286"/>
                        <a:pt x="416" y="282"/>
                      </a:cubicBezTo>
                      <a:cubicBezTo>
                        <a:pt x="418" y="275"/>
                        <a:pt x="417" y="267"/>
                        <a:pt x="411" y="263"/>
                      </a:cubicBezTo>
                      <a:cubicBezTo>
                        <a:pt x="410" y="258"/>
                        <a:pt x="408" y="252"/>
                        <a:pt x="414" y="250"/>
                      </a:cubicBezTo>
                      <a:cubicBezTo>
                        <a:pt x="417" y="246"/>
                        <a:pt x="418" y="240"/>
                        <a:pt x="411" y="242"/>
                      </a:cubicBezTo>
                      <a:cubicBezTo>
                        <a:pt x="403" y="241"/>
                        <a:pt x="398" y="243"/>
                        <a:pt x="395" y="236"/>
                      </a:cubicBezTo>
                      <a:cubicBezTo>
                        <a:pt x="392" y="222"/>
                        <a:pt x="395" y="224"/>
                        <a:pt x="393" y="214"/>
                      </a:cubicBezTo>
                      <a:cubicBezTo>
                        <a:pt x="398" y="199"/>
                        <a:pt x="391" y="191"/>
                        <a:pt x="387" y="185"/>
                      </a:cubicBezTo>
                      <a:cubicBezTo>
                        <a:pt x="388" y="180"/>
                        <a:pt x="389" y="176"/>
                        <a:pt x="392" y="172"/>
                      </a:cubicBezTo>
                      <a:cubicBezTo>
                        <a:pt x="393" y="167"/>
                        <a:pt x="394" y="164"/>
                        <a:pt x="389" y="161"/>
                      </a:cubicBezTo>
                      <a:cubicBezTo>
                        <a:pt x="387" y="158"/>
                        <a:pt x="381" y="154"/>
                        <a:pt x="381" y="154"/>
                      </a:cubicBezTo>
                      <a:cubicBezTo>
                        <a:pt x="378" y="150"/>
                        <a:pt x="369" y="146"/>
                        <a:pt x="369" y="146"/>
                      </a:cubicBezTo>
                      <a:cubicBezTo>
                        <a:pt x="366" y="142"/>
                        <a:pt x="366" y="139"/>
                        <a:pt x="371" y="137"/>
                      </a:cubicBezTo>
                      <a:cubicBezTo>
                        <a:pt x="372" y="134"/>
                        <a:pt x="374" y="128"/>
                        <a:pt x="374" y="128"/>
                      </a:cubicBezTo>
                      <a:cubicBezTo>
                        <a:pt x="373" y="114"/>
                        <a:pt x="383" y="94"/>
                        <a:pt x="371" y="86"/>
                      </a:cubicBezTo>
                      <a:cubicBezTo>
                        <a:pt x="368" y="81"/>
                        <a:pt x="362" y="75"/>
                        <a:pt x="357" y="72"/>
                      </a:cubicBezTo>
                      <a:cubicBezTo>
                        <a:pt x="355" y="65"/>
                        <a:pt x="352" y="61"/>
                        <a:pt x="345" y="59"/>
                      </a:cubicBezTo>
                      <a:cubicBezTo>
                        <a:pt x="342" y="55"/>
                        <a:pt x="337" y="53"/>
                        <a:pt x="333" y="52"/>
                      </a:cubicBezTo>
                      <a:cubicBezTo>
                        <a:pt x="328" y="45"/>
                        <a:pt x="331" y="47"/>
                        <a:pt x="326" y="44"/>
                      </a:cubicBezTo>
                      <a:cubicBezTo>
                        <a:pt x="326" y="40"/>
                        <a:pt x="327" y="34"/>
                        <a:pt x="321" y="34"/>
                      </a:cubicBezTo>
                      <a:cubicBezTo>
                        <a:pt x="316" y="34"/>
                        <a:pt x="308" y="36"/>
                        <a:pt x="303" y="38"/>
                      </a:cubicBezTo>
                      <a:cubicBezTo>
                        <a:pt x="291" y="43"/>
                        <a:pt x="286" y="49"/>
                        <a:pt x="273" y="52"/>
                      </a:cubicBezTo>
                      <a:cubicBezTo>
                        <a:pt x="269" y="54"/>
                        <a:pt x="254" y="61"/>
                        <a:pt x="254" y="61"/>
                      </a:cubicBezTo>
                      <a:cubicBezTo>
                        <a:pt x="252" y="65"/>
                        <a:pt x="247" y="67"/>
                        <a:pt x="243" y="68"/>
                      </a:cubicBezTo>
                      <a:cubicBezTo>
                        <a:pt x="232" y="66"/>
                        <a:pt x="238" y="51"/>
                        <a:pt x="233" y="44"/>
                      </a:cubicBezTo>
                      <a:cubicBezTo>
                        <a:pt x="230" y="34"/>
                        <a:pt x="230" y="43"/>
                        <a:pt x="222" y="38"/>
                      </a:cubicBezTo>
                      <a:cubicBezTo>
                        <a:pt x="214" y="44"/>
                        <a:pt x="204" y="39"/>
                        <a:pt x="195" y="37"/>
                      </a:cubicBezTo>
                      <a:cubicBezTo>
                        <a:pt x="190" y="30"/>
                        <a:pt x="190" y="19"/>
                        <a:pt x="183" y="14"/>
                      </a:cubicBezTo>
                      <a:cubicBezTo>
                        <a:pt x="177" y="5"/>
                        <a:pt x="175" y="7"/>
                        <a:pt x="162" y="6"/>
                      </a:cubicBezTo>
                      <a:cubicBezTo>
                        <a:pt x="154" y="4"/>
                        <a:pt x="148" y="1"/>
                        <a:pt x="140" y="0"/>
                      </a:cubicBezTo>
                      <a:cubicBezTo>
                        <a:pt x="136" y="0"/>
                        <a:pt x="132" y="0"/>
                        <a:pt x="129" y="1"/>
                      </a:cubicBezTo>
                      <a:cubicBezTo>
                        <a:pt x="128" y="1"/>
                        <a:pt x="131" y="3"/>
                        <a:pt x="131" y="4"/>
                      </a:cubicBezTo>
                      <a:cubicBezTo>
                        <a:pt x="134" y="10"/>
                        <a:pt x="133" y="15"/>
                        <a:pt x="138" y="18"/>
                      </a:cubicBezTo>
                      <a:cubicBezTo>
                        <a:pt x="140" y="23"/>
                        <a:pt x="143" y="27"/>
                        <a:pt x="146" y="31"/>
                      </a:cubicBezTo>
                      <a:cubicBezTo>
                        <a:pt x="145" y="37"/>
                        <a:pt x="144" y="41"/>
                        <a:pt x="141" y="46"/>
                      </a:cubicBezTo>
                      <a:cubicBezTo>
                        <a:pt x="142" y="51"/>
                        <a:pt x="145" y="62"/>
                        <a:pt x="145" y="62"/>
                      </a:cubicBezTo>
                      <a:cubicBezTo>
                        <a:pt x="147" y="78"/>
                        <a:pt x="144" y="75"/>
                        <a:pt x="131" y="79"/>
                      </a:cubicBezTo>
                      <a:cubicBezTo>
                        <a:pt x="127" y="83"/>
                        <a:pt x="126" y="87"/>
                        <a:pt x="122" y="91"/>
                      </a:cubicBezTo>
                      <a:cubicBezTo>
                        <a:pt x="121" y="96"/>
                        <a:pt x="122" y="100"/>
                        <a:pt x="117" y="103"/>
                      </a:cubicBezTo>
                      <a:cubicBezTo>
                        <a:pt x="110" y="101"/>
                        <a:pt x="111" y="99"/>
                        <a:pt x="105" y="95"/>
                      </a:cubicBezTo>
                      <a:cubicBezTo>
                        <a:pt x="103" y="89"/>
                        <a:pt x="97" y="89"/>
                        <a:pt x="92" y="86"/>
                      </a:cubicBezTo>
                      <a:cubicBezTo>
                        <a:pt x="81" y="87"/>
                        <a:pt x="70" y="84"/>
                        <a:pt x="66" y="95"/>
                      </a:cubicBezTo>
                      <a:cubicBezTo>
                        <a:pt x="65" y="101"/>
                        <a:pt x="64" y="107"/>
                        <a:pt x="63" y="113"/>
                      </a:cubicBezTo>
                      <a:cubicBezTo>
                        <a:pt x="63" y="117"/>
                        <a:pt x="65" y="117"/>
                        <a:pt x="65" y="122"/>
                      </a:cubicBezTo>
                      <a:cubicBezTo>
                        <a:pt x="66" y="130"/>
                        <a:pt x="66" y="137"/>
                        <a:pt x="63" y="145"/>
                      </a:cubicBezTo>
                      <a:cubicBezTo>
                        <a:pt x="61" y="149"/>
                        <a:pt x="57" y="157"/>
                        <a:pt x="57" y="157"/>
                      </a:cubicBezTo>
                      <a:cubicBezTo>
                        <a:pt x="56" y="163"/>
                        <a:pt x="57" y="166"/>
                        <a:pt x="51" y="167"/>
                      </a:cubicBezTo>
                      <a:cubicBezTo>
                        <a:pt x="50" y="165"/>
                        <a:pt x="50" y="163"/>
                        <a:pt x="49" y="161"/>
                      </a:cubicBezTo>
                      <a:cubicBezTo>
                        <a:pt x="48" y="158"/>
                        <a:pt x="39" y="164"/>
                        <a:pt x="39" y="164"/>
                      </a:cubicBezTo>
                      <a:cubicBezTo>
                        <a:pt x="42" y="174"/>
                        <a:pt x="43" y="174"/>
                        <a:pt x="53" y="176"/>
                      </a:cubicBezTo>
                      <a:cubicBezTo>
                        <a:pt x="55" y="179"/>
                        <a:pt x="57" y="185"/>
                        <a:pt x="57" y="185"/>
                      </a:cubicBezTo>
                      <a:cubicBezTo>
                        <a:pt x="57" y="188"/>
                        <a:pt x="57" y="191"/>
                        <a:pt x="56" y="194"/>
                      </a:cubicBezTo>
                      <a:cubicBezTo>
                        <a:pt x="54" y="198"/>
                        <a:pt x="44" y="200"/>
                        <a:pt x="44" y="200"/>
                      </a:cubicBezTo>
                      <a:cubicBezTo>
                        <a:pt x="41" y="204"/>
                        <a:pt x="37" y="203"/>
                        <a:pt x="42" y="206"/>
                      </a:cubicBezTo>
                      <a:cubicBezTo>
                        <a:pt x="52" y="221"/>
                        <a:pt x="21" y="219"/>
                        <a:pt x="9" y="220"/>
                      </a:cubicBezTo>
                      <a:cubicBezTo>
                        <a:pt x="7" y="227"/>
                        <a:pt x="5" y="227"/>
                        <a:pt x="11" y="224"/>
                      </a:cubicBezTo>
                      <a:cubicBezTo>
                        <a:pt x="12" y="230"/>
                        <a:pt x="11" y="236"/>
                        <a:pt x="13" y="242"/>
                      </a:cubicBezTo>
                      <a:cubicBezTo>
                        <a:pt x="14" y="244"/>
                        <a:pt x="15" y="248"/>
                        <a:pt x="15" y="248"/>
                      </a:cubicBezTo>
                      <a:cubicBezTo>
                        <a:pt x="13" y="261"/>
                        <a:pt x="11" y="273"/>
                        <a:pt x="0" y="280"/>
                      </a:cubicBezTo>
                      <a:cubicBezTo>
                        <a:pt x="4" y="281"/>
                        <a:pt x="7" y="290"/>
                        <a:pt x="7" y="290"/>
                      </a:cubicBezTo>
                      <a:cubicBezTo>
                        <a:pt x="6" y="292"/>
                        <a:pt x="3" y="293"/>
                        <a:pt x="3" y="295"/>
                      </a:cubicBezTo>
                      <a:cubicBezTo>
                        <a:pt x="2" y="300"/>
                        <a:pt x="13" y="317"/>
                        <a:pt x="17" y="319"/>
                      </a:cubicBezTo>
                      <a:cubicBezTo>
                        <a:pt x="18" y="321"/>
                        <a:pt x="21" y="326"/>
                        <a:pt x="18" y="328"/>
                      </a:cubicBezTo>
                      <a:cubicBezTo>
                        <a:pt x="16" y="330"/>
                        <a:pt x="12" y="332"/>
                        <a:pt x="12" y="332"/>
                      </a:cubicBezTo>
                      <a:cubicBezTo>
                        <a:pt x="10" y="338"/>
                        <a:pt x="9" y="344"/>
                        <a:pt x="7" y="350"/>
                      </a:cubicBezTo>
                      <a:cubicBezTo>
                        <a:pt x="7" y="356"/>
                        <a:pt x="18" y="360"/>
                        <a:pt x="21" y="367"/>
                      </a:cubicBezTo>
                      <a:cubicBezTo>
                        <a:pt x="23" y="374"/>
                        <a:pt x="15" y="385"/>
                        <a:pt x="18" y="392"/>
                      </a:cubicBezTo>
                      <a:cubicBezTo>
                        <a:pt x="20" y="395"/>
                        <a:pt x="34" y="411"/>
                        <a:pt x="38" y="412"/>
                      </a:cubicBezTo>
                      <a:cubicBezTo>
                        <a:pt x="47" y="414"/>
                        <a:pt x="55" y="414"/>
                        <a:pt x="65" y="415"/>
                      </a:cubicBezTo>
                      <a:cubicBezTo>
                        <a:pt x="75" y="417"/>
                        <a:pt x="80" y="426"/>
                        <a:pt x="90" y="428"/>
                      </a:cubicBezTo>
                      <a:cubicBezTo>
                        <a:pt x="94" y="431"/>
                        <a:pt x="98" y="431"/>
                        <a:pt x="102" y="434"/>
                      </a:cubicBezTo>
                      <a:cubicBezTo>
                        <a:pt x="101" y="440"/>
                        <a:pt x="100" y="442"/>
                        <a:pt x="96" y="446"/>
                      </a:cubicBezTo>
                      <a:cubicBezTo>
                        <a:pt x="94" y="451"/>
                        <a:pt x="83" y="450"/>
                        <a:pt x="81" y="455"/>
                      </a:cubicBezTo>
                      <a:cubicBezTo>
                        <a:pt x="78" y="461"/>
                        <a:pt x="86" y="470"/>
                        <a:pt x="80" y="474"/>
                      </a:cubicBezTo>
                      <a:cubicBezTo>
                        <a:pt x="77" y="486"/>
                        <a:pt x="68" y="496"/>
                        <a:pt x="66" y="509"/>
                      </a:cubicBezTo>
                      <a:cubicBezTo>
                        <a:pt x="67" y="542"/>
                        <a:pt x="65" y="531"/>
                        <a:pt x="90" y="533"/>
                      </a:cubicBezTo>
                      <a:cubicBezTo>
                        <a:pt x="97" y="534"/>
                        <a:pt x="104" y="533"/>
                        <a:pt x="111" y="532"/>
                      </a:cubicBezTo>
                      <a:cubicBezTo>
                        <a:pt x="121" y="527"/>
                        <a:pt x="122" y="526"/>
                        <a:pt x="111" y="522"/>
                      </a:cubicBezTo>
                      <a:cubicBezTo>
                        <a:pt x="109" y="518"/>
                        <a:pt x="106" y="516"/>
                        <a:pt x="111" y="514"/>
                      </a:cubicBezTo>
                      <a:cubicBezTo>
                        <a:pt x="116" y="515"/>
                        <a:pt x="125" y="518"/>
                        <a:pt x="125" y="518"/>
                      </a:cubicBezTo>
                      <a:cubicBezTo>
                        <a:pt x="127" y="523"/>
                        <a:pt x="129" y="526"/>
                        <a:pt x="134" y="528"/>
                      </a:cubicBezTo>
                      <a:cubicBezTo>
                        <a:pt x="141" y="526"/>
                        <a:pt x="138" y="527"/>
                        <a:pt x="143" y="524"/>
                      </a:cubicBezTo>
                      <a:cubicBezTo>
                        <a:pt x="147" y="527"/>
                        <a:pt x="152" y="525"/>
                        <a:pt x="157" y="526"/>
                      </a:cubicBezTo>
                      <a:cubicBezTo>
                        <a:pt x="161" y="530"/>
                        <a:pt x="171" y="533"/>
                        <a:pt x="176" y="536"/>
                      </a:cubicBezTo>
                      <a:cubicBezTo>
                        <a:pt x="180" y="538"/>
                        <a:pt x="184" y="540"/>
                        <a:pt x="188" y="541"/>
                      </a:cubicBezTo>
                      <a:cubicBezTo>
                        <a:pt x="189" y="541"/>
                        <a:pt x="191" y="542"/>
                        <a:pt x="191" y="542"/>
                      </a:cubicBezTo>
                      <a:cubicBezTo>
                        <a:pt x="195" y="548"/>
                        <a:pt x="197" y="551"/>
                        <a:pt x="204" y="553"/>
                      </a:cubicBezTo>
                      <a:cubicBezTo>
                        <a:pt x="215" y="551"/>
                        <a:pt x="212" y="549"/>
                        <a:pt x="215" y="539"/>
                      </a:cubicBezTo>
                      <a:cubicBezTo>
                        <a:pt x="226" y="540"/>
                        <a:pt x="224" y="536"/>
                        <a:pt x="231" y="542"/>
                      </a:cubicBezTo>
                      <a:cubicBezTo>
                        <a:pt x="234" y="544"/>
                        <a:pt x="240" y="546"/>
                        <a:pt x="240" y="546"/>
                      </a:cubicBezTo>
                      <a:cubicBezTo>
                        <a:pt x="246" y="545"/>
                        <a:pt x="254" y="545"/>
                        <a:pt x="258" y="540"/>
                      </a:cubicBezTo>
                      <a:cubicBezTo>
                        <a:pt x="259" y="539"/>
                        <a:pt x="266" y="530"/>
                        <a:pt x="267" y="530"/>
                      </a:cubicBezTo>
                      <a:cubicBezTo>
                        <a:pt x="274" y="527"/>
                        <a:pt x="292" y="523"/>
                        <a:pt x="299" y="523"/>
                      </a:cubicBezTo>
                      <a:cubicBezTo>
                        <a:pt x="302" y="524"/>
                        <a:pt x="305" y="526"/>
                        <a:pt x="308" y="527"/>
                      </a:cubicBezTo>
                      <a:cubicBezTo>
                        <a:pt x="316" y="524"/>
                        <a:pt x="312" y="521"/>
                        <a:pt x="324" y="527"/>
                      </a:cubicBezTo>
                      <a:cubicBezTo>
                        <a:pt x="328" y="529"/>
                        <a:pt x="336" y="536"/>
                        <a:pt x="336" y="536"/>
                      </a:cubicBezTo>
                      <a:cubicBezTo>
                        <a:pt x="344" y="533"/>
                        <a:pt x="338" y="524"/>
                        <a:pt x="333" y="522"/>
                      </a:cubicBezTo>
                      <a:cubicBezTo>
                        <a:pt x="331" y="514"/>
                        <a:pt x="335" y="503"/>
                        <a:pt x="327" y="498"/>
                      </a:cubicBezTo>
                      <a:cubicBezTo>
                        <a:pt x="325" y="494"/>
                        <a:pt x="324" y="491"/>
                        <a:pt x="320" y="490"/>
                      </a:cubicBezTo>
                      <a:cubicBezTo>
                        <a:pt x="323" y="488"/>
                        <a:pt x="329" y="486"/>
                        <a:pt x="329" y="486"/>
                      </a:cubicBezTo>
                      <a:cubicBezTo>
                        <a:pt x="334" y="479"/>
                        <a:pt x="341" y="478"/>
                        <a:pt x="348" y="473"/>
                      </a:cubicBezTo>
                      <a:cubicBezTo>
                        <a:pt x="352" y="460"/>
                        <a:pt x="353" y="457"/>
                        <a:pt x="367" y="455"/>
                      </a:cubicBezTo>
                      <a:cubicBezTo>
                        <a:pt x="370" y="450"/>
                        <a:pt x="374" y="447"/>
                        <a:pt x="369" y="444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orpoS" pitchFamily="2" charset="0"/>
                    <a:ea typeface="+mn-ea"/>
                  </a:endParaRPr>
                </a:p>
              </p:txBody>
            </p:sp>
          </p:grpSp>
          <p:sp>
            <p:nvSpPr>
              <p:cNvPr id="332" name="Freeform 62"/>
              <p:cNvSpPr>
                <a:spLocks noChangeAspect="1"/>
              </p:cNvSpPr>
              <p:nvPr/>
            </p:nvSpPr>
            <p:spPr bwMode="auto">
              <a:xfrm>
                <a:off x="2812" y="2466"/>
                <a:ext cx="24" cy="19"/>
              </a:xfrm>
              <a:custGeom>
                <a:avLst/>
                <a:gdLst>
                  <a:gd name="T0" fmla="*/ 4 w 24"/>
                  <a:gd name="T1" fmla="*/ 0 h 19"/>
                  <a:gd name="T2" fmla="*/ 9 w 24"/>
                  <a:gd name="T3" fmla="*/ 12 h 19"/>
                  <a:gd name="T4" fmla="*/ 15 w 24"/>
                  <a:gd name="T5" fmla="*/ 19 h 19"/>
                  <a:gd name="T6" fmla="*/ 18 w 24"/>
                  <a:gd name="T7" fmla="*/ 9 h 19"/>
                  <a:gd name="T8" fmla="*/ 9 w 24"/>
                  <a:gd name="T9" fmla="*/ 4 h 19"/>
                  <a:gd name="T10" fmla="*/ 3 w 24"/>
                  <a:gd name="T11" fmla="*/ 2 h 19"/>
                  <a:gd name="T12" fmla="*/ 4 w 24"/>
                  <a:gd name="T13" fmla="*/ 0 h 1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4"/>
                  <a:gd name="T22" fmla="*/ 0 h 19"/>
                  <a:gd name="T23" fmla="*/ 24 w 24"/>
                  <a:gd name="T24" fmla="*/ 19 h 1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4" h="19">
                    <a:moveTo>
                      <a:pt x="4" y="0"/>
                    </a:moveTo>
                    <a:cubicBezTo>
                      <a:pt x="0" y="6"/>
                      <a:pt x="4" y="9"/>
                      <a:pt x="9" y="12"/>
                    </a:cubicBezTo>
                    <a:cubicBezTo>
                      <a:pt x="11" y="16"/>
                      <a:pt x="14" y="15"/>
                      <a:pt x="15" y="19"/>
                    </a:cubicBezTo>
                    <a:cubicBezTo>
                      <a:pt x="21" y="18"/>
                      <a:pt x="24" y="15"/>
                      <a:pt x="18" y="9"/>
                    </a:cubicBezTo>
                    <a:cubicBezTo>
                      <a:pt x="16" y="6"/>
                      <a:pt x="12" y="6"/>
                      <a:pt x="9" y="4"/>
                    </a:cubicBezTo>
                    <a:cubicBezTo>
                      <a:pt x="7" y="3"/>
                      <a:pt x="2" y="4"/>
                      <a:pt x="3" y="2"/>
                    </a:cubicBezTo>
                    <a:cubicBezTo>
                      <a:pt x="3" y="1"/>
                      <a:pt x="4" y="1"/>
                      <a:pt x="4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</p:grpSp>
        <p:grpSp>
          <p:nvGrpSpPr>
            <p:cNvPr id="267" name="Group 63"/>
            <p:cNvGrpSpPr>
              <a:grpSpLocks/>
            </p:cNvGrpSpPr>
            <p:nvPr/>
          </p:nvGrpSpPr>
          <p:grpSpPr bwMode="auto">
            <a:xfrm>
              <a:off x="2464" y="2401"/>
              <a:ext cx="301" cy="238"/>
              <a:chOff x="2599" y="2246"/>
              <a:chExt cx="298" cy="236"/>
            </a:xfrm>
            <a:grpFill/>
          </p:grpSpPr>
          <p:sp>
            <p:nvSpPr>
              <p:cNvPr id="326" name="Freeform 64"/>
              <p:cNvSpPr>
                <a:spLocks noChangeAspect="1"/>
              </p:cNvSpPr>
              <p:nvPr/>
            </p:nvSpPr>
            <p:spPr bwMode="auto">
              <a:xfrm>
                <a:off x="2868" y="2422"/>
                <a:ext cx="29" cy="24"/>
              </a:xfrm>
              <a:custGeom>
                <a:avLst/>
                <a:gdLst>
                  <a:gd name="T0" fmla="*/ 4 w 29"/>
                  <a:gd name="T1" fmla="*/ 0 h 24"/>
                  <a:gd name="T2" fmla="*/ 15 w 29"/>
                  <a:gd name="T3" fmla="*/ 4 h 24"/>
                  <a:gd name="T4" fmla="*/ 16 w 29"/>
                  <a:gd name="T5" fmla="*/ 24 h 24"/>
                  <a:gd name="T6" fmla="*/ 3 w 29"/>
                  <a:gd name="T7" fmla="*/ 18 h 24"/>
                  <a:gd name="T8" fmla="*/ 4 w 29"/>
                  <a:gd name="T9" fmla="*/ 0 h 2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9"/>
                  <a:gd name="T16" fmla="*/ 0 h 24"/>
                  <a:gd name="T17" fmla="*/ 29 w 29"/>
                  <a:gd name="T18" fmla="*/ 24 h 2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9" h="24">
                    <a:moveTo>
                      <a:pt x="4" y="0"/>
                    </a:moveTo>
                    <a:cubicBezTo>
                      <a:pt x="8" y="2"/>
                      <a:pt x="11" y="3"/>
                      <a:pt x="15" y="4"/>
                    </a:cubicBezTo>
                    <a:cubicBezTo>
                      <a:pt x="19" y="10"/>
                      <a:pt x="29" y="21"/>
                      <a:pt x="16" y="24"/>
                    </a:cubicBezTo>
                    <a:cubicBezTo>
                      <a:pt x="11" y="23"/>
                      <a:pt x="3" y="18"/>
                      <a:pt x="3" y="18"/>
                    </a:cubicBezTo>
                    <a:cubicBezTo>
                      <a:pt x="0" y="13"/>
                      <a:pt x="4" y="6"/>
                      <a:pt x="4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27" name="Freeform 65"/>
              <p:cNvSpPr>
                <a:spLocks noChangeAspect="1"/>
              </p:cNvSpPr>
              <p:nvPr/>
            </p:nvSpPr>
            <p:spPr bwMode="auto">
              <a:xfrm>
                <a:off x="2708" y="2364"/>
                <a:ext cx="79" cy="88"/>
              </a:xfrm>
              <a:custGeom>
                <a:avLst/>
                <a:gdLst>
                  <a:gd name="T0" fmla="*/ 60 w 79"/>
                  <a:gd name="T1" fmla="*/ 0 h 88"/>
                  <a:gd name="T2" fmla="*/ 49 w 79"/>
                  <a:gd name="T3" fmla="*/ 8 h 88"/>
                  <a:gd name="T4" fmla="*/ 53 w 79"/>
                  <a:gd name="T5" fmla="*/ 26 h 88"/>
                  <a:gd name="T6" fmla="*/ 52 w 79"/>
                  <a:gd name="T7" fmla="*/ 32 h 88"/>
                  <a:gd name="T8" fmla="*/ 42 w 79"/>
                  <a:gd name="T9" fmla="*/ 31 h 88"/>
                  <a:gd name="T10" fmla="*/ 40 w 79"/>
                  <a:gd name="T11" fmla="*/ 21 h 88"/>
                  <a:gd name="T12" fmla="*/ 23 w 79"/>
                  <a:gd name="T13" fmla="*/ 8 h 88"/>
                  <a:gd name="T14" fmla="*/ 17 w 79"/>
                  <a:gd name="T15" fmla="*/ 26 h 88"/>
                  <a:gd name="T16" fmla="*/ 12 w 79"/>
                  <a:gd name="T17" fmla="*/ 33 h 88"/>
                  <a:gd name="T18" fmla="*/ 19 w 79"/>
                  <a:gd name="T19" fmla="*/ 67 h 88"/>
                  <a:gd name="T20" fmla="*/ 32 w 79"/>
                  <a:gd name="T21" fmla="*/ 68 h 88"/>
                  <a:gd name="T22" fmla="*/ 40 w 79"/>
                  <a:gd name="T23" fmla="*/ 72 h 88"/>
                  <a:gd name="T24" fmla="*/ 52 w 79"/>
                  <a:gd name="T25" fmla="*/ 82 h 88"/>
                  <a:gd name="T26" fmla="*/ 61 w 79"/>
                  <a:gd name="T27" fmla="*/ 88 h 88"/>
                  <a:gd name="T28" fmla="*/ 58 w 79"/>
                  <a:gd name="T29" fmla="*/ 69 h 88"/>
                  <a:gd name="T30" fmla="*/ 70 w 79"/>
                  <a:gd name="T31" fmla="*/ 61 h 88"/>
                  <a:gd name="T32" fmla="*/ 61 w 79"/>
                  <a:gd name="T33" fmla="*/ 48 h 88"/>
                  <a:gd name="T34" fmla="*/ 76 w 79"/>
                  <a:gd name="T35" fmla="*/ 39 h 88"/>
                  <a:gd name="T36" fmla="*/ 73 w 79"/>
                  <a:gd name="T37" fmla="*/ 24 h 88"/>
                  <a:gd name="T38" fmla="*/ 76 w 79"/>
                  <a:gd name="T39" fmla="*/ 10 h 88"/>
                  <a:gd name="T40" fmla="*/ 76 w 79"/>
                  <a:gd name="T41" fmla="*/ 4 h 88"/>
                  <a:gd name="T42" fmla="*/ 60 w 79"/>
                  <a:gd name="T43" fmla="*/ 0 h 88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79"/>
                  <a:gd name="T67" fmla="*/ 0 h 88"/>
                  <a:gd name="T68" fmla="*/ 79 w 79"/>
                  <a:gd name="T69" fmla="*/ 88 h 88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79" h="88">
                    <a:moveTo>
                      <a:pt x="60" y="0"/>
                    </a:moveTo>
                    <a:cubicBezTo>
                      <a:pt x="53" y="2"/>
                      <a:pt x="54" y="5"/>
                      <a:pt x="49" y="8"/>
                    </a:cubicBezTo>
                    <a:cubicBezTo>
                      <a:pt x="50" y="18"/>
                      <a:pt x="51" y="18"/>
                      <a:pt x="53" y="26"/>
                    </a:cubicBezTo>
                    <a:cubicBezTo>
                      <a:pt x="53" y="28"/>
                      <a:pt x="54" y="31"/>
                      <a:pt x="52" y="32"/>
                    </a:cubicBezTo>
                    <a:cubicBezTo>
                      <a:pt x="49" y="33"/>
                      <a:pt x="44" y="33"/>
                      <a:pt x="42" y="31"/>
                    </a:cubicBezTo>
                    <a:cubicBezTo>
                      <a:pt x="39" y="29"/>
                      <a:pt x="42" y="24"/>
                      <a:pt x="40" y="21"/>
                    </a:cubicBezTo>
                    <a:cubicBezTo>
                      <a:pt x="35" y="13"/>
                      <a:pt x="32" y="11"/>
                      <a:pt x="23" y="8"/>
                    </a:cubicBezTo>
                    <a:cubicBezTo>
                      <a:pt x="25" y="17"/>
                      <a:pt x="29" y="28"/>
                      <a:pt x="17" y="26"/>
                    </a:cubicBezTo>
                    <a:cubicBezTo>
                      <a:pt x="6" y="27"/>
                      <a:pt x="0" y="30"/>
                      <a:pt x="12" y="33"/>
                    </a:cubicBezTo>
                    <a:cubicBezTo>
                      <a:pt x="21" y="42"/>
                      <a:pt x="18" y="55"/>
                      <a:pt x="19" y="67"/>
                    </a:cubicBezTo>
                    <a:cubicBezTo>
                      <a:pt x="24" y="66"/>
                      <a:pt x="28" y="66"/>
                      <a:pt x="32" y="68"/>
                    </a:cubicBezTo>
                    <a:cubicBezTo>
                      <a:pt x="35" y="69"/>
                      <a:pt x="40" y="72"/>
                      <a:pt x="40" y="72"/>
                    </a:cubicBezTo>
                    <a:cubicBezTo>
                      <a:pt x="44" y="78"/>
                      <a:pt x="45" y="81"/>
                      <a:pt x="52" y="82"/>
                    </a:cubicBezTo>
                    <a:cubicBezTo>
                      <a:pt x="54" y="86"/>
                      <a:pt x="57" y="87"/>
                      <a:pt x="61" y="88"/>
                    </a:cubicBezTo>
                    <a:cubicBezTo>
                      <a:pt x="74" y="85"/>
                      <a:pt x="67" y="72"/>
                      <a:pt x="58" y="69"/>
                    </a:cubicBezTo>
                    <a:cubicBezTo>
                      <a:pt x="60" y="64"/>
                      <a:pt x="70" y="61"/>
                      <a:pt x="70" y="61"/>
                    </a:cubicBezTo>
                    <a:cubicBezTo>
                      <a:pt x="73" y="53"/>
                      <a:pt x="68" y="50"/>
                      <a:pt x="61" y="48"/>
                    </a:cubicBezTo>
                    <a:cubicBezTo>
                      <a:pt x="62" y="33"/>
                      <a:pt x="63" y="36"/>
                      <a:pt x="76" y="39"/>
                    </a:cubicBezTo>
                    <a:cubicBezTo>
                      <a:pt x="79" y="34"/>
                      <a:pt x="76" y="29"/>
                      <a:pt x="73" y="24"/>
                    </a:cubicBezTo>
                    <a:cubicBezTo>
                      <a:pt x="71" y="18"/>
                      <a:pt x="73" y="15"/>
                      <a:pt x="76" y="10"/>
                    </a:cubicBezTo>
                    <a:cubicBezTo>
                      <a:pt x="77" y="4"/>
                      <a:pt x="79" y="4"/>
                      <a:pt x="76" y="4"/>
                    </a:cubicBezTo>
                    <a:lnTo>
                      <a:pt x="60" y="0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28" name="Freeform 66"/>
              <p:cNvSpPr>
                <a:spLocks noChangeAspect="1"/>
              </p:cNvSpPr>
              <p:nvPr/>
            </p:nvSpPr>
            <p:spPr bwMode="auto">
              <a:xfrm>
                <a:off x="2717" y="2445"/>
                <a:ext cx="47" cy="37"/>
              </a:xfrm>
              <a:custGeom>
                <a:avLst/>
                <a:gdLst>
                  <a:gd name="T0" fmla="*/ 9 w 47"/>
                  <a:gd name="T1" fmla="*/ 3 h 37"/>
                  <a:gd name="T2" fmla="*/ 19 w 47"/>
                  <a:gd name="T3" fmla="*/ 9 h 37"/>
                  <a:gd name="T4" fmla="*/ 25 w 47"/>
                  <a:gd name="T5" fmla="*/ 13 h 37"/>
                  <a:gd name="T6" fmla="*/ 33 w 47"/>
                  <a:gd name="T7" fmla="*/ 11 h 37"/>
                  <a:gd name="T8" fmla="*/ 35 w 47"/>
                  <a:gd name="T9" fmla="*/ 3 h 37"/>
                  <a:gd name="T10" fmla="*/ 44 w 47"/>
                  <a:gd name="T11" fmla="*/ 12 h 37"/>
                  <a:gd name="T12" fmla="*/ 43 w 47"/>
                  <a:gd name="T13" fmla="*/ 21 h 37"/>
                  <a:gd name="T14" fmla="*/ 34 w 47"/>
                  <a:gd name="T15" fmla="*/ 18 h 37"/>
                  <a:gd name="T16" fmla="*/ 31 w 47"/>
                  <a:gd name="T17" fmla="*/ 27 h 37"/>
                  <a:gd name="T18" fmla="*/ 22 w 47"/>
                  <a:gd name="T19" fmla="*/ 30 h 37"/>
                  <a:gd name="T20" fmla="*/ 5 w 47"/>
                  <a:gd name="T21" fmla="*/ 12 h 37"/>
                  <a:gd name="T22" fmla="*/ 13 w 47"/>
                  <a:gd name="T23" fmla="*/ 0 h 37"/>
                  <a:gd name="T24" fmla="*/ 28 w 47"/>
                  <a:gd name="T25" fmla="*/ 9 h 37"/>
                  <a:gd name="T26" fmla="*/ 9 w 47"/>
                  <a:gd name="T27" fmla="*/ 3 h 37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47"/>
                  <a:gd name="T43" fmla="*/ 0 h 37"/>
                  <a:gd name="T44" fmla="*/ 47 w 47"/>
                  <a:gd name="T45" fmla="*/ 37 h 37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47" h="37">
                    <a:moveTo>
                      <a:pt x="9" y="3"/>
                    </a:moveTo>
                    <a:cubicBezTo>
                      <a:pt x="14" y="4"/>
                      <a:pt x="15" y="6"/>
                      <a:pt x="19" y="9"/>
                    </a:cubicBezTo>
                    <a:cubicBezTo>
                      <a:pt x="21" y="10"/>
                      <a:pt x="25" y="13"/>
                      <a:pt x="25" y="13"/>
                    </a:cubicBezTo>
                    <a:cubicBezTo>
                      <a:pt x="28" y="12"/>
                      <a:pt x="31" y="13"/>
                      <a:pt x="33" y="11"/>
                    </a:cubicBezTo>
                    <a:cubicBezTo>
                      <a:pt x="35" y="9"/>
                      <a:pt x="35" y="3"/>
                      <a:pt x="35" y="3"/>
                    </a:cubicBezTo>
                    <a:cubicBezTo>
                      <a:pt x="40" y="5"/>
                      <a:pt x="40" y="9"/>
                      <a:pt x="44" y="12"/>
                    </a:cubicBezTo>
                    <a:cubicBezTo>
                      <a:pt x="47" y="16"/>
                      <a:pt x="46" y="17"/>
                      <a:pt x="43" y="21"/>
                    </a:cubicBezTo>
                    <a:cubicBezTo>
                      <a:pt x="39" y="37"/>
                      <a:pt x="37" y="26"/>
                      <a:pt x="34" y="18"/>
                    </a:cubicBezTo>
                    <a:cubicBezTo>
                      <a:pt x="34" y="20"/>
                      <a:pt x="33" y="26"/>
                      <a:pt x="31" y="27"/>
                    </a:cubicBezTo>
                    <a:cubicBezTo>
                      <a:pt x="28" y="29"/>
                      <a:pt x="22" y="30"/>
                      <a:pt x="22" y="30"/>
                    </a:cubicBezTo>
                    <a:cubicBezTo>
                      <a:pt x="18" y="27"/>
                      <a:pt x="6" y="17"/>
                      <a:pt x="5" y="12"/>
                    </a:cubicBezTo>
                    <a:cubicBezTo>
                      <a:pt x="0" y="5"/>
                      <a:pt x="5" y="2"/>
                      <a:pt x="13" y="0"/>
                    </a:cubicBezTo>
                    <a:cubicBezTo>
                      <a:pt x="19" y="2"/>
                      <a:pt x="22" y="9"/>
                      <a:pt x="28" y="9"/>
                    </a:cubicBezTo>
                    <a:lnTo>
                      <a:pt x="9" y="3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29" name="Freeform 67"/>
              <p:cNvSpPr>
                <a:spLocks noChangeAspect="1"/>
              </p:cNvSpPr>
              <p:nvPr/>
            </p:nvSpPr>
            <p:spPr bwMode="auto">
              <a:xfrm>
                <a:off x="2608" y="2246"/>
                <a:ext cx="95" cy="76"/>
              </a:xfrm>
              <a:custGeom>
                <a:avLst/>
                <a:gdLst>
                  <a:gd name="T0" fmla="*/ 0 w 95"/>
                  <a:gd name="T1" fmla="*/ 72 h 76"/>
                  <a:gd name="T2" fmla="*/ 8 w 95"/>
                  <a:gd name="T3" fmla="*/ 54 h 76"/>
                  <a:gd name="T4" fmla="*/ 14 w 95"/>
                  <a:gd name="T5" fmla="*/ 46 h 76"/>
                  <a:gd name="T6" fmla="*/ 50 w 95"/>
                  <a:gd name="T7" fmla="*/ 40 h 76"/>
                  <a:gd name="T8" fmla="*/ 57 w 95"/>
                  <a:gd name="T9" fmla="*/ 29 h 76"/>
                  <a:gd name="T10" fmla="*/ 63 w 95"/>
                  <a:gd name="T11" fmla="*/ 22 h 76"/>
                  <a:gd name="T12" fmla="*/ 81 w 95"/>
                  <a:gd name="T13" fmla="*/ 10 h 76"/>
                  <a:gd name="T14" fmla="*/ 90 w 95"/>
                  <a:gd name="T15" fmla="*/ 4 h 76"/>
                  <a:gd name="T16" fmla="*/ 93 w 95"/>
                  <a:gd name="T17" fmla="*/ 1 h 76"/>
                  <a:gd name="T18" fmla="*/ 86 w 95"/>
                  <a:gd name="T19" fmla="*/ 11 h 76"/>
                  <a:gd name="T20" fmla="*/ 93 w 95"/>
                  <a:gd name="T21" fmla="*/ 22 h 76"/>
                  <a:gd name="T22" fmla="*/ 86 w 95"/>
                  <a:gd name="T23" fmla="*/ 43 h 76"/>
                  <a:gd name="T24" fmla="*/ 84 w 95"/>
                  <a:gd name="T25" fmla="*/ 46 h 76"/>
                  <a:gd name="T26" fmla="*/ 83 w 95"/>
                  <a:gd name="T27" fmla="*/ 53 h 76"/>
                  <a:gd name="T28" fmla="*/ 80 w 95"/>
                  <a:gd name="T29" fmla="*/ 47 h 76"/>
                  <a:gd name="T30" fmla="*/ 72 w 95"/>
                  <a:gd name="T31" fmla="*/ 44 h 76"/>
                  <a:gd name="T32" fmla="*/ 48 w 95"/>
                  <a:gd name="T33" fmla="*/ 49 h 76"/>
                  <a:gd name="T34" fmla="*/ 39 w 95"/>
                  <a:gd name="T35" fmla="*/ 54 h 76"/>
                  <a:gd name="T36" fmla="*/ 29 w 95"/>
                  <a:gd name="T37" fmla="*/ 52 h 76"/>
                  <a:gd name="T38" fmla="*/ 24 w 95"/>
                  <a:gd name="T39" fmla="*/ 58 h 76"/>
                  <a:gd name="T40" fmla="*/ 18 w 95"/>
                  <a:gd name="T41" fmla="*/ 60 h 76"/>
                  <a:gd name="T42" fmla="*/ 0 w 95"/>
                  <a:gd name="T43" fmla="*/ 72 h 7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95"/>
                  <a:gd name="T67" fmla="*/ 0 h 76"/>
                  <a:gd name="T68" fmla="*/ 95 w 95"/>
                  <a:gd name="T69" fmla="*/ 76 h 7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95" h="76">
                    <a:moveTo>
                      <a:pt x="0" y="72"/>
                    </a:moveTo>
                    <a:cubicBezTo>
                      <a:pt x="2" y="64"/>
                      <a:pt x="1" y="58"/>
                      <a:pt x="8" y="54"/>
                    </a:cubicBezTo>
                    <a:cubicBezTo>
                      <a:pt x="9" y="49"/>
                      <a:pt x="9" y="47"/>
                      <a:pt x="14" y="46"/>
                    </a:cubicBezTo>
                    <a:cubicBezTo>
                      <a:pt x="26" y="48"/>
                      <a:pt x="38" y="42"/>
                      <a:pt x="50" y="40"/>
                    </a:cubicBezTo>
                    <a:cubicBezTo>
                      <a:pt x="53" y="36"/>
                      <a:pt x="53" y="32"/>
                      <a:pt x="57" y="29"/>
                    </a:cubicBezTo>
                    <a:cubicBezTo>
                      <a:pt x="58" y="25"/>
                      <a:pt x="59" y="23"/>
                      <a:pt x="63" y="22"/>
                    </a:cubicBezTo>
                    <a:cubicBezTo>
                      <a:pt x="68" y="17"/>
                      <a:pt x="73" y="12"/>
                      <a:pt x="81" y="10"/>
                    </a:cubicBezTo>
                    <a:cubicBezTo>
                      <a:pt x="84" y="7"/>
                      <a:pt x="86" y="5"/>
                      <a:pt x="90" y="4"/>
                    </a:cubicBezTo>
                    <a:cubicBezTo>
                      <a:pt x="91" y="3"/>
                      <a:pt x="93" y="0"/>
                      <a:pt x="93" y="1"/>
                    </a:cubicBezTo>
                    <a:cubicBezTo>
                      <a:pt x="93" y="5"/>
                      <a:pt x="86" y="11"/>
                      <a:pt x="86" y="11"/>
                    </a:cubicBezTo>
                    <a:cubicBezTo>
                      <a:pt x="87" y="17"/>
                      <a:pt x="89" y="17"/>
                      <a:pt x="93" y="22"/>
                    </a:cubicBezTo>
                    <a:cubicBezTo>
                      <a:pt x="95" y="28"/>
                      <a:pt x="91" y="40"/>
                      <a:pt x="86" y="43"/>
                    </a:cubicBezTo>
                    <a:cubicBezTo>
                      <a:pt x="85" y="44"/>
                      <a:pt x="84" y="45"/>
                      <a:pt x="84" y="46"/>
                    </a:cubicBezTo>
                    <a:cubicBezTo>
                      <a:pt x="83" y="48"/>
                      <a:pt x="84" y="51"/>
                      <a:pt x="83" y="53"/>
                    </a:cubicBezTo>
                    <a:cubicBezTo>
                      <a:pt x="82" y="55"/>
                      <a:pt x="82" y="48"/>
                      <a:pt x="80" y="47"/>
                    </a:cubicBezTo>
                    <a:cubicBezTo>
                      <a:pt x="78" y="45"/>
                      <a:pt x="75" y="45"/>
                      <a:pt x="72" y="44"/>
                    </a:cubicBezTo>
                    <a:cubicBezTo>
                      <a:pt x="64" y="45"/>
                      <a:pt x="56" y="47"/>
                      <a:pt x="48" y="49"/>
                    </a:cubicBezTo>
                    <a:cubicBezTo>
                      <a:pt x="46" y="51"/>
                      <a:pt x="39" y="54"/>
                      <a:pt x="39" y="54"/>
                    </a:cubicBezTo>
                    <a:cubicBezTo>
                      <a:pt x="36" y="54"/>
                      <a:pt x="32" y="51"/>
                      <a:pt x="29" y="52"/>
                    </a:cubicBezTo>
                    <a:cubicBezTo>
                      <a:pt x="27" y="53"/>
                      <a:pt x="26" y="57"/>
                      <a:pt x="24" y="58"/>
                    </a:cubicBezTo>
                    <a:cubicBezTo>
                      <a:pt x="22" y="59"/>
                      <a:pt x="18" y="60"/>
                      <a:pt x="18" y="60"/>
                    </a:cubicBezTo>
                    <a:cubicBezTo>
                      <a:pt x="12" y="68"/>
                      <a:pt x="11" y="76"/>
                      <a:pt x="0" y="72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30" name="Freeform 68"/>
              <p:cNvSpPr>
                <a:spLocks noChangeAspect="1"/>
              </p:cNvSpPr>
              <p:nvPr/>
            </p:nvSpPr>
            <p:spPr bwMode="auto">
              <a:xfrm>
                <a:off x="2599" y="2294"/>
                <a:ext cx="117" cy="175"/>
              </a:xfrm>
              <a:custGeom>
                <a:avLst/>
                <a:gdLst>
                  <a:gd name="T0" fmla="*/ 21 w 117"/>
                  <a:gd name="T1" fmla="*/ 156 h 175"/>
                  <a:gd name="T2" fmla="*/ 20 w 117"/>
                  <a:gd name="T3" fmla="*/ 130 h 175"/>
                  <a:gd name="T4" fmla="*/ 12 w 117"/>
                  <a:gd name="T5" fmla="*/ 122 h 175"/>
                  <a:gd name="T6" fmla="*/ 7 w 117"/>
                  <a:gd name="T7" fmla="*/ 108 h 175"/>
                  <a:gd name="T8" fmla="*/ 5 w 117"/>
                  <a:gd name="T9" fmla="*/ 89 h 175"/>
                  <a:gd name="T10" fmla="*/ 2 w 117"/>
                  <a:gd name="T11" fmla="*/ 74 h 175"/>
                  <a:gd name="T12" fmla="*/ 17 w 117"/>
                  <a:gd name="T13" fmla="*/ 34 h 175"/>
                  <a:gd name="T14" fmla="*/ 24 w 117"/>
                  <a:gd name="T15" fmla="*/ 29 h 175"/>
                  <a:gd name="T16" fmla="*/ 33 w 117"/>
                  <a:gd name="T17" fmla="*/ 23 h 175"/>
                  <a:gd name="T18" fmla="*/ 53 w 117"/>
                  <a:gd name="T19" fmla="*/ 10 h 175"/>
                  <a:gd name="T20" fmla="*/ 68 w 117"/>
                  <a:gd name="T21" fmla="*/ 2 h 175"/>
                  <a:gd name="T22" fmla="*/ 86 w 117"/>
                  <a:gd name="T23" fmla="*/ 5 h 175"/>
                  <a:gd name="T24" fmla="*/ 92 w 117"/>
                  <a:gd name="T25" fmla="*/ 25 h 175"/>
                  <a:gd name="T26" fmla="*/ 99 w 117"/>
                  <a:gd name="T27" fmla="*/ 37 h 175"/>
                  <a:gd name="T28" fmla="*/ 114 w 117"/>
                  <a:gd name="T29" fmla="*/ 41 h 175"/>
                  <a:gd name="T30" fmla="*/ 110 w 117"/>
                  <a:gd name="T31" fmla="*/ 59 h 175"/>
                  <a:gd name="T32" fmla="*/ 105 w 117"/>
                  <a:gd name="T33" fmla="*/ 67 h 175"/>
                  <a:gd name="T34" fmla="*/ 92 w 117"/>
                  <a:gd name="T35" fmla="*/ 78 h 175"/>
                  <a:gd name="T36" fmla="*/ 81 w 117"/>
                  <a:gd name="T37" fmla="*/ 97 h 175"/>
                  <a:gd name="T38" fmla="*/ 72 w 117"/>
                  <a:gd name="T39" fmla="*/ 109 h 175"/>
                  <a:gd name="T40" fmla="*/ 96 w 117"/>
                  <a:gd name="T41" fmla="*/ 108 h 175"/>
                  <a:gd name="T42" fmla="*/ 107 w 117"/>
                  <a:gd name="T43" fmla="*/ 124 h 175"/>
                  <a:gd name="T44" fmla="*/ 110 w 117"/>
                  <a:gd name="T45" fmla="*/ 133 h 175"/>
                  <a:gd name="T46" fmla="*/ 98 w 117"/>
                  <a:gd name="T47" fmla="*/ 156 h 175"/>
                  <a:gd name="T48" fmla="*/ 90 w 117"/>
                  <a:gd name="T49" fmla="*/ 138 h 175"/>
                  <a:gd name="T50" fmla="*/ 72 w 117"/>
                  <a:gd name="T51" fmla="*/ 131 h 175"/>
                  <a:gd name="T52" fmla="*/ 62 w 117"/>
                  <a:gd name="T53" fmla="*/ 132 h 175"/>
                  <a:gd name="T54" fmla="*/ 71 w 117"/>
                  <a:gd name="T55" fmla="*/ 162 h 175"/>
                  <a:gd name="T56" fmla="*/ 79 w 117"/>
                  <a:gd name="T57" fmla="*/ 175 h 175"/>
                  <a:gd name="T58" fmla="*/ 75 w 117"/>
                  <a:gd name="T59" fmla="*/ 172 h 175"/>
                  <a:gd name="T60" fmla="*/ 41 w 117"/>
                  <a:gd name="T61" fmla="*/ 162 h 175"/>
                  <a:gd name="T62" fmla="*/ 21 w 117"/>
                  <a:gd name="T63" fmla="*/ 156 h 175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117"/>
                  <a:gd name="T97" fmla="*/ 0 h 175"/>
                  <a:gd name="T98" fmla="*/ 117 w 117"/>
                  <a:gd name="T99" fmla="*/ 175 h 175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117" h="175">
                    <a:moveTo>
                      <a:pt x="21" y="156"/>
                    </a:moveTo>
                    <a:cubicBezTo>
                      <a:pt x="24" y="151"/>
                      <a:pt x="20" y="134"/>
                      <a:pt x="20" y="130"/>
                    </a:cubicBezTo>
                    <a:cubicBezTo>
                      <a:pt x="17" y="124"/>
                      <a:pt x="16" y="126"/>
                      <a:pt x="12" y="122"/>
                    </a:cubicBezTo>
                    <a:cubicBezTo>
                      <a:pt x="10" y="117"/>
                      <a:pt x="8" y="113"/>
                      <a:pt x="7" y="108"/>
                    </a:cubicBezTo>
                    <a:cubicBezTo>
                      <a:pt x="6" y="101"/>
                      <a:pt x="6" y="96"/>
                      <a:pt x="5" y="89"/>
                    </a:cubicBezTo>
                    <a:cubicBezTo>
                      <a:pt x="4" y="84"/>
                      <a:pt x="2" y="74"/>
                      <a:pt x="2" y="74"/>
                    </a:cubicBezTo>
                    <a:cubicBezTo>
                      <a:pt x="11" y="65"/>
                      <a:pt x="0" y="38"/>
                      <a:pt x="17" y="34"/>
                    </a:cubicBezTo>
                    <a:cubicBezTo>
                      <a:pt x="18" y="31"/>
                      <a:pt x="24" y="29"/>
                      <a:pt x="24" y="29"/>
                    </a:cubicBezTo>
                    <a:cubicBezTo>
                      <a:pt x="27" y="26"/>
                      <a:pt x="30" y="25"/>
                      <a:pt x="33" y="23"/>
                    </a:cubicBezTo>
                    <a:cubicBezTo>
                      <a:pt x="37" y="16"/>
                      <a:pt x="46" y="12"/>
                      <a:pt x="53" y="10"/>
                    </a:cubicBezTo>
                    <a:cubicBezTo>
                      <a:pt x="57" y="6"/>
                      <a:pt x="62" y="4"/>
                      <a:pt x="68" y="2"/>
                    </a:cubicBezTo>
                    <a:cubicBezTo>
                      <a:pt x="74" y="3"/>
                      <a:pt x="83" y="0"/>
                      <a:pt x="86" y="5"/>
                    </a:cubicBezTo>
                    <a:cubicBezTo>
                      <a:pt x="89" y="10"/>
                      <a:pt x="88" y="21"/>
                      <a:pt x="92" y="25"/>
                    </a:cubicBezTo>
                    <a:cubicBezTo>
                      <a:pt x="95" y="28"/>
                      <a:pt x="99" y="37"/>
                      <a:pt x="99" y="37"/>
                    </a:cubicBezTo>
                    <a:cubicBezTo>
                      <a:pt x="101" y="39"/>
                      <a:pt x="114" y="41"/>
                      <a:pt x="114" y="41"/>
                    </a:cubicBezTo>
                    <a:cubicBezTo>
                      <a:pt x="117" y="49"/>
                      <a:pt x="116" y="53"/>
                      <a:pt x="110" y="59"/>
                    </a:cubicBezTo>
                    <a:cubicBezTo>
                      <a:pt x="108" y="66"/>
                      <a:pt x="110" y="64"/>
                      <a:pt x="105" y="67"/>
                    </a:cubicBezTo>
                    <a:cubicBezTo>
                      <a:pt x="102" y="72"/>
                      <a:pt x="97" y="75"/>
                      <a:pt x="92" y="78"/>
                    </a:cubicBezTo>
                    <a:cubicBezTo>
                      <a:pt x="89" y="84"/>
                      <a:pt x="86" y="92"/>
                      <a:pt x="81" y="97"/>
                    </a:cubicBezTo>
                    <a:cubicBezTo>
                      <a:pt x="79" y="102"/>
                      <a:pt x="72" y="109"/>
                      <a:pt x="72" y="109"/>
                    </a:cubicBezTo>
                    <a:cubicBezTo>
                      <a:pt x="69" y="119"/>
                      <a:pt x="90" y="106"/>
                      <a:pt x="96" y="108"/>
                    </a:cubicBezTo>
                    <a:cubicBezTo>
                      <a:pt x="102" y="111"/>
                      <a:pt x="102" y="117"/>
                      <a:pt x="107" y="124"/>
                    </a:cubicBezTo>
                    <a:cubicBezTo>
                      <a:pt x="109" y="127"/>
                      <a:pt x="110" y="133"/>
                      <a:pt x="110" y="133"/>
                    </a:cubicBezTo>
                    <a:cubicBezTo>
                      <a:pt x="109" y="167"/>
                      <a:pt x="117" y="162"/>
                      <a:pt x="98" y="156"/>
                    </a:cubicBezTo>
                    <a:cubicBezTo>
                      <a:pt x="96" y="153"/>
                      <a:pt x="93" y="141"/>
                      <a:pt x="90" y="138"/>
                    </a:cubicBezTo>
                    <a:cubicBezTo>
                      <a:pt x="88" y="131"/>
                      <a:pt x="78" y="133"/>
                      <a:pt x="72" y="131"/>
                    </a:cubicBezTo>
                    <a:cubicBezTo>
                      <a:pt x="69" y="131"/>
                      <a:pt x="65" y="131"/>
                      <a:pt x="62" y="132"/>
                    </a:cubicBezTo>
                    <a:cubicBezTo>
                      <a:pt x="54" y="136"/>
                      <a:pt x="66" y="159"/>
                      <a:pt x="71" y="162"/>
                    </a:cubicBezTo>
                    <a:cubicBezTo>
                      <a:pt x="74" y="169"/>
                      <a:pt x="78" y="174"/>
                      <a:pt x="79" y="175"/>
                    </a:cubicBezTo>
                    <a:cubicBezTo>
                      <a:pt x="78" y="174"/>
                      <a:pt x="76" y="173"/>
                      <a:pt x="75" y="172"/>
                    </a:cubicBezTo>
                    <a:cubicBezTo>
                      <a:pt x="70" y="158"/>
                      <a:pt x="52" y="162"/>
                      <a:pt x="41" y="162"/>
                    </a:cubicBezTo>
                    <a:cubicBezTo>
                      <a:pt x="34" y="161"/>
                      <a:pt x="28" y="158"/>
                      <a:pt x="21" y="156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</p:grpSp>
        <p:sp>
          <p:nvSpPr>
            <p:cNvPr id="268" name="Freeform 69"/>
            <p:cNvSpPr>
              <a:spLocks noChangeAspect="1"/>
            </p:cNvSpPr>
            <p:nvPr/>
          </p:nvSpPr>
          <p:spPr bwMode="auto">
            <a:xfrm>
              <a:off x="1631" y="2486"/>
              <a:ext cx="222" cy="257"/>
            </a:xfrm>
            <a:custGeom>
              <a:avLst/>
              <a:gdLst>
                <a:gd name="T0" fmla="*/ 474 w 219"/>
                <a:gd name="T1" fmla="*/ 203 h 254"/>
                <a:gd name="T2" fmla="*/ 446 w 219"/>
                <a:gd name="T3" fmla="*/ 165 h 254"/>
                <a:gd name="T4" fmla="*/ 392 w 219"/>
                <a:gd name="T5" fmla="*/ 177 h 254"/>
                <a:gd name="T6" fmla="*/ 335 w 219"/>
                <a:gd name="T7" fmla="*/ 137 h 254"/>
                <a:gd name="T8" fmla="*/ 360 w 219"/>
                <a:gd name="T9" fmla="*/ 117 h 254"/>
                <a:gd name="T10" fmla="*/ 420 w 219"/>
                <a:gd name="T11" fmla="*/ 38 h 254"/>
                <a:gd name="T12" fmla="*/ 458 w 219"/>
                <a:gd name="T13" fmla="*/ 19 h 254"/>
                <a:gd name="T14" fmla="*/ 434 w 219"/>
                <a:gd name="T15" fmla="*/ 7 h 254"/>
                <a:gd name="T16" fmla="*/ 417 w 219"/>
                <a:gd name="T17" fmla="*/ 25 h 254"/>
                <a:gd name="T18" fmla="*/ 335 w 219"/>
                <a:gd name="T19" fmla="*/ 18 h 254"/>
                <a:gd name="T20" fmla="*/ 298 w 219"/>
                <a:gd name="T21" fmla="*/ 35 h 254"/>
                <a:gd name="T22" fmla="*/ 306 w 219"/>
                <a:gd name="T23" fmla="*/ 105 h 254"/>
                <a:gd name="T24" fmla="*/ 316 w 219"/>
                <a:gd name="T25" fmla="*/ 120 h 254"/>
                <a:gd name="T26" fmla="*/ 284 w 219"/>
                <a:gd name="T27" fmla="*/ 137 h 254"/>
                <a:gd name="T28" fmla="*/ 211 w 219"/>
                <a:gd name="T29" fmla="*/ 120 h 254"/>
                <a:gd name="T30" fmla="*/ 138 w 219"/>
                <a:gd name="T31" fmla="*/ 119 h 254"/>
                <a:gd name="T32" fmla="*/ 134 w 219"/>
                <a:gd name="T33" fmla="*/ 159 h 254"/>
                <a:gd name="T34" fmla="*/ 130 w 219"/>
                <a:gd name="T35" fmla="*/ 175 h 254"/>
                <a:gd name="T36" fmla="*/ 106 w 219"/>
                <a:gd name="T37" fmla="*/ 207 h 254"/>
                <a:gd name="T38" fmla="*/ 208 w 219"/>
                <a:gd name="T39" fmla="*/ 278 h 254"/>
                <a:gd name="T40" fmla="*/ 140 w 219"/>
                <a:gd name="T41" fmla="*/ 303 h 254"/>
                <a:gd name="T42" fmla="*/ 105 w 219"/>
                <a:gd name="T43" fmla="*/ 349 h 254"/>
                <a:gd name="T44" fmla="*/ 118 w 219"/>
                <a:gd name="T45" fmla="*/ 363 h 254"/>
                <a:gd name="T46" fmla="*/ 29 w 219"/>
                <a:gd name="T47" fmla="*/ 398 h 254"/>
                <a:gd name="T48" fmla="*/ 13 w 219"/>
                <a:gd name="T49" fmla="*/ 377 h 254"/>
                <a:gd name="T50" fmla="*/ 4 w 219"/>
                <a:gd name="T51" fmla="*/ 413 h 254"/>
                <a:gd name="T52" fmla="*/ 23 w 219"/>
                <a:gd name="T53" fmla="*/ 408 h 254"/>
                <a:gd name="T54" fmla="*/ 4 w 219"/>
                <a:gd name="T55" fmla="*/ 447 h 254"/>
                <a:gd name="T56" fmla="*/ 29 w 219"/>
                <a:gd name="T57" fmla="*/ 456 h 254"/>
                <a:gd name="T58" fmla="*/ 5 w 219"/>
                <a:gd name="T59" fmla="*/ 480 h 254"/>
                <a:gd name="T60" fmla="*/ 26 w 219"/>
                <a:gd name="T61" fmla="*/ 509 h 254"/>
                <a:gd name="T62" fmla="*/ 170 w 219"/>
                <a:gd name="T63" fmla="*/ 504 h 254"/>
                <a:gd name="T64" fmla="*/ 274 w 219"/>
                <a:gd name="T65" fmla="*/ 497 h 254"/>
                <a:gd name="T66" fmla="*/ 332 w 219"/>
                <a:gd name="T67" fmla="*/ 468 h 254"/>
                <a:gd name="T68" fmla="*/ 428 w 219"/>
                <a:gd name="T69" fmla="*/ 452 h 254"/>
                <a:gd name="T70" fmla="*/ 464 w 219"/>
                <a:gd name="T71" fmla="*/ 398 h 254"/>
                <a:gd name="T72" fmla="*/ 474 w 219"/>
                <a:gd name="T73" fmla="*/ 377 h 254"/>
                <a:gd name="T74" fmla="*/ 471 w 219"/>
                <a:gd name="T75" fmla="*/ 278 h 254"/>
                <a:gd name="T76" fmla="*/ 494 w 219"/>
                <a:gd name="T77" fmla="*/ 216 h 254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219"/>
                <a:gd name="T118" fmla="*/ 0 h 254"/>
                <a:gd name="T119" fmla="*/ 219 w 219"/>
                <a:gd name="T120" fmla="*/ 254 h 254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219" h="254">
                  <a:moveTo>
                    <a:pt x="217" y="110"/>
                  </a:moveTo>
                  <a:cubicBezTo>
                    <a:pt x="219" y="105"/>
                    <a:pt x="213" y="105"/>
                    <a:pt x="208" y="104"/>
                  </a:cubicBezTo>
                  <a:cubicBezTo>
                    <a:pt x="202" y="100"/>
                    <a:pt x="201" y="97"/>
                    <a:pt x="196" y="92"/>
                  </a:cubicBezTo>
                  <a:cubicBezTo>
                    <a:pt x="194" y="90"/>
                    <a:pt x="194" y="85"/>
                    <a:pt x="194" y="85"/>
                  </a:cubicBezTo>
                  <a:cubicBezTo>
                    <a:pt x="191" y="77"/>
                    <a:pt x="190" y="79"/>
                    <a:pt x="182" y="82"/>
                  </a:cubicBezTo>
                  <a:cubicBezTo>
                    <a:pt x="179" y="90"/>
                    <a:pt x="182" y="92"/>
                    <a:pt x="172" y="91"/>
                  </a:cubicBezTo>
                  <a:cubicBezTo>
                    <a:pt x="165" y="89"/>
                    <a:pt x="164" y="79"/>
                    <a:pt x="154" y="76"/>
                  </a:cubicBezTo>
                  <a:cubicBezTo>
                    <a:pt x="152" y="69"/>
                    <a:pt x="155" y="77"/>
                    <a:pt x="149" y="71"/>
                  </a:cubicBezTo>
                  <a:cubicBezTo>
                    <a:pt x="147" y="69"/>
                    <a:pt x="147" y="64"/>
                    <a:pt x="146" y="61"/>
                  </a:cubicBezTo>
                  <a:cubicBezTo>
                    <a:pt x="150" y="58"/>
                    <a:pt x="154" y="57"/>
                    <a:pt x="159" y="56"/>
                  </a:cubicBezTo>
                  <a:cubicBezTo>
                    <a:pt x="165" y="47"/>
                    <a:pt x="162" y="47"/>
                    <a:pt x="173" y="46"/>
                  </a:cubicBezTo>
                  <a:cubicBezTo>
                    <a:pt x="180" y="41"/>
                    <a:pt x="178" y="44"/>
                    <a:pt x="182" y="38"/>
                  </a:cubicBezTo>
                  <a:cubicBezTo>
                    <a:pt x="184" y="32"/>
                    <a:pt x="184" y="31"/>
                    <a:pt x="190" y="29"/>
                  </a:cubicBezTo>
                  <a:cubicBezTo>
                    <a:pt x="193" y="26"/>
                    <a:pt x="196" y="20"/>
                    <a:pt x="200" y="19"/>
                  </a:cubicBezTo>
                  <a:cubicBezTo>
                    <a:pt x="202" y="14"/>
                    <a:pt x="206" y="9"/>
                    <a:pt x="202" y="6"/>
                  </a:cubicBezTo>
                  <a:cubicBezTo>
                    <a:pt x="200" y="0"/>
                    <a:pt x="194" y="3"/>
                    <a:pt x="188" y="7"/>
                  </a:cubicBezTo>
                  <a:cubicBezTo>
                    <a:pt x="187" y="11"/>
                    <a:pt x="184" y="15"/>
                    <a:pt x="183" y="19"/>
                  </a:cubicBezTo>
                  <a:cubicBezTo>
                    <a:pt x="182" y="21"/>
                    <a:pt x="181" y="25"/>
                    <a:pt x="181" y="25"/>
                  </a:cubicBezTo>
                  <a:cubicBezTo>
                    <a:pt x="170" y="22"/>
                    <a:pt x="182" y="10"/>
                    <a:pt x="165" y="8"/>
                  </a:cubicBezTo>
                  <a:cubicBezTo>
                    <a:pt x="149" y="9"/>
                    <a:pt x="158" y="15"/>
                    <a:pt x="149" y="18"/>
                  </a:cubicBezTo>
                  <a:cubicBezTo>
                    <a:pt x="148" y="23"/>
                    <a:pt x="147" y="23"/>
                    <a:pt x="142" y="25"/>
                  </a:cubicBezTo>
                  <a:cubicBezTo>
                    <a:pt x="139" y="29"/>
                    <a:pt x="135" y="34"/>
                    <a:pt x="131" y="35"/>
                  </a:cubicBezTo>
                  <a:cubicBezTo>
                    <a:pt x="131" y="36"/>
                    <a:pt x="127" y="40"/>
                    <a:pt x="128" y="41"/>
                  </a:cubicBezTo>
                  <a:cubicBezTo>
                    <a:pt x="129" y="43"/>
                    <a:pt x="134" y="43"/>
                    <a:pt x="135" y="44"/>
                  </a:cubicBezTo>
                  <a:cubicBezTo>
                    <a:pt x="138" y="45"/>
                    <a:pt x="145" y="48"/>
                    <a:pt x="145" y="48"/>
                  </a:cubicBezTo>
                  <a:cubicBezTo>
                    <a:pt x="144" y="49"/>
                    <a:pt x="142" y="58"/>
                    <a:pt x="140" y="59"/>
                  </a:cubicBezTo>
                  <a:cubicBezTo>
                    <a:pt x="137" y="61"/>
                    <a:pt x="131" y="62"/>
                    <a:pt x="131" y="62"/>
                  </a:cubicBezTo>
                  <a:cubicBezTo>
                    <a:pt x="127" y="67"/>
                    <a:pt x="125" y="64"/>
                    <a:pt x="124" y="71"/>
                  </a:cubicBezTo>
                  <a:cubicBezTo>
                    <a:pt x="116" y="70"/>
                    <a:pt x="120" y="68"/>
                    <a:pt x="113" y="65"/>
                  </a:cubicBezTo>
                  <a:cubicBezTo>
                    <a:pt x="111" y="58"/>
                    <a:pt x="101" y="60"/>
                    <a:pt x="95" y="59"/>
                  </a:cubicBezTo>
                  <a:cubicBezTo>
                    <a:pt x="92" y="55"/>
                    <a:pt x="87" y="53"/>
                    <a:pt x="83" y="52"/>
                  </a:cubicBezTo>
                  <a:cubicBezTo>
                    <a:pt x="75" y="53"/>
                    <a:pt x="67" y="51"/>
                    <a:pt x="63" y="58"/>
                  </a:cubicBezTo>
                  <a:cubicBezTo>
                    <a:pt x="62" y="64"/>
                    <a:pt x="62" y="66"/>
                    <a:pt x="58" y="70"/>
                  </a:cubicBezTo>
                  <a:cubicBezTo>
                    <a:pt x="57" y="74"/>
                    <a:pt x="57" y="79"/>
                    <a:pt x="61" y="82"/>
                  </a:cubicBezTo>
                  <a:cubicBezTo>
                    <a:pt x="64" y="85"/>
                    <a:pt x="74" y="86"/>
                    <a:pt x="74" y="86"/>
                  </a:cubicBezTo>
                  <a:cubicBezTo>
                    <a:pt x="69" y="88"/>
                    <a:pt x="64" y="88"/>
                    <a:pt x="59" y="90"/>
                  </a:cubicBezTo>
                  <a:cubicBezTo>
                    <a:pt x="61" y="95"/>
                    <a:pt x="62" y="96"/>
                    <a:pt x="61" y="101"/>
                  </a:cubicBezTo>
                  <a:cubicBezTo>
                    <a:pt x="48" y="100"/>
                    <a:pt x="47" y="93"/>
                    <a:pt x="45" y="106"/>
                  </a:cubicBezTo>
                  <a:cubicBezTo>
                    <a:pt x="46" y="114"/>
                    <a:pt x="50" y="119"/>
                    <a:pt x="59" y="121"/>
                  </a:cubicBezTo>
                  <a:cubicBezTo>
                    <a:pt x="70" y="128"/>
                    <a:pt x="81" y="133"/>
                    <a:pt x="94" y="134"/>
                  </a:cubicBezTo>
                  <a:cubicBezTo>
                    <a:pt x="89" y="141"/>
                    <a:pt x="84" y="138"/>
                    <a:pt x="74" y="137"/>
                  </a:cubicBezTo>
                  <a:cubicBezTo>
                    <a:pt x="67" y="139"/>
                    <a:pt x="70" y="146"/>
                    <a:pt x="64" y="150"/>
                  </a:cubicBezTo>
                  <a:cubicBezTo>
                    <a:pt x="62" y="155"/>
                    <a:pt x="58" y="160"/>
                    <a:pt x="53" y="162"/>
                  </a:cubicBezTo>
                  <a:cubicBezTo>
                    <a:pt x="50" y="166"/>
                    <a:pt x="39" y="175"/>
                    <a:pt x="44" y="173"/>
                  </a:cubicBezTo>
                  <a:cubicBezTo>
                    <a:pt x="58" y="174"/>
                    <a:pt x="71" y="171"/>
                    <a:pt x="85" y="173"/>
                  </a:cubicBezTo>
                  <a:cubicBezTo>
                    <a:pt x="74" y="175"/>
                    <a:pt x="64" y="179"/>
                    <a:pt x="53" y="180"/>
                  </a:cubicBezTo>
                  <a:cubicBezTo>
                    <a:pt x="47" y="182"/>
                    <a:pt x="43" y="178"/>
                    <a:pt x="37" y="180"/>
                  </a:cubicBezTo>
                  <a:cubicBezTo>
                    <a:pt x="35" y="183"/>
                    <a:pt x="31" y="192"/>
                    <a:pt x="29" y="196"/>
                  </a:cubicBezTo>
                  <a:cubicBezTo>
                    <a:pt x="28" y="198"/>
                    <a:pt x="27" y="202"/>
                    <a:pt x="27" y="202"/>
                  </a:cubicBezTo>
                  <a:cubicBezTo>
                    <a:pt x="25" y="195"/>
                    <a:pt x="20" y="189"/>
                    <a:pt x="13" y="187"/>
                  </a:cubicBezTo>
                  <a:cubicBezTo>
                    <a:pt x="6" y="188"/>
                    <a:pt x="9" y="190"/>
                    <a:pt x="4" y="193"/>
                  </a:cubicBezTo>
                  <a:cubicBezTo>
                    <a:pt x="3" y="196"/>
                    <a:pt x="0" y="200"/>
                    <a:pt x="4" y="202"/>
                  </a:cubicBezTo>
                  <a:cubicBezTo>
                    <a:pt x="6" y="203"/>
                    <a:pt x="10" y="204"/>
                    <a:pt x="10" y="204"/>
                  </a:cubicBezTo>
                  <a:cubicBezTo>
                    <a:pt x="16" y="203"/>
                    <a:pt x="18" y="203"/>
                    <a:pt x="23" y="200"/>
                  </a:cubicBezTo>
                  <a:cubicBezTo>
                    <a:pt x="24" y="201"/>
                    <a:pt x="27" y="201"/>
                    <a:pt x="27" y="202"/>
                  </a:cubicBezTo>
                  <a:cubicBezTo>
                    <a:pt x="27" y="205"/>
                    <a:pt x="7" y="216"/>
                    <a:pt x="4" y="217"/>
                  </a:cubicBezTo>
                  <a:cubicBezTo>
                    <a:pt x="5" y="222"/>
                    <a:pt x="6" y="222"/>
                    <a:pt x="11" y="224"/>
                  </a:cubicBezTo>
                  <a:cubicBezTo>
                    <a:pt x="17" y="223"/>
                    <a:pt x="24" y="218"/>
                    <a:pt x="29" y="222"/>
                  </a:cubicBezTo>
                  <a:cubicBezTo>
                    <a:pt x="31" y="223"/>
                    <a:pt x="29" y="226"/>
                    <a:pt x="28" y="228"/>
                  </a:cubicBezTo>
                  <a:cubicBezTo>
                    <a:pt x="23" y="235"/>
                    <a:pt x="12" y="234"/>
                    <a:pt x="5" y="236"/>
                  </a:cubicBezTo>
                  <a:cubicBezTo>
                    <a:pt x="14" y="240"/>
                    <a:pt x="23" y="238"/>
                    <a:pt x="32" y="241"/>
                  </a:cubicBezTo>
                  <a:cubicBezTo>
                    <a:pt x="31" y="245"/>
                    <a:pt x="30" y="249"/>
                    <a:pt x="26" y="250"/>
                  </a:cubicBezTo>
                  <a:cubicBezTo>
                    <a:pt x="32" y="254"/>
                    <a:pt x="38" y="253"/>
                    <a:pt x="45" y="254"/>
                  </a:cubicBezTo>
                  <a:cubicBezTo>
                    <a:pt x="56" y="252"/>
                    <a:pt x="68" y="250"/>
                    <a:pt x="79" y="248"/>
                  </a:cubicBezTo>
                  <a:cubicBezTo>
                    <a:pt x="83" y="247"/>
                    <a:pt x="92" y="244"/>
                    <a:pt x="92" y="244"/>
                  </a:cubicBezTo>
                  <a:cubicBezTo>
                    <a:pt x="98" y="238"/>
                    <a:pt x="112" y="243"/>
                    <a:pt x="119" y="244"/>
                  </a:cubicBezTo>
                  <a:cubicBezTo>
                    <a:pt x="122" y="242"/>
                    <a:pt x="128" y="238"/>
                    <a:pt x="128" y="238"/>
                  </a:cubicBezTo>
                  <a:cubicBezTo>
                    <a:pt x="130" y="232"/>
                    <a:pt x="143" y="231"/>
                    <a:pt x="148" y="230"/>
                  </a:cubicBezTo>
                  <a:cubicBezTo>
                    <a:pt x="162" y="232"/>
                    <a:pt x="166" y="235"/>
                    <a:pt x="178" y="239"/>
                  </a:cubicBezTo>
                  <a:cubicBezTo>
                    <a:pt x="188" y="236"/>
                    <a:pt x="182" y="231"/>
                    <a:pt x="185" y="220"/>
                  </a:cubicBezTo>
                  <a:cubicBezTo>
                    <a:pt x="186" y="216"/>
                    <a:pt x="197" y="215"/>
                    <a:pt x="197" y="215"/>
                  </a:cubicBezTo>
                  <a:cubicBezTo>
                    <a:pt x="203" y="209"/>
                    <a:pt x="200" y="203"/>
                    <a:pt x="203" y="196"/>
                  </a:cubicBezTo>
                  <a:cubicBezTo>
                    <a:pt x="204" y="194"/>
                    <a:pt x="206" y="192"/>
                    <a:pt x="207" y="190"/>
                  </a:cubicBezTo>
                  <a:cubicBezTo>
                    <a:pt x="207" y="189"/>
                    <a:pt x="208" y="188"/>
                    <a:pt x="208" y="187"/>
                  </a:cubicBezTo>
                  <a:cubicBezTo>
                    <a:pt x="211" y="169"/>
                    <a:pt x="211" y="159"/>
                    <a:pt x="209" y="140"/>
                  </a:cubicBezTo>
                  <a:cubicBezTo>
                    <a:pt x="209" y="138"/>
                    <a:pt x="207" y="134"/>
                    <a:pt x="207" y="134"/>
                  </a:cubicBezTo>
                  <a:cubicBezTo>
                    <a:pt x="208" y="128"/>
                    <a:pt x="209" y="124"/>
                    <a:pt x="211" y="119"/>
                  </a:cubicBezTo>
                  <a:cubicBezTo>
                    <a:pt x="212" y="111"/>
                    <a:pt x="210" y="114"/>
                    <a:pt x="217" y="110"/>
                  </a:cubicBez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  <p:grpSp>
          <p:nvGrpSpPr>
            <p:cNvPr id="269" name="Group 70"/>
            <p:cNvGrpSpPr>
              <a:grpSpLocks noChangeAspect="1"/>
            </p:cNvGrpSpPr>
            <p:nvPr/>
          </p:nvGrpSpPr>
          <p:grpSpPr bwMode="auto">
            <a:xfrm>
              <a:off x="2582" y="1531"/>
              <a:ext cx="400" cy="1042"/>
              <a:chOff x="2717" y="1385"/>
              <a:chExt cx="395" cy="1031"/>
            </a:xfrm>
            <a:grpFill/>
          </p:grpSpPr>
          <p:sp>
            <p:nvSpPr>
              <p:cNvPr id="323" name="Freeform 71"/>
              <p:cNvSpPr>
                <a:spLocks noChangeAspect="1"/>
              </p:cNvSpPr>
              <p:nvPr/>
            </p:nvSpPr>
            <p:spPr bwMode="auto">
              <a:xfrm>
                <a:off x="2998" y="2203"/>
                <a:ext cx="50" cy="89"/>
              </a:xfrm>
              <a:custGeom>
                <a:avLst/>
                <a:gdLst>
                  <a:gd name="T0" fmla="*/ 42 w 50"/>
                  <a:gd name="T1" fmla="*/ 3 h 89"/>
                  <a:gd name="T2" fmla="*/ 24 w 50"/>
                  <a:gd name="T3" fmla="*/ 14 h 89"/>
                  <a:gd name="T4" fmla="*/ 15 w 50"/>
                  <a:gd name="T5" fmla="*/ 19 h 89"/>
                  <a:gd name="T6" fmla="*/ 0 w 50"/>
                  <a:gd name="T7" fmla="*/ 38 h 89"/>
                  <a:gd name="T8" fmla="*/ 4 w 50"/>
                  <a:gd name="T9" fmla="*/ 51 h 89"/>
                  <a:gd name="T10" fmla="*/ 0 w 50"/>
                  <a:gd name="T11" fmla="*/ 62 h 89"/>
                  <a:gd name="T12" fmla="*/ 7 w 50"/>
                  <a:gd name="T13" fmla="*/ 72 h 89"/>
                  <a:gd name="T14" fmla="*/ 6 w 50"/>
                  <a:gd name="T15" fmla="*/ 81 h 89"/>
                  <a:gd name="T16" fmla="*/ 13 w 50"/>
                  <a:gd name="T17" fmla="*/ 83 h 89"/>
                  <a:gd name="T18" fmla="*/ 23 w 50"/>
                  <a:gd name="T19" fmla="*/ 65 h 89"/>
                  <a:gd name="T20" fmla="*/ 33 w 50"/>
                  <a:gd name="T21" fmla="*/ 48 h 89"/>
                  <a:gd name="T22" fmla="*/ 23 w 50"/>
                  <a:gd name="T23" fmla="*/ 29 h 89"/>
                  <a:gd name="T24" fmla="*/ 34 w 50"/>
                  <a:gd name="T25" fmla="*/ 18 h 89"/>
                  <a:gd name="T26" fmla="*/ 48 w 50"/>
                  <a:gd name="T27" fmla="*/ 6 h 89"/>
                  <a:gd name="T28" fmla="*/ 42 w 50"/>
                  <a:gd name="T29" fmla="*/ 3 h 89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50"/>
                  <a:gd name="T46" fmla="*/ 0 h 89"/>
                  <a:gd name="T47" fmla="*/ 50 w 50"/>
                  <a:gd name="T48" fmla="*/ 89 h 89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50" h="89">
                    <a:moveTo>
                      <a:pt x="42" y="3"/>
                    </a:moveTo>
                    <a:cubicBezTo>
                      <a:pt x="27" y="4"/>
                      <a:pt x="15" y="0"/>
                      <a:pt x="24" y="14"/>
                    </a:cubicBezTo>
                    <a:cubicBezTo>
                      <a:pt x="21" y="18"/>
                      <a:pt x="20" y="18"/>
                      <a:pt x="15" y="19"/>
                    </a:cubicBezTo>
                    <a:cubicBezTo>
                      <a:pt x="7" y="24"/>
                      <a:pt x="7" y="31"/>
                      <a:pt x="0" y="38"/>
                    </a:cubicBezTo>
                    <a:cubicBezTo>
                      <a:pt x="1" y="44"/>
                      <a:pt x="2" y="46"/>
                      <a:pt x="4" y="51"/>
                    </a:cubicBezTo>
                    <a:cubicBezTo>
                      <a:pt x="3" y="55"/>
                      <a:pt x="1" y="58"/>
                      <a:pt x="0" y="62"/>
                    </a:cubicBezTo>
                    <a:cubicBezTo>
                      <a:pt x="1" y="68"/>
                      <a:pt x="1" y="70"/>
                      <a:pt x="7" y="72"/>
                    </a:cubicBezTo>
                    <a:cubicBezTo>
                      <a:pt x="10" y="76"/>
                      <a:pt x="8" y="76"/>
                      <a:pt x="6" y="81"/>
                    </a:cubicBezTo>
                    <a:cubicBezTo>
                      <a:pt x="7" y="88"/>
                      <a:pt x="9" y="89"/>
                      <a:pt x="13" y="83"/>
                    </a:cubicBezTo>
                    <a:cubicBezTo>
                      <a:pt x="15" y="71"/>
                      <a:pt x="12" y="67"/>
                      <a:pt x="23" y="65"/>
                    </a:cubicBezTo>
                    <a:cubicBezTo>
                      <a:pt x="31" y="61"/>
                      <a:pt x="27" y="54"/>
                      <a:pt x="33" y="48"/>
                    </a:cubicBezTo>
                    <a:cubicBezTo>
                      <a:pt x="30" y="40"/>
                      <a:pt x="27" y="36"/>
                      <a:pt x="23" y="29"/>
                    </a:cubicBezTo>
                    <a:cubicBezTo>
                      <a:pt x="24" y="24"/>
                      <a:pt x="29" y="21"/>
                      <a:pt x="34" y="18"/>
                    </a:cubicBezTo>
                    <a:cubicBezTo>
                      <a:pt x="37" y="8"/>
                      <a:pt x="36" y="7"/>
                      <a:pt x="48" y="6"/>
                    </a:cubicBezTo>
                    <a:cubicBezTo>
                      <a:pt x="50" y="1"/>
                      <a:pt x="50" y="3"/>
                      <a:pt x="42" y="3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24" name="Freeform 72"/>
              <p:cNvSpPr>
                <a:spLocks noChangeAspect="1"/>
              </p:cNvSpPr>
              <p:nvPr/>
            </p:nvSpPr>
            <p:spPr bwMode="auto">
              <a:xfrm>
                <a:off x="2932" y="2263"/>
                <a:ext cx="29" cy="87"/>
              </a:xfrm>
              <a:custGeom>
                <a:avLst/>
                <a:gdLst>
                  <a:gd name="T0" fmla="*/ 27 w 29"/>
                  <a:gd name="T1" fmla="*/ 0 h 87"/>
                  <a:gd name="T2" fmla="*/ 19 w 29"/>
                  <a:gd name="T3" fmla="*/ 15 h 87"/>
                  <a:gd name="T4" fmla="*/ 13 w 29"/>
                  <a:gd name="T5" fmla="*/ 30 h 87"/>
                  <a:gd name="T6" fmla="*/ 7 w 29"/>
                  <a:gd name="T7" fmla="*/ 38 h 87"/>
                  <a:gd name="T8" fmla="*/ 1 w 29"/>
                  <a:gd name="T9" fmla="*/ 57 h 87"/>
                  <a:gd name="T10" fmla="*/ 9 w 29"/>
                  <a:gd name="T11" fmla="*/ 78 h 87"/>
                  <a:gd name="T12" fmla="*/ 12 w 29"/>
                  <a:gd name="T13" fmla="*/ 85 h 87"/>
                  <a:gd name="T14" fmla="*/ 24 w 29"/>
                  <a:gd name="T15" fmla="*/ 32 h 87"/>
                  <a:gd name="T16" fmla="*/ 25 w 29"/>
                  <a:gd name="T17" fmla="*/ 17 h 87"/>
                  <a:gd name="T18" fmla="*/ 29 w 29"/>
                  <a:gd name="T19" fmla="*/ 8 h 87"/>
                  <a:gd name="T20" fmla="*/ 27 w 29"/>
                  <a:gd name="T21" fmla="*/ 0 h 87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29"/>
                  <a:gd name="T34" fmla="*/ 0 h 87"/>
                  <a:gd name="T35" fmla="*/ 29 w 29"/>
                  <a:gd name="T36" fmla="*/ 87 h 87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29" h="87">
                    <a:moveTo>
                      <a:pt x="27" y="0"/>
                    </a:moveTo>
                    <a:cubicBezTo>
                      <a:pt x="24" y="5"/>
                      <a:pt x="23" y="11"/>
                      <a:pt x="19" y="15"/>
                    </a:cubicBezTo>
                    <a:cubicBezTo>
                      <a:pt x="18" y="21"/>
                      <a:pt x="17" y="26"/>
                      <a:pt x="13" y="30"/>
                    </a:cubicBezTo>
                    <a:cubicBezTo>
                      <a:pt x="11" y="37"/>
                      <a:pt x="13" y="35"/>
                      <a:pt x="7" y="38"/>
                    </a:cubicBezTo>
                    <a:cubicBezTo>
                      <a:pt x="5" y="44"/>
                      <a:pt x="5" y="51"/>
                      <a:pt x="1" y="57"/>
                    </a:cubicBezTo>
                    <a:cubicBezTo>
                      <a:pt x="0" y="64"/>
                      <a:pt x="2" y="76"/>
                      <a:pt x="9" y="78"/>
                    </a:cubicBezTo>
                    <a:cubicBezTo>
                      <a:pt x="10" y="80"/>
                      <a:pt x="11" y="87"/>
                      <a:pt x="12" y="85"/>
                    </a:cubicBezTo>
                    <a:cubicBezTo>
                      <a:pt x="18" y="68"/>
                      <a:pt x="18" y="49"/>
                      <a:pt x="24" y="32"/>
                    </a:cubicBezTo>
                    <a:cubicBezTo>
                      <a:pt x="24" y="27"/>
                      <a:pt x="24" y="22"/>
                      <a:pt x="25" y="17"/>
                    </a:cubicBezTo>
                    <a:cubicBezTo>
                      <a:pt x="26" y="14"/>
                      <a:pt x="29" y="8"/>
                      <a:pt x="29" y="8"/>
                    </a:cubicBezTo>
                    <a:cubicBezTo>
                      <a:pt x="28" y="2"/>
                      <a:pt x="29" y="5"/>
                      <a:pt x="27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25" name="Freeform 73"/>
              <p:cNvSpPr>
                <a:spLocks noChangeAspect="1"/>
              </p:cNvSpPr>
              <p:nvPr/>
            </p:nvSpPr>
            <p:spPr bwMode="auto">
              <a:xfrm>
                <a:off x="2717" y="1385"/>
                <a:ext cx="395" cy="1031"/>
              </a:xfrm>
              <a:custGeom>
                <a:avLst/>
                <a:gdLst>
                  <a:gd name="T0" fmla="*/ 240 w 395"/>
                  <a:gd name="T1" fmla="*/ 3 h 1031"/>
                  <a:gd name="T2" fmla="*/ 240 w 395"/>
                  <a:gd name="T3" fmla="*/ 33 h 1031"/>
                  <a:gd name="T4" fmla="*/ 188 w 395"/>
                  <a:gd name="T5" fmla="*/ 73 h 1031"/>
                  <a:gd name="T6" fmla="*/ 144 w 395"/>
                  <a:gd name="T7" fmla="*/ 130 h 1031"/>
                  <a:gd name="T8" fmla="*/ 135 w 395"/>
                  <a:gd name="T9" fmla="*/ 193 h 1031"/>
                  <a:gd name="T10" fmla="*/ 103 w 395"/>
                  <a:gd name="T11" fmla="*/ 302 h 1031"/>
                  <a:gd name="T12" fmla="*/ 92 w 395"/>
                  <a:gd name="T13" fmla="*/ 331 h 1031"/>
                  <a:gd name="T14" fmla="*/ 87 w 395"/>
                  <a:gd name="T15" fmla="*/ 358 h 1031"/>
                  <a:gd name="T16" fmla="*/ 74 w 395"/>
                  <a:gd name="T17" fmla="*/ 393 h 1031"/>
                  <a:gd name="T18" fmla="*/ 29 w 395"/>
                  <a:gd name="T19" fmla="*/ 457 h 1031"/>
                  <a:gd name="T20" fmla="*/ 38 w 395"/>
                  <a:gd name="T21" fmla="*/ 563 h 1031"/>
                  <a:gd name="T22" fmla="*/ 45 w 395"/>
                  <a:gd name="T23" fmla="*/ 633 h 1031"/>
                  <a:gd name="T24" fmla="*/ 40 w 395"/>
                  <a:gd name="T25" fmla="*/ 702 h 1031"/>
                  <a:gd name="T26" fmla="*/ 21 w 395"/>
                  <a:gd name="T27" fmla="*/ 773 h 1031"/>
                  <a:gd name="T28" fmla="*/ 3 w 395"/>
                  <a:gd name="T29" fmla="*/ 771 h 1031"/>
                  <a:gd name="T30" fmla="*/ 35 w 395"/>
                  <a:gd name="T31" fmla="*/ 865 h 1031"/>
                  <a:gd name="T32" fmla="*/ 69 w 395"/>
                  <a:gd name="T33" fmla="*/ 926 h 1031"/>
                  <a:gd name="T34" fmla="*/ 94 w 395"/>
                  <a:gd name="T35" fmla="*/ 1031 h 1031"/>
                  <a:gd name="T36" fmla="*/ 136 w 395"/>
                  <a:gd name="T37" fmla="*/ 993 h 1031"/>
                  <a:gd name="T38" fmla="*/ 196 w 395"/>
                  <a:gd name="T39" fmla="*/ 963 h 1031"/>
                  <a:gd name="T40" fmla="*/ 207 w 395"/>
                  <a:gd name="T41" fmla="*/ 939 h 1031"/>
                  <a:gd name="T42" fmla="*/ 220 w 395"/>
                  <a:gd name="T43" fmla="*/ 897 h 1031"/>
                  <a:gd name="T44" fmla="*/ 201 w 395"/>
                  <a:gd name="T45" fmla="*/ 790 h 1031"/>
                  <a:gd name="T46" fmla="*/ 252 w 395"/>
                  <a:gd name="T47" fmla="*/ 750 h 1031"/>
                  <a:gd name="T48" fmla="*/ 284 w 395"/>
                  <a:gd name="T49" fmla="*/ 745 h 1031"/>
                  <a:gd name="T50" fmla="*/ 298 w 395"/>
                  <a:gd name="T51" fmla="*/ 693 h 1031"/>
                  <a:gd name="T52" fmla="*/ 255 w 395"/>
                  <a:gd name="T53" fmla="*/ 645 h 1031"/>
                  <a:gd name="T54" fmla="*/ 226 w 395"/>
                  <a:gd name="T55" fmla="*/ 637 h 1031"/>
                  <a:gd name="T56" fmla="*/ 226 w 395"/>
                  <a:gd name="T57" fmla="*/ 507 h 1031"/>
                  <a:gd name="T58" fmla="*/ 305 w 395"/>
                  <a:gd name="T59" fmla="*/ 399 h 1031"/>
                  <a:gd name="T60" fmla="*/ 332 w 395"/>
                  <a:gd name="T61" fmla="*/ 365 h 1031"/>
                  <a:gd name="T62" fmla="*/ 312 w 395"/>
                  <a:gd name="T63" fmla="*/ 309 h 1031"/>
                  <a:gd name="T64" fmla="*/ 372 w 395"/>
                  <a:gd name="T65" fmla="*/ 229 h 1031"/>
                  <a:gd name="T66" fmla="*/ 384 w 395"/>
                  <a:gd name="T67" fmla="*/ 213 h 1031"/>
                  <a:gd name="T68" fmla="*/ 365 w 395"/>
                  <a:gd name="T69" fmla="*/ 133 h 1031"/>
                  <a:gd name="T70" fmla="*/ 340 w 395"/>
                  <a:gd name="T71" fmla="*/ 62 h 1031"/>
                  <a:gd name="T72" fmla="*/ 253 w 395"/>
                  <a:gd name="T73" fmla="*/ 0 h 1031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395"/>
                  <a:gd name="T112" fmla="*/ 0 h 1031"/>
                  <a:gd name="T113" fmla="*/ 395 w 395"/>
                  <a:gd name="T114" fmla="*/ 1031 h 1031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395" h="1031">
                    <a:moveTo>
                      <a:pt x="253" y="0"/>
                    </a:moveTo>
                    <a:cubicBezTo>
                      <a:pt x="251" y="0"/>
                      <a:pt x="240" y="2"/>
                      <a:pt x="240" y="3"/>
                    </a:cubicBezTo>
                    <a:cubicBezTo>
                      <a:pt x="239" y="7"/>
                      <a:pt x="244" y="20"/>
                      <a:pt x="244" y="25"/>
                    </a:cubicBezTo>
                    <a:cubicBezTo>
                      <a:pt x="243" y="28"/>
                      <a:pt x="240" y="33"/>
                      <a:pt x="240" y="33"/>
                    </a:cubicBezTo>
                    <a:cubicBezTo>
                      <a:pt x="239" y="38"/>
                      <a:pt x="245" y="47"/>
                      <a:pt x="236" y="54"/>
                    </a:cubicBezTo>
                    <a:cubicBezTo>
                      <a:pt x="159" y="33"/>
                      <a:pt x="202" y="64"/>
                      <a:pt x="188" y="73"/>
                    </a:cubicBezTo>
                    <a:cubicBezTo>
                      <a:pt x="172" y="83"/>
                      <a:pt x="202" y="87"/>
                      <a:pt x="179" y="88"/>
                    </a:cubicBezTo>
                    <a:cubicBezTo>
                      <a:pt x="135" y="86"/>
                      <a:pt x="146" y="119"/>
                      <a:pt x="144" y="130"/>
                    </a:cubicBezTo>
                    <a:cubicBezTo>
                      <a:pt x="148" y="137"/>
                      <a:pt x="146" y="147"/>
                      <a:pt x="148" y="155"/>
                    </a:cubicBezTo>
                    <a:cubicBezTo>
                      <a:pt x="145" y="174"/>
                      <a:pt x="145" y="177"/>
                      <a:pt x="135" y="193"/>
                    </a:cubicBezTo>
                    <a:cubicBezTo>
                      <a:pt x="128" y="208"/>
                      <a:pt x="111" y="225"/>
                      <a:pt x="106" y="243"/>
                    </a:cubicBezTo>
                    <a:cubicBezTo>
                      <a:pt x="102" y="265"/>
                      <a:pt x="102" y="276"/>
                      <a:pt x="103" y="302"/>
                    </a:cubicBezTo>
                    <a:cubicBezTo>
                      <a:pt x="101" y="308"/>
                      <a:pt x="101" y="311"/>
                      <a:pt x="96" y="315"/>
                    </a:cubicBezTo>
                    <a:cubicBezTo>
                      <a:pt x="95" y="320"/>
                      <a:pt x="94" y="326"/>
                      <a:pt x="92" y="331"/>
                    </a:cubicBezTo>
                    <a:cubicBezTo>
                      <a:pt x="91" y="334"/>
                      <a:pt x="88" y="341"/>
                      <a:pt x="88" y="341"/>
                    </a:cubicBezTo>
                    <a:cubicBezTo>
                      <a:pt x="87" y="349"/>
                      <a:pt x="83" y="350"/>
                      <a:pt x="87" y="358"/>
                    </a:cubicBezTo>
                    <a:cubicBezTo>
                      <a:pt x="90" y="371"/>
                      <a:pt x="99" y="375"/>
                      <a:pt x="93" y="397"/>
                    </a:cubicBezTo>
                    <a:cubicBezTo>
                      <a:pt x="86" y="396"/>
                      <a:pt x="81" y="395"/>
                      <a:pt x="74" y="393"/>
                    </a:cubicBezTo>
                    <a:cubicBezTo>
                      <a:pt x="54" y="388"/>
                      <a:pt x="50" y="411"/>
                      <a:pt x="40" y="421"/>
                    </a:cubicBezTo>
                    <a:cubicBezTo>
                      <a:pt x="38" y="432"/>
                      <a:pt x="34" y="447"/>
                      <a:pt x="29" y="457"/>
                    </a:cubicBezTo>
                    <a:cubicBezTo>
                      <a:pt x="38" y="472"/>
                      <a:pt x="29" y="481"/>
                      <a:pt x="34" y="493"/>
                    </a:cubicBezTo>
                    <a:cubicBezTo>
                      <a:pt x="36" y="512"/>
                      <a:pt x="42" y="526"/>
                      <a:pt x="38" y="563"/>
                    </a:cubicBezTo>
                    <a:cubicBezTo>
                      <a:pt x="35" y="590"/>
                      <a:pt x="51" y="584"/>
                      <a:pt x="64" y="596"/>
                    </a:cubicBezTo>
                    <a:cubicBezTo>
                      <a:pt x="65" y="607"/>
                      <a:pt x="46" y="623"/>
                      <a:pt x="45" y="633"/>
                    </a:cubicBezTo>
                    <a:cubicBezTo>
                      <a:pt x="44" y="645"/>
                      <a:pt x="59" y="657"/>
                      <a:pt x="58" y="669"/>
                    </a:cubicBezTo>
                    <a:cubicBezTo>
                      <a:pt x="53" y="679"/>
                      <a:pt x="48" y="693"/>
                      <a:pt x="40" y="702"/>
                    </a:cubicBezTo>
                    <a:cubicBezTo>
                      <a:pt x="32" y="709"/>
                      <a:pt x="29" y="725"/>
                      <a:pt x="28" y="737"/>
                    </a:cubicBezTo>
                    <a:cubicBezTo>
                      <a:pt x="29" y="753"/>
                      <a:pt x="27" y="758"/>
                      <a:pt x="21" y="773"/>
                    </a:cubicBezTo>
                    <a:cubicBezTo>
                      <a:pt x="18" y="778"/>
                      <a:pt x="8" y="757"/>
                      <a:pt x="5" y="757"/>
                    </a:cubicBezTo>
                    <a:cubicBezTo>
                      <a:pt x="1" y="763"/>
                      <a:pt x="0" y="764"/>
                      <a:pt x="3" y="771"/>
                    </a:cubicBezTo>
                    <a:cubicBezTo>
                      <a:pt x="5" y="784"/>
                      <a:pt x="15" y="823"/>
                      <a:pt x="20" y="838"/>
                    </a:cubicBezTo>
                    <a:cubicBezTo>
                      <a:pt x="22" y="849"/>
                      <a:pt x="32" y="855"/>
                      <a:pt x="35" y="865"/>
                    </a:cubicBezTo>
                    <a:cubicBezTo>
                      <a:pt x="39" y="877"/>
                      <a:pt x="43" y="897"/>
                      <a:pt x="50" y="907"/>
                    </a:cubicBezTo>
                    <a:cubicBezTo>
                      <a:pt x="59" y="911"/>
                      <a:pt x="63" y="918"/>
                      <a:pt x="69" y="926"/>
                    </a:cubicBezTo>
                    <a:cubicBezTo>
                      <a:pt x="72" y="940"/>
                      <a:pt x="75" y="958"/>
                      <a:pt x="64" y="969"/>
                    </a:cubicBezTo>
                    <a:cubicBezTo>
                      <a:pt x="68" y="986"/>
                      <a:pt x="81" y="1021"/>
                      <a:pt x="94" y="1031"/>
                    </a:cubicBezTo>
                    <a:cubicBezTo>
                      <a:pt x="110" y="1029"/>
                      <a:pt x="124" y="1029"/>
                      <a:pt x="140" y="1027"/>
                    </a:cubicBezTo>
                    <a:cubicBezTo>
                      <a:pt x="148" y="1016"/>
                      <a:pt x="140" y="1004"/>
                      <a:pt x="136" y="993"/>
                    </a:cubicBezTo>
                    <a:cubicBezTo>
                      <a:pt x="141" y="973"/>
                      <a:pt x="160" y="970"/>
                      <a:pt x="177" y="969"/>
                    </a:cubicBezTo>
                    <a:cubicBezTo>
                      <a:pt x="184" y="966"/>
                      <a:pt x="189" y="966"/>
                      <a:pt x="196" y="963"/>
                    </a:cubicBezTo>
                    <a:cubicBezTo>
                      <a:pt x="197" y="956"/>
                      <a:pt x="201" y="951"/>
                      <a:pt x="204" y="945"/>
                    </a:cubicBezTo>
                    <a:cubicBezTo>
                      <a:pt x="205" y="943"/>
                      <a:pt x="207" y="939"/>
                      <a:pt x="207" y="939"/>
                    </a:cubicBezTo>
                    <a:cubicBezTo>
                      <a:pt x="209" y="929"/>
                      <a:pt x="212" y="918"/>
                      <a:pt x="215" y="909"/>
                    </a:cubicBezTo>
                    <a:cubicBezTo>
                      <a:pt x="216" y="905"/>
                      <a:pt x="220" y="897"/>
                      <a:pt x="220" y="897"/>
                    </a:cubicBezTo>
                    <a:cubicBezTo>
                      <a:pt x="223" y="877"/>
                      <a:pt x="220" y="851"/>
                      <a:pt x="226" y="832"/>
                    </a:cubicBezTo>
                    <a:cubicBezTo>
                      <a:pt x="224" y="801"/>
                      <a:pt x="227" y="803"/>
                      <a:pt x="201" y="790"/>
                    </a:cubicBezTo>
                    <a:cubicBezTo>
                      <a:pt x="206" y="783"/>
                      <a:pt x="227" y="780"/>
                      <a:pt x="236" y="779"/>
                    </a:cubicBezTo>
                    <a:cubicBezTo>
                      <a:pt x="248" y="772"/>
                      <a:pt x="241" y="756"/>
                      <a:pt x="252" y="750"/>
                    </a:cubicBezTo>
                    <a:cubicBezTo>
                      <a:pt x="256" y="753"/>
                      <a:pt x="257" y="760"/>
                      <a:pt x="260" y="764"/>
                    </a:cubicBezTo>
                    <a:cubicBezTo>
                      <a:pt x="271" y="760"/>
                      <a:pt x="276" y="753"/>
                      <a:pt x="284" y="745"/>
                    </a:cubicBezTo>
                    <a:cubicBezTo>
                      <a:pt x="280" y="729"/>
                      <a:pt x="264" y="732"/>
                      <a:pt x="245" y="731"/>
                    </a:cubicBezTo>
                    <a:cubicBezTo>
                      <a:pt x="247" y="722"/>
                      <a:pt x="295" y="707"/>
                      <a:pt x="298" y="693"/>
                    </a:cubicBezTo>
                    <a:cubicBezTo>
                      <a:pt x="300" y="679"/>
                      <a:pt x="283" y="659"/>
                      <a:pt x="272" y="651"/>
                    </a:cubicBezTo>
                    <a:cubicBezTo>
                      <a:pt x="271" y="644"/>
                      <a:pt x="262" y="646"/>
                      <a:pt x="255" y="645"/>
                    </a:cubicBezTo>
                    <a:cubicBezTo>
                      <a:pt x="247" y="638"/>
                      <a:pt x="253" y="642"/>
                      <a:pt x="240" y="640"/>
                    </a:cubicBezTo>
                    <a:cubicBezTo>
                      <a:pt x="235" y="639"/>
                      <a:pt x="226" y="637"/>
                      <a:pt x="226" y="637"/>
                    </a:cubicBezTo>
                    <a:cubicBezTo>
                      <a:pt x="218" y="626"/>
                      <a:pt x="221" y="632"/>
                      <a:pt x="221" y="605"/>
                    </a:cubicBezTo>
                    <a:cubicBezTo>
                      <a:pt x="221" y="585"/>
                      <a:pt x="219" y="536"/>
                      <a:pt x="226" y="507"/>
                    </a:cubicBezTo>
                    <a:cubicBezTo>
                      <a:pt x="230" y="491"/>
                      <a:pt x="240" y="477"/>
                      <a:pt x="249" y="464"/>
                    </a:cubicBezTo>
                    <a:cubicBezTo>
                      <a:pt x="266" y="441"/>
                      <a:pt x="282" y="417"/>
                      <a:pt x="305" y="399"/>
                    </a:cubicBezTo>
                    <a:cubicBezTo>
                      <a:pt x="312" y="393"/>
                      <a:pt x="317" y="387"/>
                      <a:pt x="324" y="381"/>
                    </a:cubicBezTo>
                    <a:cubicBezTo>
                      <a:pt x="331" y="369"/>
                      <a:pt x="329" y="375"/>
                      <a:pt x="332" y="365"/>
                    </a:cubicBezTo>
                    <a:cubicBezTo>
                      <a:pt x="330" y="342"/>
                      <a:pt x="344" y="349"/>
                      <a:pt x="336" y="334"/>
                    </a:cubicBezTo>
                    <a:cubicBezTo>
                      <a:pt x="335" y="327"/>
                      <a:pt x="318" y="313"/>
                      <a:pt x="312" y="309"/>
                    </a:cubicBezTo>
                    <a:cubicBezTo>
                      <a:pt x="314" y="296"/>
                      <a:pt x="334" y="264"/>
                      <a:pt x="344" y="251"/>
                    </a:cubicBezTo>
                    <a:cubicBezTo>
                      <a:pt x="350" y="241"/>
                      <a:pt x="360" y="231"/>
                      <a:pt x="372" y="229"/>
                    </a:cubicBezTo>
                    <a:cubicBezTo>
                      <a:pt x="380" y="225"/>
                      <a:pt x="386" y="229"/>
                      <a:pt x="395" y="227"/>
                    </a:cubicBezTo>
                    <a:cubicBezTo>
                      <a:pt x="388" y="225"/>
                      <a:pt x="387" y="220"/>
                      <a:pt x="384" y="213"/>
                    </a:cubicBezTo>
                    <a:cubicBezTo>
                      <a:pt x="383" y="206"/>
                      <a:pt x="377" y="199"/>
                      <a:pt x="373" y="193"/>
                    </a:cubicBezTo>
                    <a:cubicBezTo>
                      <a:pt x="370" y="173"/>
                      <a:pt x="378" y="150"/>
                      <a:pt x="365" y="133"/>
                    </a:cubicBezTo>
                    <a:cubicBezTo>
                      <a:pt x="362" y="120"/>
                      <a:pt x="351" y="107"/>
                      <a:pt x="346" y="94"/>
                    </a:cubicBezTo>
                    <a:cubicBezTo>
                      <a:pt x="345" y="80"/>
                      <a:pt x="352" y="69"/>
                      <a:pt x="340" y="62"/>
                    </a:cubicBezTo>
                    <a:cubicBezTo>
                      <a:pt x="327" y="46"/>
                      <a:pt x="304" y="36"/>
                      <a:pt x="287" y="24"/>
                    </a:cubicBezTo>
                    <a:cubicBezTo>
                      <a:pt x="276" y="16"/>
                      <a:pt x="267" y="5"/>
                      <a:pt x="253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</p:grpSp>
        <p:grpSp>
          <p:nvGrpSpPr>
            <p:cNvPr id="270" name="Group 74"/>
            <p:cNvGrpSpPr>
              <a:grpSpLocks/>
            </p:cNvGrpSpPr>
            <p:nvPr/>
          </p:nvGrpSpPr>
          <p:grpSpPr bwMode="auto">
            <a:xfrm>
              <a:off x="2358" y="1338"/>
              <a:ext cx="737" cy="1042"/>
              <a:chOff x="1955" y="-432"/>
              <a:chExt cx="2919" cy="4123"/>
            </a:xfrm>
            <a:grpFill/>
          </p:grpSpPr>
          <p:sp>
            <p:nvSpPr>
              <p:cNvPr id="321" name="Freeform 75"/>
              <p:cNvSpPr>
                <a:spLocks noChangeAspect="1"/>
              </p:cNvSpPr>
              <p:nvPr/>
            </p:nvSpPr>
            <p:spPr bwMode="auto">
              <a:xfrm>
                <a:off x="3019" y="312"/>
                <a:ext cx="392" cy="468"/>
              </a:xfrm>
              <a:custGeom>
                <a:avLst/>
                <a:gdLst>
                  <a:gd name="T0" fmla="*/ 2147483647 w 98"/>
                  <a:gd name="T1" fmla="*/ 2147483647 h 117"/>
                  <a:gd name="T2" fmla="*/ 2147483647 w 98"/>
                  <a:gd name="T3" fmla="*/ 2147483647 h 117"/>
                  <a:gd name="T4" fmla="*/ 2147483647 w 98"/>
                  <a:gd name="T5" fmla="*/ 2147483647 h 117"/>
                  <a:gd name="T6" fmla="*/ 2147483647 w 98"/>
                  <a:gd name="T7" fmla="*/ 2147483647 h 117"/>
                  <a:gd name="T8" fmla="*/ 2147483647 w 98"/>
                  <a:gd name="T9" fmla="*/ 2147483647 h 117"/>
                  <a:gd name="T10" fmla="*/ 2147483647 w 98"/>
                  <a:gd name="T11" fmla="*/ 2147483647 h 117"/>
                  <a:gd name="T12" fmla="*/ 2147483647 w 98"/>
                  <a:gd name="T13" fmla="*/ 2147483647 h 117"/>
                  <a:gd name="T14" fmla="*/ 2147483647 w 98"/>
                  <a:gd name="T15" fmla="*/ 2147483647 h 117"/>
                  <a:gd name="T16" fmla="*/ 2147483647 w 98"/>
                  <a:gd name="T17" fmla="*/ 0 h 117"/>
                  <a:gd name="T18" fmla="*/ 2147483647 w 98"/>
                  <a:gd name="T19" fmla="*/ 2147483647 h 117"/>
                  <a:gd name="T20" fmla="*/ 2147483647 w 98"/>
                  <a:gd name="T21" fmla="*/ 2147483647 h 117"/>
                  <a:gd name="T22" fmla="*/ 2147483647 w 98"/>
                  <a:gd name="T23" fmla="*/ 2147483647 h 117"/>
                  <a:gd name="T24" fmla="*/ 2147483647 w 98"/>
                  <a:gd name="T25" fmla="*/ 2147483647 h 117"/>
                  <a:gd name="T26" fmla="*/ 2147483647 w 98"/>
                  <a:gd name="T27" fmla="*/ 2147483647 h 117"/>
                  <a:gd name="T28" fmla="*/ 2147483647 w 98"/>
                  <a:gd name="T29" fmla="*/ 2147483647 h 117"/>
                  <a:gd name="T30" fmla="*/ 2147483647 w 98"/>
                  <a:gd name="T31" fmla="*/ 2147483647 h 117"/>
                  <a:gd name="T32" fmla="*/ 2147483647 w 98"/>
                  <a:gd name="T33" fmla="*/ 2147483647 h 117"/>
                  <a:gd name="T34" fmla="*/ 2147483647 w 98"/>
                  <a:gd name="T35" fmla="*/ 2147483647 h 117"/>
                  <a:gd name="T36" fmla="*/ 2147483647 w 98"/>
                  <a:gd name="T37" fmla="*/ 2147483647 h 117"/>
                  <a:gd name="T38" fmla="*/ 2147483647 w 98"/>
                  <a:gd name="T39" fmla="*/ 2147483647 h 117"/>
                  <a:gd name="T40" fmla="*/ 2147483647 w 98"/>
                  <a:gd name="T41" fmla="*/ 2147483647 h 117"/>
                  <a:gd name="T42" fmla="*/ 0 w 98"/>
                  <a:gd name="T43" fmla="*/ 2147483647 h 117"/>
                  <a:gd name="T44" fmla="*/ 2147483647 w 98"/>
                  <a:gd name="T45" fmla="*/ 2147483647 h 117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98"/>
                  <a:gd name="T70" fmla="*/ 0 h 117"/>
                  <a:gd name="T71" fmla="*/ 98 w 98"/>
                  <a:gd name="T72" fmla="*/ 117 h 117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98" h="117">
                    <a:moveTo>
                      <a:pt x="14" y="94"/>
                    </a:moveTo>
                    <a:cubicBezTo>
                      <a:pt x="22" y="88"/>
                      <a:pt x="22" y="81"/>
                      <a:pt x="30" y="74"/>
                    </a:cubicBezTo>
                    <a:cubicBezTo>
                      <a:pt x="32" y="68"/>
                      <a:pt x="33" y="76"/>
                      <a:pt x="39" y="74"/>
                    </a:cubicBezTo>
                    <a:cubicBezTo>
                      <a:pt x="45" y="75"/>
                      <a:pt x="46" y="68"/>
                      <a:pt x="52" y="70"/>
                    </a:cubicBezTo>
                    <a:cubicBezTo>
                      <a:pt x="59" y="69"/>
                      <a:pt x="64" y="66"/>
                      <a:pt x="56" y="60"/>
                    </a:cubicBezTo>
                    <a:cubicBezTo>
                      <a:pt x="51" y="57"/>
                      <a:pt x="40" y="54"/>
                      <a:pt x="40" y="54"/>
                    </a:cubicBezTo>
                    <a:cubicBezTo>
                      <a:pt x="37" y="44"/>
                      <a:pt x="54" y="34"/>
                      <a:pt x="60" y="33"/>
                    </a:cubicBezTo>
                    <a:cubicBezTo>
                      <a:pt x="63" y="29"/>
                      <a:pt x="72" y="38"/>
                      <a:pt x="74" y="33"/>
                    </a:cubicBezTo>
                    <a:cubicBezTo>
                      <a:pt x="73" y="24"/>
                      <a:pt x="67" y="3"/>
                      <a:pt x="79" y="0"/>
                    </a:cubicBezTo>
                    <a:cubicBezTo>
                      <a:pt x="84" y="2"/>
                      <a:pt x="85" y="2"/>
                      <a:pt x="86" y="7"/>
                    </a:cubicBezTo>
                    <a:cubicBezTo>
                      <a:pt x="85" y="15"/>
                      <a:pt x="83" y="15"/>
                      <a:pt x="79" y="21"/>
                    </a:cubicBezTo>
                    <a:cubicBezTo>
                      <a:pt x="78" y="25"/>
                      <a:pt x="77" y="26"/>
                      <a:pt x="80" y="31"/>
                    </a:cubicBezTo>
                    <a:cubicBezTo>
                      <a:pt x="81" y="33"/>
                      <a:pt x="84" y="37"/>
                      <a:pt x="84" y="37"/>
                    </a:cubicBezTo>
                    <a:cubicBezTo>
                      <a:pt x="88" y="35"/>
                      <a:pt x="92" y="32"/>
                      <a:pt x="97" y="30"/>
                    </a:cubicBezTo>
                    <a:cubicBezTo>
                      <a:pt x="98" y="32"/>
                      <a:pt x="88" y="46"/>
                      <a:pt x="85" y="51"/>
                    </a:cubicBezTo>
                    <a:cubicBezTo>
                      <a:pt x="82" y="56"/>
                      <a:pt x="84" y="58"/>
                      <a:pt x="79" y="63"/>
                    </a:cubicBezTo>
                    <a:cubicBezTo>
                      <a:pt x="72" y="79"/>
                      <a:pt x="78" y="81"/>
                      <a:pt x="56" y="82"/>
                    </a:cubicBezTo>
                    <a:cubicBezTo>
                      <a:pt x="50" y="84"/>
                      <a:pt x="43" y="83"/>
                      <a:pt x="37" y="85"/>
                    </a:cubicBezTo>
                    <a:cubicBezTo>
                      <a:pt x="36" y="85"/>
                      <a:pt x="32" y="93"/>
                      <a:pt x="31" y="94"/>
                    </a:cubicBezTo>
                    <a:cubicBezTo>
                      <a:pt x="26" y="100"/>
                      <a:pt x="22" y="101"/>
                      <a:pt x="16" y="105"/>
                    </a:cubicBezTo>
                    <a:cubicBezTo>
                      <a:pt x="12" y="111"/>
                      <a:pt x="15" y="107"/>
                      <a:pt x="6" y="114"/>
                    </a:cubicBezTo>
                    <a:cubicBezTo>
                      <a:pt x="4" y="115"/>
                      <a:pt x="0" y="117"/>
                      <a:pt x="0" y="117"/>
                    </a:cubicBezTo>
                    <a:lnTo>
                      <a:pt x="14" y="94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22" name="Freeform 76"/>
              <p:cNvSpPr>
                <a:spLocks noChangeAspect="1"/>
              </p:cNvSpPr>
              <p:nvPr/>
            </p:nvSpPr>
            <p:spPr bwMode="auto">
              <a:xfrm>
                <a:off x="1955" y="-432"/>
                <a:ext cx="2919" cy="4123"/>
              </a:xfrm>
              <a:custGeom>
                <a:avLst/>
                <a:gdLst>
                  <a:gd name="T0" fmla="*/ 1000 w 2919"/>
                  <a:gd name="T1" fmla="*/ 3731 h 4123"/>
                  <a:gd name="T2" fmla="*/ 1064 w 2919"/>
                  <a:gd name="T3" fmla="*/ 3291 h 4123"/>
                  <a:gd name="T4" fmla="*/ 1044 w 2919"/>
                  <a:gd name="T5" fmla="*/ 2867 h 4123"/>
                  <a:gd name="T6" fmla="*/ 1050 w 2919"/>
                  <a:gd name="T7" fmla="*/ 2452 h 4123"/>
                  <a:gd name="T8" fmla="*/ 1258 w 2919"/>
                  <a:gd name="T9" fmla="*/ 2352 h 4123"/>
                  <a:gd name="T10" fmla="*/ 1261 w 2919"/>
                  <a:gd name="T11" fmla="*/ 2075 h 4123"/>
                  <a:gd name="T12" fmla="*/ 1309 w 2919"/>
                  <a:gd name="T13" fmla="*/ 1734 h 4123"/>
                  <a:gd name="T14" fmla="*/ 1463 w 2919"/>
                  <a:gd name="T15" fmla="*/ 1288 h 4123"/>
                  <a:gd name="T16" fmla="*/ 1834 w 2919"/>
                  <a:gd name="T17" fmla="*/ 980 h 4123"/>
                  <a:gd name="T18" fmla="*/ 1967 w 2919"/>
                  <a:gd name="T19" fmla="*/ 684 h 4123"/>
                  <a:gd name="T20" fmla="*/ 2443 w 2919"/>
                  <a:gd name="T21" fmla="*/ 676 h 4123"/>
                  <a:gd name="T22" fmla="*/ 2514 w 2919"/>
                  <a:gd name="T23" fmla="*/ 381 h 4123"/>
                  <a:gd name="T24" fmla="*/ 2761 w 2919"/>
                  <a:gd name="T25" fmla="*/ 406 h 4123"/>
                  <a:gd name="T26" fmla="*/ 2857 w 2919"/>
                  <a:gd name="T27" fmla="*/ 444 h 4123"/>
                  <a:gd name="T28" fmla="*/ 2695 w 2919"/>
                  <a:gd name="T29" fmla="*/ 268 h 4123"/>
                  <a:gd name="T30" fmla="*/ 2647 w 2919"/>
                  <a:gd name="T31" fmla="*/ 40 h 4123"/>
                  <a:gd name="T32" fmla="*/ 2435 w 2919"/>
                  <a:gd name="T33" fmla="*/ 244 h 4123"/>
                  <a:gd name="T34" fmla="*/ 2319 w 2919"/>
                  <a:gd name="T35" fmla="*/ 340 h 4123"/>
                  <a:gd name="T36" fmla="*/ 2183 w 2919"/>
                  <a:gd name="T37" fmla="*/ 168 h 4123"/>
                  <a:gd name="T38" fmla="*/ 2007 w 2919"/>
                  <a:gd name="T39" fmla="*/ 360 h 4123"/>
                  <a:gd name="T40" fmla="*/ 1823 w 2919"/>
                  <a:gd name="T41" fmla="*/ 632 h 4123"/>
                  <a:gd name="T42" fmla="*/ 1695 w 2919"/>
                  <a:gd name="T43" fmla="*/ 520 h 4123"/>
                  <a:gd name="T44" fmla="*/ 1675 w 2919"/>
                  <a:gd name="T45" fmla="*/ 648 h 4123"/>
                  <a:gd name="T46" fmla="*/ 1523 w 2919"/>
                  <a:gd name="T47" fmla="*/ 820 h 4123"/>
                  <a:gd name="T48" fmla="*/ 1559 w 2919"/>
                  <a:gd name="T49" fmla="*/ 996 h 4123"/>
                  <a:gd name="T50" fmla="*/ 1324 w 2919"/>
                  <a:gd name="T51" fmla="*/ 1244 h 4123"/>
                  <a:gd name="T52" fmla="*/ 1368 w 2919"/>
                  <a:gd name="T53" fmla="*/ 1380 h 4123"/>
                  <a:gd name="T54" fmla="*/ 1220 w 2919"/>
                  <a:gd name="T55" fmla="*/ 1444 h 4123"/>
                  <a:gd name="T56" fmla="*/ 1116 w 2919"/>
                  <a:gd name="T57" fmla="*/ 1656 h 4123"/>
                  <a:gd name="T58" fmla="*/ 1092 w 2919"/>
                  <a:gd name="T59" fmla="*/ 1784 h 4123"/>
                  <a:gd name="T60" fmla="*/ 1044 w 2919"/>
                  <a:gd name="T61" fmla="*/ 1968 h 4123"/>
                  <a:gd name="T62" fmla="*/ 976 w 2919"/>
                  <a:gd name="T63" fmla="*/ 2087 h 4123"/>
                  <a:gd name="T64" fmla="*/ 720 w 2919"/>
                  <a:gd name="T65" fmla="*/ 2375 h 4123"/>
                  <a:gd name="T66" fmla="*/ 828 w 2919"/>
                  <a:gd name="T67" fmla="*/ 2539 h 4123"/>
                  <a:gd name="T68" fmla="*/ 608 w 2919"/>
                  <a:gd name="T69" fmla="*/ 2539 h 4123"/>
                  <a:gd name="T70" fmla="*/ 496 w 2919"/>
                  <a:gd name="T71" fmla="*/ 2671 h 4123"/>
                  <a:gd name="T72" fmla="*/ 332 w 2919"/>
                  <a:gd name="T73" fmla="*/ 2791 h 4123"/>
                  <a:gd name="T74" fmla="*/ 188 w 2919"/>
                  <a:gd name="T75" fmla="*/ 2855 h 4123"/>
                  <a:gd name="T76" fmla="*/ 296 w 2919"/>
                  <a:gd name="T77" fmla="*/ 3011 h 4123"/>
                  <a:gd name="T78" fmla="*/ 216 w 2919"/>
                  <a:gd name="T79" fmla="*/ 3163 h 4123"/>
                  <a:gd name="T80" fmla="*/ 8 w 2919"/>
                  <a:gd name="T81" fmla="*/ 3295 h 4123"/>
                  <a:gd name="T82" fmla="*/ 268 w 2919"/>
                  <a:gd name="T83" fmla="*/ 3411 h 4123"/>
                  <a:gd name="T84" fmla="*/ 160 w 2919"/>
                  <a:gd name="T85" fmla="*/ 3471 h 4123"/>
                  <a:gd name="T86" fmla="*/ 112 w 2919"/>
                  <a:gd name="T87" fmla="*/ 3607 h 4123"/>
                  <a:gd name="T88" fmla="*/ 116 w 2919"/>
                  <a:gd name="T89" fmla="*/ 3679 h 4123"/>
                  <a:gd name="T90" fmla="*/ 140 w 2919"/>
                  <a:gd name="T91" fmla="*/ 3795 h 4123"/>
                  <a:gd name="T92" fmla="*/ 312 w 2919"/>
                  <a:gd name="T93" fmla="*/ 4103 h 4123"/>
                  <a:gd name="T94" fmla="*/ 660 w 2919"/>
                  <a:gd name="T95" fmla="*/ 3863 h 4123"/>
                  <a:gd name="T96" fmla="*/ 896 w 2919"/>
                  <a:gd name="T97" fmla="*/ 3739 h 4123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2919"/>
                  <a:gd name="T148" fmla="*/ 0 h 4123"/>
                  <a:gd name="T149" fmla="*/ 2919 w 2919"/>
                  <a:gd name="T150" fmla="*/ 4123 h 4123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2919" h="4123">
                    <a:moveTo>
                      <a:pt x="908" y="3795"/>
                    </a:moveTo>
                    <a:cubicBezTo>
                      <a:pt x="936" y="3799"/>
                      <a:pt x="940" y="3846"/>
                      <a:pt x="969" y="3860"/>
                    </a:cubicBezTo>
                    <a:cubicBezTo>
                      <a:pt x="984" y="3828"/>
                      <a:pt x="1000" y="3779"/>
                      <a:pt x="1000" y="3731"/>
                    </a:cubicBezTo>
                    <a:cubicBezTo>
                      <a:pt x="1004" y="3695"/>
                      <a:pt x="1012" y="3591"/>
                      <a:pt x="1044" y="3575"/>
                    </a:cubicBezTo>
                    <a:cubicBezTo>
                      <a:pt x="1080" y="3527"/>
                      <a:pt x="1088" y="3503"/>
                      <a:pt x="1116" y="3447"/>
                    </a:cubicBezTo>
                    <a:cubicBezTo>
                      <a:pt x="1131" y="3395"/>
                      <a:pt x="1060" y="3339"/>
                      <a:pt x="1064" y="3291"/>
                    </a:cubicBezTo>
                    <a:cubicBezTo>
                      <a:pt x="1072" y="3259"/>
                      <a:pt x="1148" y="3192"/>
                      <a:pt x="1144" y="3152"/>
                    </a:cubicBezTo>
                    <a:cubicBezTo>
                      <a:pt x="1136" y="3128"/>
                      <a:pt x="1057" y="3114"/>
                      <a:pt x="1041" y="3066"/>
                    </a:cubicBezTo>
                    <a:cubicBezTo>
                      <a:pt x="1037" y="3010"/>
                      <a:pt x="1050" y="2922"/>
                      <a:pt x="1044" y="2867"/>
                    </a:cubicBezTo>
                    <a:cubicBezTo>
                      <a:pt x="1038" y="2795"/>
                      <a:pt x="1009" y="2712"/>
                      <a:pt x="1021" y="2658"/>
                    </a:cubicBezTo>
                    <a:cubicBezTo>
                      <a:pt x="1021" y="2606"/>
                      <a:pt x="1001" y="2620"/>
                      <a:pt x="1006" y="2586"/>
                    </a:cubicBezTo>
                    <a:cubicBezTo>
                      <a:pt x="1023" y="2550"/>
                      <a:pt x="1040" y="2479"/>
                      <a:pt x="1050" y="2452"/>
                    </a:cubicBezTo>
                    <a:cubicBezTo>
                      <a:pt x="1060" y="2425"/>
                      <a:pt x="1053" y="2442"/>
                      <a:pt x="1068" y="2423"/>
                    </a:cubicBezTo>
                    <a:cubicBezTo>
                      <a:pt x="1097" y="2381"/>
                      <a:pt x="1098" y="2363"/>
                      <a:pt x="1140" y="2336"/>
                    </a:cubicBezTo>
                    <a:cubicBezTo>
                      <a:pt x="1172" y="2324"/>
                      <a:pt x="1219" y="2351"/>
                      <a:pt x="1258" y="2352"/>
                    </a:cubicBezTo>
                    <a:cubicBezTo>
                      <a:pt x="1282" y="2291"/>
                      <a:pt x="1251" y="2230"/>
                      <a:pt x="1227" y="2178"/>
                    </a:cubicBezTo>
                    <a:cubicBezTo>
                      <a:pt x="1237" y="2136"/>
                      <a:pt x="1229" y="2151"/>
                      <a:pt x="1242" y="2118"/>
                    </a:cubicBezTo>
                    <a:cubicBezTo>
                      <a:pt x="1248" y="2101"/>
                      <a:pt x="1256" y="2090"/>
                      <a:pt x="1261" y="2075"/>
                    </a:cubicBezTo>
                    <a:cubicBezTo>
                      <a:pt x="1266" y="2060"/>
                      <a:pt x="1264" y="2041"/>
                      <a:pt x="1270" y="2025"/>
                    </a:cubicBezTo>
                    <a:cubicBezTo>
                      <a:pt x="1276" y="2009"/>
                      <a:pt x="1291" y="2027"/>
                      <a:pt x="1297" y="1979"/>
                    </a:cubicBezTo>
                    <a:cubicBezTo>
                      <a:pt x="1301" y="1899"/>
                      <a:pt x="1291" y="1804"/>
                      <a:pt x="1309" y="1734"/>
                    </a:cubicBezTo>
                    <a:cubicBezTo>
                      <a:pt x="1339" y="1683"/>
                      <a:pt x="1347" y="1664"/>
                      <a:pt x="1432" y="1528"/>
                    </a:cubicBezTo>
                    <a:cubicBezTo>
                      <a:pt x="1449" y="1493"/>
                      <a:pt x="1462" y="1497"/>
                      <a:pt x="1479" y="1391"/>
                    </a:cubicBezTo>
                    <a:cubicBezTo>
                      <a:pt x="1479" y="1340"/>
                      <a:pt x="1474" y="1332"/>
                      <a:pt x="1463" y="1288"/>
                    </a:cubicBezTo>
                    <a:cubicBezTo>
                      <a:pt x="1471" y="1170"/>
                      <a:pt x="1432" y="1122"/>
                      <a:pt x="1644" y="1113"/>
                    </a:cubicBezTo>
                    <a:cubicBezTo>
                      <a:pt x="1599" y="1074"/>
                      <a:pt x="1638" y="1067"/>
                      <a:pt x="1650" y="1047"/>
                    </a:cubicBezTo>
                    <a:cubicBezTo>
                      <a:pt x="1662" y="992"/>
                      <a:pt x="1560" y="908"/>
                      <a:pt x="1834" y="980"/>
                    </a:cubicBezTo>
                    <a:cubicBezTo>
                      <a:pt x="1866" y="972"/>
                      <a:pt x="1834" y="899"/>
                      <a:pt x="1863" y="868"/>
                    </a:cubicBezTo>
                    <a:cubicBezTo>
                      <a:pt x="1871" y="836"/>
                      <a:pt x="1845" y="806"/>
                      <a:pt x="1849" y="773"/>
                    </a:cubicBezTo>
                    <a:cubicBezTo>
                      <a:pt x="1920" y="785"/>
                      <a:pt x="1896" y="693"/>
                      <a:pt x="1967" y="684"/>
                    </a:cubicBezTo>
                    <a:cubicBezTo>
                      <a:pt x="2039" y="708"/>
                      <a:pt x="2055" y="728"/>
                      <a:pt x="2085" y="804"/>
                    </a:cubicBezTo>
                    <a:cubicBezTo>
                      <a:pt x="2166" y="816"/>
                      <a:pt x="2326" y="813"/>
                      <a:pt x="2416" y="740"/>
                    </a:cubicBezTo>
                    <a:cubicBezTo>
                      <a:pt x="2431" y="709"/>
                      <a:pt x="2423" y="720"/>
                      <a:pt x="2443" y="676"/>
                    </a:cubicBezTo>
                    <a:cubicBezTo>
                      <a:pt x="2440" y="551"/>
                      <a:pt x="2419" y="548"/>
                      <a:pt x="2419" y="504"/>
                    </a:cubicBezTo>
                    <a:cubicBezTo>
                      <a:pt x="2419" y="460"/>
                      <a:pt x="2426" y="432"/>
                      <a:pt x="2442" y="412"/>
                    </a:cubicBezTo>
                    <a:cubicBezTo>
                      <a:pt x="2458" y="392"/>
                      <a:pt x="2460" y="387"/>
                      <a:pt x="2514" y="381"/>
                    </a:cubicBezTo>
                    <a:cubicBezTo>
                      <a:pt x="2542" y="324"/>
                      <a:pt x="2521" y="323"/>
                      <a:pt x="2578" y="310"/>
                    </a:cubicBezTo>
                    <a:cubicBezTo>
                      <a:pt x="2622" y="334"/>
                      <a:pt x="2673" y="357"/>
                      <a:pt x="2700" y="385"/>
                    </a:cubicBezTo>
                    <a:cubicBezTo>
                      <a:pt x="2724" y="388"/>
                      <a:pt x="2745" y="394"/>
                      <a:pt x="2761" y="406"/>
                    </a:cubicBezTo>
                    <a:cubicBezTo>
                      <a:pt x="2772" y="422"/>
                      <a:pt x="2775" y="456"/>
                      <a:pt x="2778" y="482"/>
                    </a:cubicBezTo>
                    <a:cubicBezTo>
                      <a:pt x="2772" y="510"/>
                      <a:pt x="2760" y="525"/>
                      <a:pt x="2766" y="575"/>
                    </a:cubicBezTo>
                    <a:cubicBezTo>
                      <a:pt x="2791" y="551"/>
                      <a:pt x="2833" y="468"/>
                      <a:pt x="2857" y="444"/>
                    </a:cubicBezTo>
                    <a:cubicBezTo>
                      <a:pt x="2865" y="408"/>
                      <a:pt x="2907" y="376"/>
                      <a:pt x="2915" y="340"/>
                    </a:cubicBezTo>
                    <a:cubicBezTo>
                      <a:pt x="2907" y="280"/>
                      <a:pt x="2859" y="296"/>
                      <a:pt x="2799" y="292"/>
                    </a:cubicBezTo>
                    <a:cubicBezTo>
                      <a:pt x="2763" y="280"/>
                      <a:pt x="2683" y="292"/>
                      <a:pt x="2695" y="268"/>
                    </a:cubicBezTo>
                    <a:cubicBezTo>
                      <a:pt x="2755" y="224"/>
                      <a:pt x="2823" y="240"/>
                      <a:pt x="2879" y="184"/>
                    </a:cubicBezTo>
                    <a:cubicBezTo>
                      <a:pt x="2919" y="144"/>
                      <a:pt x="2823" y="80"/>
                      <a:pt x="2803" y="80"/>
                    </a:cubicBezTo>
                    <a:cubicBezTo>
                      <a:pt x="2663" y="48"/>
                      <a:pt x="2751" y="40"/>
                      <a:pt x="2647" y="40"/>
                    </a:cubicBezTo>
                    <a:cubicBezTo>
                      <a:pt x="2643" y="52"/>
                      <a:pt x="2563" y="160"/>
                      <a:pt x="2563" y="160"/>
                    </a:cubicBezTo>
                    <a:cubicBezTo>
                      <a:pt x="2555" y="168"/>
                      <a:pt x="2527" y="0"/>
                      <a:pt x="2511" y="4"/>
                    </a:cubicBezTo>
                    <a:cubicBezTo>
                      <a:pt x="2491" y="20"/>
                      <a:pt x="2447" y="224"/>
                      <a:pt x="2435" y="244"/>
                    </a:cubicBezTo>
                    <a:cubicBezTo>
                      <a:pt x="2423" y="308"/>
                      <a:pt x="2427" y="136"/>
                      <a:pt x="2407" y="112"/>
                    </a:cubicBezTo>
                    <a:cubicBezTo>
                      <a:pt x="2399" y="148"/>
                      <a:pt x="2375" y="256"/>
                      <a:pt x="2359" y="292"/>
                    </a:cubicBezTo>
                    <a:cubicBezTo>
                      <a:pt x="2343" y="320"/>
                      <a:pt x="2335" y="320"/>
                      <a:pt x="2319" y="340"/>
                    </a:cubicBezTo>
                    <a:cubicBezTo>
                      <a:pt x="2307" y="352"/>
                      <a:pt x="2287" y="380"/>
                      <a:pt x="2287" y="380"/>
                    </a:cubicBezTo>
                    <a:cubicBezTo>
                      <a:pt x="2287" y="296"/>
                      <a:pt x="2323" y="132"/>
                      <a:pt x="2319" y="48"/>
                    </a:cubicBezTo>
                    <a:cubicBezTo>
                      <a:pt x="2319" y="40"/>
                      <a:pt x="2199" y="164"/>
                      <a:pt x="2183" y="168"/>
                    </a:cubicBezTo>
                    <a:cubicBezTo>
                      <a:pt x="2159" y="192"/>
                      <a:pt x="2131" y="200"/>
                      <a:pt x="2099" y="212"/>
                    </a:cubicBezTo>
                    <a:cubicBezTo>
                      <a:pt x="2071" y="248"/>
                      <a:pt x="2059" y="276"/>
                      <a:pt x="2039" y="312"/>
                    </a:cubicBezTo>
                    <a:cubicBezTo>
                      <a:pt x="2031" y="328"/>
                      <a:pt x="2007" y="360"/>
                      <a:pt x="2007" y="360"/>
                    </a:cubicBezTo>
                    <a:cubicBezTo>
                      <a:pt x="1999" y="408"/>
                      <a:pt x="2011" y="484"/>
                      <a:pt x="1951" y="492"/>
                    </a:cubicBezTo>
                    <a:cubicBezTo>
                      <a:pt x="1923" y="480"/>
                      <a:pt x="1907" y="484"/>
                      <a:pt x="1883" y="500"/>
                    </a:cubicBezTo>
                    <a:cubicBezTo>
                      <a:pt x="1859" y="544"/>
                      <a:pt x="1875" y="604"/>
                      <a:pt x="1823" y="632"/>
                    </a:cubicBezTo>
                    <a:cubicBezTo>
                      <a:pt x="1807" y="604"/>
                      <a:pt x="1835" y="564"/>
                      <a:pt x="1815" y="540"/>
                    </a:cubicBezTo>
                    <a:cubicBezTo>
                      <a:pt x="1811" y="512"/>
                      <a:pt x="1787" y="452"/>
                      <a:pt x="1763" y="440"/>
                    </a:cubicBezTo>
                    <a:cubicBezTo>
                      <a:pt x="1723" y="448"/>
                      <a:pt x="1703" y="480"/>
                      <a:pt x="1695" y="520"/>
                    </a:cubicBezTo>
                    <a:cubicBezTo>
                      <a:pt x="1695" y="568"/>
                      <a:pt x="1691" y="648"/>
                      <a:pt x="1723" y="692"/>
                    </a:cubicBezTo>
                    <a:cubicBezTo>
                      <a:pt x="1715" y="708"/>
                      <a:pt x="1715" y="716"/>
                      <a:pt x="1699" y="700"/>
                    </a:cubicBezTo>
                    <a:cubicBezTo>
                      <a:pt x="1687" y="688"/>
                      <a:pt x="1683" y="664"/>
                      <a:pt x="1675" y="648"/>
                    </a:cubicBezTo>
                    <a:cubicBezTo>
                      <a:pt x="1663" y="628"/>
                      <a:pt x="1647" y="572"/>
                      <a:pt x="1627" y="560"/>
                    </a:cubicBezTo>
                    <a:cubicBezTo>
                      <a:pt x="1607" y="588"/>
                      <a:pt x="1595" y="648"/>
                      <a:pt x="1579" y="676"/>
                    </a:cubicBezTo>
                    <a:cubicBezTo>
                      <a:pt x="1571" y="724"/>
                      <a:pt x="1559" y="784"/>
                      <a:pt x="1523" y="820"/>
                    </a:cubicBezTo>
                    <a:cubicBezTo>
                      <a:pt x="1515" y="844"/>
                      <a:pt x="1475" y="900"/>
                      <a:pt x="1475" y="900"/>
                    </a:cubicBezTo>
                    <a:cubicBezTo>
                      <a:pt x="1467" y="972"/>
                      <a:pt x="1444" y="972"/>
                      <a:pt x="1535" y="976"/>
                    </a:cubicBezTo>
                    <a:cubicBezTo>
                      <a:pt x="1555" y="980"/>
                      <a:pt x="1579" y="960"/>
                      <a:pt x="1559" y="996"/>
                    </a:cubicBezTo>
                    <a:cubicBezTo>
                      <a:pt x="1543" y="1024"/>
                      <a:pt x="1471" y="1024"/>
                      <a:pt x="1471" y="1024"/>
                    </a:cubicBezTo>
                    <a:cubicBezTo>
                      <a:pt x="1444" y="1040"/>
                      <a:pt x="1444" y="1092"/>
                      <a:pt x="1420" y="1112"/>
                    </a:cubicBezTo>
                    <a:cubicBezTo>
                      <a:pt x="1396" y="1160"/>
                      <a:pt x="1348" y="1196"/>
                      <a:pt x="1324" y="1244"/>
                    </a:cubicBezTo>
                    <a:cubicBezTo>
                      <a:pt x="1336" y="1276"/>
                      <a:pt x="1352" y="1288"/>
                      <a:pt x="1372" y="1312"/>
                    </a:cubicBezTo>
                    <a:cubicBezTo>
                      <a:pt x="1328" y="1332"/>
                      <a:pt x="1296" y="1336"/>
                      <a:pt x="1248" y="1344"/>
                    </a:cubicBezTo>
                    <a:cubicBezTo>
                      <a:pt x="1220" y="1396"/>
                      <a:pt x="1332" y="1376"/>
                      <a:pt x="1368" y="1380"/>
                    </a:cubicBezTo>
                    <a:cubicBezTo>
                      <a:pt x="1376" y="1380"/>
                      <a:pt x="1392" y="1416"/>
                      <a:pt x="1384" y="1416"/>
                    </a:cubicBezTo>
                    <a:cubicBezTo>
                      <a:pt x="1372" y="1416"/>
                      <a:pt x="1344" y="1416"/>
                      <a:pt x="1332" y="1416"/>
                    </a:cubicBezTo>
                    <a:cubicBezTo>
                      <a:pt x="1288" y="1424"/>
                      <a:pt x="1264" y="1436"/>
                      <a:pt x="1220" y="1444"/>
                    </a:cubicBezTo>
                    <a:cubicBezTo>
                      <a:pt x="1196" y="1468"/>
                      <a:pt x="1172" y="1484"/>
                      <a:pt x="1152" y="1508"/>
                    </a:cubicBezTo>
                    <a:cubicBezTo>
                      <a:pt x="1140" y="1520"/>
                      <a:pt x="1124" y="1556"/>
                      <a:pt x="1124" y="1556"/>
                    </a:cubicBezTo>
                    <a:cubicBezTo>
                      <a:pt x="1136" y="1584"/>
                      <a:pt x="1124" y="1624"/>
                      <a:pt x="1116" y="1656"/>
                    </a:cubicBezTo>
                    <a:cubicBezTo>
                      <a:pt x="1156" y="1664"/>
                      <a:pt x="1180" y="1684"/>
                      <a:pt x="1224" y="1688"/>
                    </a:cubicBezTo>
                    <a:cubicBezTo>
                      <a:pt x="1204" y="1712"/>
                      <a:pt x="1184" y="1728"/>
                      <a:pt x="1152" y="1732"/>
                    </a:cubicBezTo>
                    <a:cubicBezTo>
                      <a:pt x="1124" y="1748"/>
                      <a:pt x="1108" y="1752"/>
                      <a:pt x="1092" y="1784"/>
                    </a:cubicBezTo>
                    <a:cubicBezTo>
                      <a:pt x="1112" y="1872"/>
                      <a:pt x="1100" y="1772"/>
                      <a:pt x="1076" y="1828"/>
                    </a:cubicBezTo>
                    <a:cubicBezTo>
                      <a:pt x="1068" y="1848"/>
                      <a:pt x="1088" y="1896"/>
                      <a:pt x="1092" y="1916"/>
                    </a:cubicBezTo>
                    <a:cubicBezTo>
                      <a:pt x="1064" y="1920"/>
                      <a:pt x="1000" y="1912"/>
                      <a:pt x="1044" y="1968"/>
                    </a:cubicBezTo>
                    <a:cubicBezTo>
                      <a:pt x="1036" y="1988"/>
                      <a:pt x="1032" y="2004"/>
                      <a:pt x="1028" y="2016"/>
                    </a:cubicBezTo>
                    <a:cubicBezTo>
                      <a:pt x="1016" y="2020"/>
                      <a:pt x="1020" y="2032"/>
                      <a:pt x="1012" y="2040"/>
                    </a:cubicBezTo>
                    <a:cubicBezTo>
                      <a:pt x="956" y="2103"/>
                      <a:pt x="1020" y="2067"/>
                      <a:pt x="976" y="2087"/>
                    </a:cubicBezTo>
                    <a:cubicBezTo>
                      <a:pt x="952" y="2147"/>
                      <a:pt x="904" y="2195"/>
                      <a:pt x="840" y="2203"/>
                    </a:cubicBezTo>
                    <a:cubicBezTo>
                      <a:pt x="804" y="2223"/>
                      <a:pt x="812" y="2207"/>
                      <a:pt x="800" y="2235"/>
                    </a:cubicBezTo>
                    <a:cubicBezTo>
                      <a:pt x="788" y="2291"/>
                      <a:pt x="752" y="2331"/>
                      <a:pt x="720" y="2375"/>
                    </a:cubicBezTo>
                    <a:cubicBezTo>
                      <a:pt x="752" y="2463"/>
                      <a:pt x="768" y="2443"/>
                      <a:pt x="792" y="2479"/>
                    </a:cubicBezTo>
                    <a:cubicBezTo>
                      <a:pt x="832" y="2471"/>
                      <a:pt x="876" y="2427"/>
                      <a:pt x="912" y="2407"/>
                    </a:cubicBezTo>
                    <a:cubicBezTo>
                      <a:pt x="908" y="2463"/>
                      <a:pt x="888" y="2527"/>
                      <a:pt x="828" y="2539"/>
                    </a:cubicBezTo>
                    <a:cubicBezTo>
                      <a:pt x="800" y="2559"/>
                      <a:pt x="800" y="2559"/>
                      <a:pt x="764" y="2555"/>
                    </a:cubicBezTo>
                    <a:cubicBezTo>
                      <a:pt x="716" y="2543"/>
                      <a:pt x="684" y="2539"/>
                      <a:pt x="652" y="2495"/>
                    </a:cubicBezTo>
                    <a:cubicBezTo>
                      <a:pt x="636" y="2507"/>
                      <a:pt x="608" y="2539"/>
                      <a:pt x="608" y="2539"/>
                    </a:cubicBezTo>
                    <a:cubicBezTo>
                      <a:pt x="600" y="2571"/>
                      <a:pt x="588" y="2591"/>
                      <a:pt x="564" y="2611"/>
                    </a:cubicBezTo>
                    <a:cubicBezTo>
                      <a:pt x="556" y="2643"/>
                      <a:pt x="544" y="2655"/>
                      <a:pt x="532" y="2683"/>
                    </a:cubicBezTo>
                    <a:cubicBezTo>
                      <a:pt x="604" y="2695"/>
                      <a:pt x="516" y="2675"/>
                      <a:pt x="496" y="2671"/>
                    </a:cubicBezTo>
                    <a:cubicBezTo>
                      <a:pt x="456" y="2651"/>
                      <a:pt x="432" y="2659"/>
                      <a:pt x="380" y="2663"/>
                    </a:cubicBezTo>
                    <a:cubicBezTo>
                      <a:pt x="356" y="2675"/>
                      <a:pt x="336" y="2691"/>
                      <a:pt x="312" y="2703"/>
                    </a:cubicBezTo>
                    <a:cubicBezTo>
                      <a:pt x="324" y="2771"/>
                      <a:pt x="320" y="2743"/>
                      <a:pt x="332" y="2791"/>
                    </a:cubicBezTo>
                    <a:cubicBezTo>
                      <a:pt x="328" y="2823"/>
                      <a:pt x="316" y="2843"/>
                      <a:pt x="308" y="2875"/>
                    </a:cubicBezTo>
                    <a:cubicBezTo>
                      <a:pt x="308" y="2851"/>
                      <a:pt x="312" y="2827"/>
                      <a:pt x="304" y="2803"/>
                    </a:cubicBezTo>
                    <a:cubicBezTo>
                      <a:pt x="300" y="2795"/>
                      <a:pt x="208" y="2847"/>
                      <a:pt x="188" y="2855"/>
                    </a:cubicBezTo>
                    <a:cubicBezTo>
                      <a:pt x="168" y="2887"/>
                      <a:pt x="156" y="2911"/>
                      <a:pt x="120" y="2927"/>
                    </a:cubicBezTo>
                    <a:cubicBezTo>
                      <a:pt x="136" y="2983"/>
                      <a:pt x="156" y="2979"/>
                      <a:pt x="216" y="2983"/>
                    </a:cubicBezTo>
                    <a:cubicBezTo>
                      <a:pt x="240" y="2999"/>
                      <a:pt x="268" y="2999"/>
                      <a:pt x="296" y="3011"/>
                    </a:cubicBezTo>
                    <a:cubicBezTo>
                      <a:pt x="252" y="3035"/>
                      <a:pt x="184" y="2995"/>
                      <a:pt x="140" y="2979"/>
                    </a:cubicBezTo>
                    <a:cubicBezTo>
                      <a:pt x="76" y="2983"/>
                      <a:pt x="64" y="2983"/>
                      <a:pt x="28" y="3031"/>
                    </a:cubicBezTo>
                    <a:cubicBezTo>
                      <a:pt x="4" y="3167"/>
                      <a:pt x="108" y="3159"/>
                      <a:pt x="216" y="3163"/>
                    </a:cubicBezTo>
                    <a:cubicBezTo>
                      <a:pt x="240" y="3167"/>
                      <a:pt x="452" y="3143"/>
                      <a:pt x="424" y="3183"/>
                    </a:cubicBezTo>
                    <a:cubicBezTo>
                      <a:pt x="352" y="3179"/>
                      <a:pt x="276" y="3183"/>
                      <a:pt x="216" y="3175"/>
                    </a:cubicBezTo>
                    <a:cubicBezTo>
                      <a:pt x="0" y="3179"/>
                      <a:pt x="16" y="3127"/>
                      <a:pt x="8" y="3295"/>
                    </a:cubicBezTo>
                    <a:cubicBezTo>
                      <a:pt x="12" y="3375"/>
                      <a:pt x="8" y="3419"/>
                      <a:pt x="88" y="3451"/>
                    </a:cubicBezTo>
                    <a:cubicBezTo>
                      <a:pt x="144" y="3443"/>
                      <a:pt x="180" y="3431"/>
                      <a:pt x="232" y="3423"/>
                    </a:cubicBezTo>
                    <a:cubicBezTo>
                      <a:pt x="244" y="3419"/>
                      <a:pt x="256" y="3415"/>
                      <a:pt x="268" y="3411"/>
                    </a:cubicBezTo>
                    <a:cubicBezTo>
                      <a:pt x="276" y="3407"/>
                      <a:pt x="284" y="3411"/>
                      <a:pt x="292" y="3407"/>
                    </a:cubicBezTo>
                    <a:cubicBezTo>
                      <a:pt x="296" y="3407"/>
                      <a:pt x="312" y="3395"/>
                      <a:pt x="308" y="3399"/>
                    </a:cubicBezTo>
                    <a:cubicBezTo>
                      <a:pt x="268" y="3439"/>
                      <a:pt x="216" y="3459"/>
                      <a:pt x="160" y="3471"/>
                    </a:cubicBezTo>
                    <a:cubicBezTo>
                      <a:pt x="128" y="3483"/>
                      <a:pt x="104" y="3495"/>
                      <a:pt x="76" y="3511"/>
                    </a:cubicBezTo>
                    <a:cubicBezTo>
                      <a:pt x="64" y="3531"/>
                      <a:pt x="56" y="3539"/>
                      <a:pt x="32" y="3547"/>
                    </a:cubicBezTo>
                    <a:cubicBezTo>
                      <a:pt x="92" y="3575"/>
                      <a:pt x="88" y="3543"/>
                      <a:pt x="112" y="3607"/>
                    </a:cubicBezTo>
                    <a:cubicBezTo>
                      <a:pt x="96" y="3655"/>
                      <a:pt x="84" y="3683"/>
                      <a:pt x="44" y="3723"/>
                    </a:cubicBezTo>
                    <a:cubicBezTo>
                      <a:pt x="36" y="3731"/>
                      <a:pt x="60" y="3715"/>
                      <a:pt x="68" y="3711"/>
                    </a:cubicBezTo>
                    <a:cubicBezTo>
                      <a:pt x="84" y="3699"/>
                      <a:pt x="116" y="3679"/>
                      <a:pt x="116" y="3679"/>
                    </a:cubicBezTo>
                    <a:cubicBezTo>
                      <a:pt x="140" y="3691"/>
                      <a:pt x="132" y="3703"/>
                      <a:pt x="120" y="3723"/>
                    </a:cubicBezTo>
                    <a:cubicBezTo>
                      <a:pt x="132" y="3763"/>
                      <a:pt x="148" y="3787"/>
                      <a:pt x="192" y="3795"/>
                    </a:cubicBezTo>
                    <a:cubicBezTo>
                      <a:pt x="168" y="3811"/>
                      <a:pt x="168" y="3799"/>
                      <a:pt x="140" y="3795"/>
                    </a:cubicBezTo>
                    <a:cubicBezTo>
                      <a:pt x="112" y="3799"/>
                      <a:pt x="104" y="3803"/>
                      <a:pt x="88" y="3823"/>
                    </a:cubicBezTo>
                    <a:cubicBezTo>
                      <a:pt x="96" y="3915"/>
                      <a:pt x="120" y="3959"/>
                      <a:pt x="188" y="4031"/>
                    </a:cubicBezTo>
                    <a:cubicBezTo>
                      <a:pt x="228" y="4055"/>
                      <a:pt x="268" y="4083"/>
                      <a:pt x="312" y="4103"/>
                    </a:cubicBezTo>
                    <a:cubicBezTo>
                      <a:pt x="332" y="4111"/>
                      <a:pt x="372" y="4123"/>
                      <a:pt x="372" y="4123"/>
                    </a:cubicBezTo>
                    <a:cubicBezTo>
                      <a:pt x="408" y="4107"/>
                      <a:pt x="492" y="4035"/>
                      <a:pt x="532" y="4007"/>
                    </a:cubicBezTo>
                    <a:cubicBezTo>
                      <a:pt x="584" y="3967"/>
                      <a:pt x="620" y="3899"/>
                      <a:pt x="660" y="3863"/>
                    </a:cubicBezTo>
                    <a:cubicBezTo>
                      <a:pt x="680" y="3823"/>
                      <a:pt x="740" y="3811"/>
                      <a:pt x="776" y="3783"/>
                    </a:cubicBezTo>
                    <a:cubicBezTo>
                      <a:pt x="800" y="3727"/>
                      <a:pt x="824" y="3667"/>
                      <a:pt x="836" y="3607"/>
                    </a:cubicBezTo>
                    <a:cubicBezTo>
                      <a:pt x="856" y="3599"/>
                      <a:pt x="888" y="3707"/>
                      <a:pt x="896" y="3739"/>
                    </a:cubicBezTo>
                    <a:cubicBezTo>
                      <a:pt x="900" y="3799"/>
                      <a:pt x="932" y="3767"/>
                      <a:pt x="908" y="3795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</p:grpSp>
        <p:grpSp>
          <p:nvGrpSpPr>
            <p:cNvPr id="271" name="Group 77"/>
            <p:cNvGrpSpPr>
              <a:grpSpLocks/>
            </p:cNvGrpSpPr>
            <p:nvPr/>
          </p:nvGrpSpPr>
          <p:grpSpPr bwMode="auto">
            <a:xfrm>
              <a:off x="2834" y="1417"/>
              <a:ext cx="434" cy="792"/>
              <a:chOff x="3842" y="-120"/>
              <a:chExt cx="1720" cy="3135"/>
            </a:xfrm>
            <a:grpFill/>
          </p:grpSpPr>
          <p:sp>
            <p:nvSpPr>
              <p:cNvPr id="319" name="Freeform 78"/>
              <p:cNvSpPr>
                <a:spLocks noChangeAspect="1"/>
              </p:cNvSpPr>
              <p:nvPr/>
            </p:nvSpPr>
            <p:spPr bwMode="auto">
              <a:xfrm>
                <a:off x="4079" y="2895"/>
                <a:ext cx="152" cy="120"/>
              </a:xfrm>
              <a:custGeom>
                <a:avLst/>
                <a:gdLst>
                  <a:gd name="T0" fmla="*/ 2147483647 w 38"/>
                  <a:gd name="T1" fmla="*/ 2147483647 h 30"/>
                  <a:gd name="T2" fmla="*/ 0 w 38"/>
                  <a:gd name="T3" fmla="*/ 2147483647 h 30"/>
                  <a:gd name="T4" fmla="*/ 2147483647 w 38"/>
                  <a:gd name="T5" fmla="*/ 2147483647 h 30"/>
                  <a:gd name="T6" fmla="*/ 2147483647 w 38"/>
                  <a:gd name="T7" fmla="*/ 2147483647 h 30"/>
                  <a:gd name="T8" fmla="*/ 2147483647 w 38"/>
                  <a:gd name="T9" fmla="*/ 2147483647 h 30"/>
                  <a:gd name="T10" fmla="*/ 2147483647 w 38"/>
                  <a:gd name="T11" fmla="*/ 2147483647 h 30"/>
                  <a:gd name="T12" fmla="*/ 2147483647 w 38"/>
                  <a:gd name="T13" fmla="*/ 2147483647 h 3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8"/>
                  <a:gd name="T22" fmla="*/ 0 h 30"/>
                  <a:gd name="T23" fmla="*/ 38 w 38"/>
                  <a:gd name="T24" fmla="*/ 30 h 30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8" h="30">
                    <a:moveTo>
                      <a:pt x="21" y="4"/>
                    </a:moveTo>
                    <a:cubicBezTo>
                      <a:pt x="13" y="1"/>
                      <a:pt x="4" y="0"/>
                      <a:pt x="0" y="8"/>
                    </a:cubicBezTo>
                    <a:cubicBezTo>
                      <a:pt x="1" y="26"/>
                      <a:pt x="4" y="26"/>
                      <a:pt x="19" y="30"/>
                    </a:cubicBezTo>
                    <a:cubicBezTo>
                      <a:pt x="29" y="28"/>
                      <a:pt x="31" y="22"/>
                      <a:pt x="38" y="15"/>
                    </a:cubicBezTo>
                    <a:cubicBezTo>
                      <a:pt x="36" y="5"/>
                      <a:pt x="27" y="6"/>
                      <a:pt x="17" y="5"/>
                    </a:cubicBezTo>
                    <a:cubicBezTo>
                      <a:pt x="9" y="3"/>
                      <a:pt x="11" y="5"/>
                      <a:pt x="8" y="2"/>
                    </a:cubicBezTo>
                    <a:lnTo>
                      <a:pt x="21" y="4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20" name="Freeform 79"/>
              <p:cNvSpPr>
                <a:spLocks noChangeAspect="1"/>
              </p:cNvSpPr>
              <p:nvPr/>
            </p:nvSpPr>
            <p:spPr bwMode="auto">
              <a:xfrm>
                <a:off x="3842" y="-120"/>
                <a:ext cx="1720" cy="3083"/>
              </a:xfrm>
              <a:custGeom>
                <a:avLst/>
                <a:gdLst>
                  <a:gd name="T0" fmla="*/ 1628 w 1720"/>
                  <a:gd name="T1" fmla="*/ 2255 h 3083"/>
                  <a:gd name="T2" fmla="*/ 1720 w 1720"/>
                  <a:gd name="T3" fmla="*/ 1955 h 3083"/>
                  <a:gd name="T4" fmla="*/ 1456 w 1720"/>
                  <a:gd name="T5" fmla="*/ 1775 h 3083"/>
                  <a:gd name="T6" fmla="*/ 1448 w 1720"/>
                  <a:gd name="T7" fmla="*/ 1683 h 3083"/>
                  <a:gd name="T8" fmla="*/ 1432 w 1720"/>
                  <a:gd name="T9" fmla="*/ 1583 h 3083"/>
                  <a:gd name="T10" fmla="*/ 1352 w 1720"/>
                  <a:gd name="T11" fmla="*/ 1512 h 3083"/>
                  <a:gd name="T12" fmla="*/ 1264 w 1720"/>
                  <a:gd name="T13" fmla="*/ 1320 h 3083"/>
                  <a:gd name="T14" fmla="*/ 1276 w 1720"/>
                  <a:gd name="T15" fmla="*/ 1188 h 3083"/>
                  <a:gd name="T16" fmla="*/ 1132 w 1720"/>
                  <a:gd name="T17" fmla="*/ 992 h 3083"/>
                  <a:gd name="T18" fmla="*/ 1120 w 1720"/>
                  <a:gd name="T19" fmla="*/ 688 h 3083"/>
                  <a:gd name="T20" fmla="*/ 1072 w 1720"/>
                  <a:gd name="T21" fmla="*/ 600 h 3083"/>
                  <a:gd name="T22" fmla="*/ 908 w 1720"/>
                  <a:gd name="T23" fmla="*/ 512 h 3083"/>
                  <a:gd name="T24" fmla="*/ 880 w 1720"/>
                  <a:gd name="T25" fmla="*/ 312 h 3083"/>
                  <a:gd name="T26" fmla="*/ 968 w 1720"/>
                  <a:gd name="T27" fmla="*/ 132 h 3083"/>
                  <a:gd name="T28" fmla="*/ 888 w 1720"/>
                  <a:gd name="T29" fmla="*/ 168 h 3083"/>
                  <a:gd name="T30" fmla="*/ 813 w 1720"/>
                  <a:gd name="T31" fmla="*/ 72 h 3083"/>
                  <a:gd name="T32" fmla="*/ 693 w 1720"/>
                  <a:gd name="T33" fmla="*/ 0 h 3083"/>
                  <a:gd name="T34" fmla="*/ 573 w 1720"/>
                  <a:gd name="T35" fmla="*/ 76 h 3083"/>
                  <a:gd name="T36" fmla="*/ 545 w 1720"/>
                  <a:gd name="T37" fmla="*/ 244 h 3083"/>
                  <a:gd name="T38" fmla="*/ 533 w 1720"/>
                  <a:gd name="T39" fmla="*/ 416 h 3083"/>
                  <a:gd name="T40" fmla="*/ 409 w 1720"/>
                  <a:gd name="T41" fmla="*/ 484 h 3083"/>
                  <a:gd name="T42" fmla="*/ 153 w 1720"/>
                  <a:gd name="T43" fmla="*/ 412 h 3083"/>
                  <a:gd name="T44" fmla="*/ 9 w 1720"/>
                  <a:gd name="T45" fmla="*/ 436 h 3083"/>
                  <a:gd name="T46" fmla="*/ 265 w 1720"/>
                  <a:gd name="T47" fmla="*/ 620 h 3083"/>
                  <a:gd name="T48" fmla="*/ 390 w 1720"/>
                  <a:gd name="T49" fmla="*/ 756 h 3083"/>
                  <a:gd name="T50" fmla="*/ 477 w 1720"/>
                  <a:gd name="T51" fmla="*/ 1016 h 3083"/>
                  <a:gd name="T52" fmla="*/ 495 w 1720"/>
                  <a:gd name="T53" fmla="*/ 1224 h 3083"/>
                  <a:gd name="T54" fmla="*/ 580 w 1720"/>
                  <a:gd name="T55" fmla="*/ 1365 h 3083"/>
                  <a:gd name="T56" fmla="*/ 681 w 1720"/>
                  <a:gd name="T57" fmla="*/ 1396 h 3083"/>
                  <a:gd name="T58" fmla="*/ 741 w 1720"/>
                  <a:gd name="T59" fmla="*/ 1432 h 3083"/>
                  <a:gd name="T60" fmla="*/ 545 w 1720"/>
                  <a:gd name="T61" fmla="*/ 1959 h 3083"/>
                  <a:gd name="T62" fmla="*/ 489 w 1720"/>
                  <a:gd name="T63" fmla="*/ 2051 h 3083"/>
                  <a:gd name="T64" fmla="*/ 369 w 1720"/>
                  <a:gd name="T65" fmla="*/ 2239 h 3083"/>
                  <a:gd name="T66" fmla="*/ 457 w 1720"/>
                  <a:gd name="T67" fmla="*/ 2559 h 3083"/>
                  <a:gd name="T68" fmla="*/ 457 w 1720"/>
                  <a:gd name="T69" fmla="*/ 2987 h 3083"/>
                  <a:gd name="T70" fmla="*/ 485 w 1720"/>
                  <a:gd name="T71" fmla="*/ 2999 h 3083"/>
                  <a:gd name="T72" fmla="*/ 657 w 1720"/>
                  <a:gd name="T73" fmla="*/ 3055 h 3083"/>
                  <a:gd name="T74" fmla="*/ 729 w 1720"/>
                  <a:gd name="T75" fmla="*/ 3083 h 3083"/>
                  <a:gd name="T76" fmla="*/ 956 w 1720"/>
                  <a:gd name="T77" fmla="*/ 2991 h 3083"/>
                  <a:gd name="T78" fmla="*/ 1024 w 1720"/>
                  <a:gd name="T79" fmla="*/ 2955 h 3083"/>
                  <a:gd name="T80" fmla="*/ 1192 w 1720"/>
                  <a:gd name="T81" fmla="*/ 2859 h 3083"/>
                  <a:gd name="T82" fmla="*/ 1372 w 1720"/>
                  <a:gd name="T83" fmla="*/ 2783 h 3083"/>
                  <a:gd name="T84" fmla="*/ 1396 w 1720"/>
                  <a:gd name="T85" fmla="*/ 2723 h 3083"/>
                  <a:gd name="T86" fmla="*/ 1576 w 1720"/>
                  <a:gd name="T87" fmla="*/ 2351 h 3083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1720"/>
                  <a:gd name="T133" fmla="*/ 0 h 3083"/>
                  <a:gd name="T134" fmla="*/ 1720 w 1720"/>
                  <a:gd name="T135" fmla="*/ 3083 h 3083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1720" h="3083">
                    <a:moveTo>
                      <a:pt x="1576" y="2351"/>
                    </a:moveTo>
                    <a:cubicBezTo>
                      <a:pt x="1584" y="2323"/>
                      <a:pt x="1604" y="2279"/>
                      <a:pt x="1628" y="2255"/>
                    </a:cubicBezTo>
                    <a:cubicBezTo>
                      <a:pt x="1636" y="2223"/>
                      <a:pt x="1636" y="2191"/>
                      <a:pt x="1648" y="2159"/>
                    </a:cubicBezTo>
                    <a:cubicBezTo>
                      <a:pt x="1656" y="2087"/>
                      <a:pt x="1688" y="2023"/>
                      <a:pt x="1720" y="1955"/>
                    </a:cubicBezTo>
                    <a:cubicBezTo>
                      <a:pt x="1700" y="1907"/>
                      <a:pt x="1640" y="1879"/>
                      <a:pt x="1592" y="1839"/>
                    </a:cubicBezTo>
                    <a:cubicBezTo>
                      <a:pt x="1548" y="1811"/>
                      <a:pt x="1480" y="1791"/>
                      <a:pt x="1456" y="1775"/>
                    </a:cubicBezTo>
                    <a:cubicBezTo>
                      <a:pt x="1452" y="1767"/>
                      <a:pt x="1440" y="1751"/>
                      <a:pt x="1440" y="1751"/>
                    </a:cubicBezTo>
                    <a:cubicBezTo>
                      <a:pt x="1440" y="1727"/>
                      <a:pt x="1440" y="1703"/>
                      <a:pt x="1448" y="1683"/>
                    </a:cubicBezTo>
                    <a:cubicBezTo>
                      <a:pt x="1452" y="1671"/>
                      <a:pt x="1480" y="1631"/>
                      <a:pt x="1480" y="1631"/>
                    </a:cubicBezTo>
                    <a:cubicBezTo>
                      <a:pt x="1476" y="1595"/>
                      <a:pt x="1460" y="1603"/>
                      <a:pt x="1432" y="1583"/>
                    </a:cubicBezTo>
                    <a:cubicBezTo>
                      <a:pt x="1420" y="1575"/>
                      <a:pt x="1396" y="1559"/>
                      <a:pt x="1396" y="1559"/>
                    </a:cubicBezTo>
                    <a:cubicBezTo>
                      <a:pt x="1384" y="1543"/>
                      <a:pt x="1368" y="1524"/>
                      <a:pt x="1352" y="1512"/>
                    </a:cubicBezTo>
                    <a:cubicBezTo>
                      <a:pt x="1332" y="1484"/>
                      <a:pt x="1340" y="1496"/>
                      <a:pt x="1324" y="1472"/>
                    </a:cubicBezTo>
                    <a:cubicBezTo>
                      <a:pt x="1312" y="1420"/>
                      <a:pt x="1280" y="1372"/>
                      <a:pt x="1264" y="1320"/>
                    </a:cubicBezTo>
                    <a:cubicBezTo>
                      <a:pt x="1264" y="1288"/>
                      <a:pt x="1264" y="1260"/>
                      <a:pt x="1268" y="1228"/>
                    </a:cubicBezTo>
                    <a:cubicBezTo>
                      <a:pt x="1268" y="1216"/>
                      <a:pt x="1276" y="1188"/>
                      <a:pt x="1276" y="1188"/>
                    </a:cubicBezTo>
                    <a:cubicBezTo>
                      <a:pt x="1272" y="1148"/>
                      <a:pt x="1248" y="1080"/>
                      <a:pt x="1204" y="1064"/>
                    </a:cubicBezTo>
                    <a:cubicBezTo>
                      <a:pt x="1188" y="1040"/>
                      <a:pt x="1156" y="1008"/>
                      <a:pt x="1132" y="992"/>
                    </a:cubicBezTo>
                    <a:cubicBezTo>
                      <a:pt x="1120" y="972"/>
                      <a:pt x="1104" y="932"/>
                      <a:pt x="1080" y="924"/>
                    </a:cubicBezTo>
                    <a:cubicBezTo>
                      <a:pt x="1056" y="840"/>
                      <a:pt x="1052" y="756"/>
                      <a:pt x="1120" y="688"/>
                    </a:cubicBezTo>
                    <a:cubicBezTo>
                      <a:pt x="1124" y="672"/>
                      <a:pt x="1128" y="644"/>
                      <a:pt x="1120" y="632"/>
                    </a:cubicBezTo>
                    <a:cubicBezTo>
                      <a:pt x="1108" y="616"/>
                      <a:pt x="1088" y="612"/>
                      <a:pt x="1072" y="600"/>
                    </a:cubicBezTo>
                    <a:cubicBezTo>
                      <a:pt x="1044" y="576"/>
                      <a:pt x="1020" y="556"/>
                      <a:pt x="984" y="544"/>
                    </a:cubicBezTo>
                    <a:cubicBezTo>
                      <a:pt x="968" y="528"/>
                      <a:pt x="932" y="520"/>
                      <a:pt x="908" y="512"/>
                    </a:cubicBezTo>
                    <a:cubicBezTo>
                      <a:pt x="888" y="492"/>
                      <a:pt x="876" y="448"/>
                      <a:pt x="872" y="416"/>
                    </a:cubicBezTo>
                    <a:cubicBezTo>
                      <a:pt x="864" y="380"/>
                      <a:pt x="861" y="344"/>
                      <a:pt x="880" y="312"/>
                    </a:cubicBezTo>
                    <a:cubicBezTo>
                      <a:pt x="888" y="288"/>
                      <a:pt x="888" y="260"/>
                      <a:pt x="908" y="240"/>
                    </a:cubicBezTo>
                    <a:cubicBezTo>
                      <a:pt x="924" y="212"/>
                      <a:pt x="972" y="128"/>
                      <a:pt x="968" y="132"/>
                    </a:cubicBezTo>
                    <a:cubicBezTo>
                      <a:pt x="956" y="148"/>
                      <a:pt x="892" y="256"/>
                      <a:pt x="880" y="264"/>
                    </a:cubicBezTo>
                    <a:cubicBezTo>
                      <a:pt x="872" y="228"/>
                      <a:pt x="876" y="204"/>
                      <a:pt x="888" y="168"/>
                    </a:cubicBezTo>
                    <a:cubicBezTo>
                      <a:pt x="884" y="132"/>
                      <a:pt x="892" y="108"/>
                      <a:pt x="864" y="88"/>
                    </a:cubicBezTo>
                    <a:cubicBezTo>
                      <a:pt x="849" y="76"/>
                      <a:pt x="813" y="72"/>
                      <a:pt x="813" y="72"/>
                    </a:cubicBezTo>
                    <a:cubicBezTo>
                      <a:pt x="789" y="48"/>
                      <a:pt x="757" y="36"/>
                      <a:pt x="729" y="16"/>
                    </a:cubicBezTo>
                    <a:cubicBezTo>
                      <a:pt x="717" y="8"/>
                      <a:pt x="693" y="0"/>
                      <a:pt x="693" y="0"/>
                    </a:cubicBezTo>
                    <a:cubicBezTo>
                      <a:pt x="669" y="4"/>
                      <a:pt x="657" y="0"/>
                      <a:pt x="645" y="24"/>
                    </a:cubicBezTo>
                    <a:cubicBezTo>
                      <a:pt x="637" y="72"/>
                      <a:pt x="621" y="72"/>
                      <a:pt x="573" y="76"/>
                    </a:cubicBezTo>
                    <a:cubicBezTo>
                      <a:pt x="557" y="92"/>
                      <a:pt x="549" y="116"/>
                      <a:pt x="537" y="136"/>
                    </a:cubicBezTo>
                    <a:cubicBezTo>
                      <a:pt x="529" y="172"/>
                      <a:pt x="529" y="208"/>
                      <a:pt x="545" y="244"/>
                    </a:cubicBezTo>
                    <a:cubicBezTo>
                      <a:pt x="548" y="283"/>
                      <a:pt x="560" y="337"/>
                      <a:pt x="558" y="366"/>
                    </a:cubicBezTo>
                    <a:cubicBezTo>
                      <a:pt x="544" y="390"/>
                      <a:pt x="540" y="403"/>
                      <a:pt x="533" y="416"/>
                    </a:cubicBezTo>
                    <a:cubicBezTo>
                      <a:pt x="526" y="440"/>
                      <a:pt x="537" y="408"/>
                      <a:pt x="513" y="444"/>
                    </a:cubicBezTo>
                    <a:cubicBezTo>
                      <a:pt x="497" y="456"/>
                      <a:pt x="441" y="472"/>
                      <a:pt x="409" y="484"/>
                    </a:cubicBezTo>
                    <a:cubicBezTo>
                      <a:pt x="357" y="492"/>
                      <a:pt x="245" y="504"/>
                      <a:pt x="197" y="492"/>
                    </a:cubicBezTo>
                    <a:cubicBezTo>
                      <a:pt x="181" y="460"/>
                      <a:pt x="181" y="432"/>
                      <a:pt x="153" y="412"/>
                    </a:cubicBezTo>
                    <a:cubicBezTo>
                      <a:pt x="141" y="392"/>
                      <a:pt x="105" y="380"/>
                      <a:pt x="81" y="372"/>
                    </a:cubicBezTo>
                    <a:cubicBezTo>
                      <a:pt x="41" y="384"/>
                      <a:pt x="41" y="392"/>
                      <a:pt x="9" y="436"/>
                    </a:cubicBezTo>
                    <a:cubicBezTo>
                      <a:pt x="0" y="456"/>
                      <a:pt x="27" y="455"/>
                      <a:pt x="66" y="482"/>
                    </a:cubicBezTo>
                    <a:cubicBezTo>
                      <a:pt x="108" y="513"/>
                      <a:pt x="171" y="567"/>
                      <a:pt x="265" y="620"/>
                    </a:cubicBezTo>
                    <a:cubicBezTo>
                      <a:pt x="309" y="651"/>
                      <a:pt x="309" y="642"/>
                      <a:pt x="330" y="668"/>
                    </a:cubicBezTo>
                    <a:cubicBezTo>
                      <a:pt x="369" y="701"/>
                      <a:pt x="393" y="722"/>
                      <a:pt x="390" y="756"/>
                    </a:cubicBezTo>
                    <a:cubicBezTo>
                      <a:pt x="363" y="848"/>
                      <a:pt x="438" y="911"/>
                      <a:pt x="450" y="947"/>
                    </a:cubicBezTo>
                    <a:cubicBezTo>
                      <a:pt x="465" y="990"/>
                      <a:pt x="469" y="995"/>
                      <a:pt x="477" y="1016"/>
                    </a:cubicBezTo>
                    <a:cubicBezTo>
                      <a:pt x="485" y="1032"/>
                      <a:pt x="492" y="1059"/>
                      <a:pt x="495" y="1077"/>
                    </a:cubicBezTo>
                    <a:cubicBezTo>
                      <a:pt x="491" y="1109"/>
                      <a:pt x="486" y="1193"/>
                      <a:pt x="495" y="1224"/>
                    </a:cubicBezTo>
                    <a:cubicBezTo>
                      <a:pt x="522" y="1266"/>
                      <a:pt x="535" y="1281"/>
                      <a:pt x="537" y="1301"/>
                    </a:cubicBezTo>
                    <a:cubicBezTo>
                      <a:pt x="557" y="1341"/>
                      <a:pt x="555" y="1352"/>
                      <a:pt x="580" y="1365"/>
                    </a:cubicBezTo>
                    <a:cubicBezTo>
                      <a:pt x="580" y="1369"/>
                      <a:pt x="617" y="1380"/>
                      <a:pt x="633" y="1380"/>
                    </a:cubicBezTo>
                    <a:cubicBezTo>
                      <a:pt x="649" y="1384"/>
                      <a:pt x="665" y="1392"/>
                      <a:pt x="681" y="1396"/>
                    </a:cubicBezTo>
                    <a:cubicBezTo>
                      <a:pt x="689" y="1400"/>
                      <a:pt x="705" y="1404"/>
                      <a:pt x="705" y="1404"/>
                    </a:cubicBezTo>
                    <a:cubicBezTo>
                      <a:pt x="717" y="1416"/>
                      <a:pt x="741" y="1432"/>
                      <a:pt x="741" y="1432"/>
                    </a:cubicBezTo>
                    <a:cubicBezTo>
                      <a:pt x="753" y="1488"/>
                      <a:pt x="737" y="1536"/>
                      <a:pt x="705" y="1583"/>
                    </a:cubicBezTo>
                    <a:cubicBezTo>
                      <a:pt x="673" y="1671"/>
                      <a:pt x="617" y="1879"/>
                      <a:pt x="545" y="1959"/>
                    </a:cubicBezTo>
                    <a:cubicBezTo>
                      <a:pt x="533" y="1975"/>
                      <a:pt x="525" y="1995"/>
                      <a:pt x="509" y="2003"/>
                    </a:cubicBezTo>
                    <a:cubicBezTo>
                      <a:pt x="501" y="2023"/>
                      <a:pt x="497" y="2035"/>
                      <a:pt x="489" y="2051"/>
                    </a:cubicBezTo>
                    <a:cubicBezTo>
                      <a:pt x="485" y="2059"/>
                      <a:pt x="481" y="2075"/>
                      <a:pt x="481" y="2075"/>
                    </a:cubicBezTo>
                    <a:cubicBezTo>
                      <a:pt x="461" y="2107"/>
                      <a:pt x="381" y="2167"/>
                      <a:pt x="369" y="2239"/>
                    </a:cubicBezTo>
                    <a:cubicBezTo>
                      <a:pt x="349" y="2315"/>
                      <a:pt x="365" y="2435"/>
                      <a:pt x="413" y="2507"/>
                    </a:cubicBezTo>
                    <a:cubicBezTo>
                      <a:pt x="421" y="2535"/>
                      <a:pt x="445" y="2535"/>
                      <a:pt x="457" y="2559"/>
                    </a:cubicBezTo>
                    <a:cubicBezTo>
                      <a:pt x="473" y="2591"/>
                      <a:pt x="465" y="2655"/>
                      <a:pt x="473" y="2687"/>
                    </a:cubicBezTo>
                    <a:cubicBezTo>
                      <a:pt x="477" y="2787"/>
                      <a:pt x="473" y="2887"/>
                      <a:pt x="457" y="2987"/>
                    </a:cubicBezTo>
                    <a:cubicBezTo>
                      <a:pt x="457" y="2995"/>
                      <a:pt x="453" y="3003"/>
                      <a:pt x="461" y="3007"/>
                    </a:cubicBezTo>
                    <a:cubicBezTo>
                      <a:pt x="469" y="3011"/>
                      <a:pt x="485" y="2999"/>
                      <a:pt x="485" y="2999"/>
                    </a:cubicBezTo>
                    <a:cubicBezTo>
                      <a:pt x="525" y="3007"/>
                      <a:pt x="561" y="3019"/>
                      <a:pt x="597" y="3031"/>
                    </a:cubicBezTo>
                    <a:cubicBezTo>
                      <a:pt x="621" y="3039"/>
                      <a:pt x="637" y="3047"/>
                      <a:pt x="657" y="3055"/>
                    </a:cubicBezTo>
                    <a:cubicBezTo>
                      <a:pt x="661" y="3055"/>
                      <a:pt x="669" y="3059"/>
                      <a:pt x="669" y="3059"/>
                    </a:cubicBezTo>
                    <a:cubicBezTo>
                      <a:pt x="685" y="3075"/>
                      <a:pt x="705" y="3079"/>
                      <a:pt x="729" y="3083"/>
                    </a:cubicBezTo>
                    <a:cubicBezTo>
                      <a:pt x="769" y="3075"/>
                      <a:pt x="801" y="3055"/>
                      <a:pt x="841" y="3047"/>
                    </a:cubicBezTo>
                    <a:cubicBezTo>
                      <a:pt x="880" y="3027"/>
                      <a:pt x="912" y="2999"/>
                      <a:pt x="956" y="2991"/>
                    </a:cubicBezTo>
                    <a:cubicBezTo>
                      <a:pt x="968" y="2983"/>
                      <a:pt x="980" y="2967"/>
                      <a:pt x="992" y="2963"/>
                    </a:cubicBezTo>
                    <a:cubicBezTo>
                      <a:pt x="1004" y="2959"/>
                      <a:pt x="1024" y="2955"/>
                      <a:pt x="1024" y="2955"/>
                    </a:cubicBezTo>
                    <a:cubicBezTo>
                      <a:pt x="1040" y="2931"/>
                      <a:pt x="1092" y="2915"/>
                      <a:pt x="1120" y="2907"/>
                    </a:cubicBezTo>
                    <a:cubicBezTo>
                      <a:pt x="1132" y="2887"/>
                      <a:pt x="1168" y="2867"/>
                      <a:pt x="1192" y="2859"/>
                    </a:cubicBezTo>
                    <a:cubicBezTo>
                      <a:pt x="1212" y="2827"/>
                      <a:pt x="1276" y="2839"/>
                      <a:pt x="1312" y="2831"/>
                    </a:cubicBezTo>
                    <a:cubicBezTo>
                      <a:pt x="1336" y="2811"/>
                      <a:pt x="1348" y="2791"/>
                      <a:pt x="1372" y="2783"/>
                    </a:cubicBezTo>
                    <a:cubicBezTo>
                      <a:pt x="1380" y="2779"/>
                      <a:pt x="1396" y="2767"/>
                      <a:pt x="1396" y="2767"/>
                    </a:cubicBezTo>
                    <a:cubicBezTo>
                      <a:pt x="1389" y="2753"/>
                      <a:pt x="1388" y="2743"/>
                      <a:pt x="1396" y="2723"/>
                    </a:cubicBezTo>
                    <a:cubicBezTo>
                      <a:pt x="1412" y="2675"/>
                      <a:pt x="1465" y="2573"/>
                      <a:pt x="1500" y="2534"/>
                    </a:cubicBezTo>
                    <a:cubicBezTo>
                      <a:pt x="1530" y="2472"/>
                      <a:pt x="1555" y="2397"/>
                      <a:pt x="1576" y="2351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</p:grpSp>
        <p:sp>
          <p:nvSpPr>
            <p:cNvPr id="272" name="Freeform 80"/>
            <p:cNvSpPr>
              <a:spLocks noChangeAspect="1"/>
            </p:cNvSpPr>
            <p:nvPr/>
          </p:nvSpPr>
          <p:spPr bwMode="auto">
            <a:xfrm>
              <a:off x="2987" y="2315"/>
              <a:ext cx="291" cy="179"/>
            </a:xfrm>
            <a:custGeom>
              <a:avLst/>
              <a:gdLst>
                <a:gd name="T0" fmla="*/ 0 w 1156"/>
                <a:gd name="T1" fmla="*/ 0 h 708"/>
                <a:gd name="T2" fmla="*/ 0 w 1156"/>
                <a:gd name="T3" fmla="*/ 0 h 708"/>
                <a:gd name="T4" fmla="*/ 0 w 1156"/>
                <a:gd name="T5" fmla="*/ 0 h 708"/>
                <a:gd name="T6" fmla="*/ 0 w 1156"/>
                <a:gd name="T7" fmla="*/ 0 h 708"/>
                <a:gd name="T8" fmla="*/ 0 w 1156"/>
                <a:gd name="T9" fmla="*/ 0 h 708"/>
                <a:gd name="T10" fmla="*/ 0 w 1156"/>
                <a:gd name="T11" fmla="*/ 0 h 708"/>
                <a:gd name="T12" fmla="*/ 0 w 1156"/>
                <a:gd name="T13" fmla="*/ 0 h 708"/>
                <a:gd name="T14" fmla="*/ 0 w 1156"/>
                <a:gd name="T15" fmla="*/ 0 h 708"/>
                <a:gd name="T16" fmla="*/ 0 w 1156"/>
                <a:gd name="T17" fmla="*/ 0 h 708"/>
                <a:gd name="T18" fmla="*/ 0 w 1156"/>
                <a:gd name="T19" fmla="*/ 0 h 708"/>
                <a:gd name="T20" fmla="*/ 0 w 1156"/>
                <a:gd name="T21" fmla="*/ 0 h 708"/>
                <a:gd name="T22" fmla="*/ 0 w 1156"/>
                <a:gd name="T23" fmla="*/ 0 h 708"/>
                <a:gd name="T24" fmla="*/ 0 w 1156"/>
                <a:gd name="T25" fmla="*/ 0 h 708"/>
                <a:gd name="T26" fmla="*/ 0 w 1156"/>
                <a:gd name="T27" fmla="*/ 0 h 708"/>
                <a:gd name="T28" fmla="*/ 0 w 1156"/>
                <a:gd name="T29" fmla="*/ 0 h 708"/>
                <a:gd name="T30" fmla="*/ 0 w 1156"/>
                <a:gd name="T31" fmla="*/ 0 h 708"/>
                <a:gd name="T32" fmla="*/ 0 w 1156"/>
                <a:gd name="T33" fmla="*/ 0 h 708"/>
                <a:gd name="T34" fmla="*/ 0 w 1156"/>
                <a:gd name="T35" fmla="*/ 0 h 708"/>
                <a:gd name="T36" fmla="*/ 0 w 1156"/>
                <a:gd name="T37" fmla="*/ 0 h 708"/>
                <a:gd name="T38" fmla="*/ 0 w 1156"/>
                <a:gd name="T39" fmla="*/ 0 h 708"/>
                <a:gd name="T40" fmla="*/ 0 w 1156"/>
                <a:gd name="T41" fmla="*/ 0 h 708"/>
                <a:gd name="T42" fmla="*/ 0 w 1156"/>
                <a:gd name="T43" fmla="*/ 0 h 708"/>
                <a:gd name="T44" fmla="*/ 0 w 1156"/>
                <a:gd name="T45" fmla="*/ 0 h 708"/>
                <a:gd name="T46" fmla="*/ 0 w 1156"/>
                <a:gd name="T47" fmla="*/ 0 h 708"/>
                <a:gd name="T48" fmla="*/ 0 w 1156"/>
                <a:gd name="T49" fmla="*/ 0 h 708"/>
                <a:gd name="T50" fmla="*/ 0 w 1156"/>
                <a:gd name="T51" fmla="*/ 0 h 708"/>
                <a:gd name="T52" fmla="*/ 0 w 1156"/>
                <a:gd name="T53" fmla="*/ 0 h 708"/>
                <a:gd name="T54" fmla="*/ 0 w 1156"/>
                <a:gd name="T55" fmla="*/ 0 h 708"/>
                <a:gd name="T56" fmla="*/ 0 w 1156"/>
                <a:gd name="T57" fmla="*/ 0 h 708"/>
                <a:gd name="T58" fmla="*/ 0 w 1156"/>
                <a:gd name="T59" fmla="*/ 0 h 708"/>
                <a:gd name="T60" fmla="*/ 0 w 1156"/>
                <a:gd name="T61" fmla="*/ 0 h 708"/>
                <a:gd name="T62" fmla="*/ 0 w 1156"/>
                <a:gd name="T63" fmla="*/ 0 h 708"/>
                <a:gd name="T64" fmla="*/ 0 w 1156"/>
                <a:gd name="T65" fmla="*/ 0 h 708"/>
                <a:gd name="T66" fmla="*/ 0 w 1156"/>
                <a:gd name="T67" fmla="*/ 0 h 708"/>
                <a:gd name="T68" fmla="*/ 0 w 1156"/>
                <a:gd name="T69" fmla="*/ 0 h 708"/>
                <a:gd name="T70" fmla="*/ 0 w 1156"/>
                <a:gd name="T71" fmla="*/ 0 h 708"/>
                <a:gd name="T72" fmla="*/ 0 w 1156"/>
                <a:gd name="T73" fmla="*/ 0 h 708"/>
                <a:gd name="T74" fmla="*/ 0 w 1156"/>
                <a:gd name="T75" fmla="*/ 0 h 708"/>
                <a:gd name="T76" fmla="*/ 0 w 1156"/>
                <a:gd name="T77" fmla="*/ 0 h 708"/>
                <a:gd name="T78" fmla="*/ 0 w 1156"/>
                <a:gd name="T79" fmla="*/ 0 h 708"/>
                <a:gd name="T80" fmla="*/ 0 w 1156"/>
                <a:gd name="T81" fmla="*/ 0 h 708"/>
                <a:gd name="T82" fmla="*/ 0 w 1156"/>
                <a:gd name="T83" fmla="*/ 0 h 708"/>
                <a:gd name="T84" fmla="*/ 0 w 1156"/>
                <a:gd name="T85" fmla="*/ 0 h 708"/>
                <a:gd name="T86" fmla="*/ 0 w 1156"/>
                <a:gd name="T87" fmla="*/ 0 h 708"/>
                <a:gd name="T88" fmla="*/ 0 w 1156"/>
                <a:gd name="T89" fmla="*/ 0 h 708"/>
                <a:gd name="T90" fmla="*/ 0 w 1156"/>
                <a:gd name="T91" fmla="*/ 0 h 708"/>
                <a:gd name="T92" fmla="*/ 0 w 1156"/>
                <a:gd name="T93" fmla="*/ 0 h 708"/>
                <a:gd name="T94" fmla="*/ 0 w 1156"/>
                <a:gd name="T95" fmla="*/ 0 h 708"/>
                <a:gd name="T96" fmla="*/ 0 w 1156"/>
                <a:gd name="T97" fmla="*/ 0 h 708"/>
                <a:gd name="T98" fmla="*/ 0 w 1156"/>
                <a:gd name="T99" fmla="*/ 0 h 708"/>
                <a:gd name="T100" fmla="*/ 0 w 1156"/>
                <a:gd name="T101" fmla="*/ 0 h 708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156"/>
                <a:gd name="T154" fmla="*/ 0 h 708"/>
                <a:gd name="T155" fmla="*/ 1156 w 1156"/>
                <a:gd name="T156" fmla="*/ 708 h 708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156" h="708">
                  <a:moveTo>
                    <a:pt x="1156" y="416"/>
                  </a:moveTo>
                  <a:cubicBezTo>
                    <a:pt x="1148" y="404"/>
                    <a:pt x="1144" y="392"/>
                    <a:pt x="1132" y="380"/>
                  </a:cubicBezTo>
                  <a:cubicBezTo>
                    <a:pt x="1124" y="356"/>
                    <a:pt x="1128" y="328"/>
                    <a:pt x="1104" y="312"/>
                  </a:cubicBezTo>
                  <a:cubicBezTo>
                    <a:pt x="1096" y="292"/>
                    <a:pt x="1052" y="232"/>
                    <a:pt x="1032" y="224"/>
                  </a:cubicBezTo>
                  <a:cubicBezTo>
                    <a:pt x="1036" y="132"/>
                    <a:pt x="1048" y="140"/>
                    <a:pt x="976" y="92"/>
                  </a:cubicBezTo>
                  <a:cubicBezTo>
                    <a:pt x="972" y="76"/>
                    <a:pt x="953" y="83"/>
                    <a:pt x="945" y="63"/>
                  </a:cubicBezTo>
                  <a:cubicBezTo>
                    <a:pt x="845" y="72"/>
                    <a:pt x="831" y="92"/>
                    <a:pt x="819" y="99"/>
                  </a:cubicBezTo>
                  <a:cubicBezTo>
                    <a:pt x="789" y="104"/>
                    <a:pt x="786" y="98"/>
                    <a:pt x="764" y="96"/>
                  </a:cubicBezTo>
                  <a:cubicBezTo>
                    <a:pt x="740" y="60"/>
                    <a:pt x="719" y="78"/>
                    <a:pt x="684" y="50"/>
                  </a:cubicBezTo>
                  <a:cubicBezTo>
                    <a:pt x="672" y="38"/>
                    <a:pt x="664" y="24"/>
                    <a:pt x="648" y="20"/>
                  </a:cubicBezTo>
                  <a:cubicBezTo>
                    <a:pt x="636" y="0"/>
                    <a:pt x="626" y="10"/>
                    <a:pt x="602" y="6"/>
                  </a:cubicBezTo>
                  <a:cubicBezTo>
                    <a:pt x="564" y="9"/>
                    <a:pt x="564" y="0"/>
                    <a:pt x="532" y="20"/>
                  </a:cubicBezTo>
                  <a:cubicBezTo>
                    <a:pt x="509" y="32"/>
                    <a:pt x="483" y="62"/>
                    <a:pt x="460" y="52"/>
                  </a:cubicBezTo>
                  <a:cubicBezTo>
                    <a:pt x="432" y="88"/>
                    <a:pt x="456" y="192"/>
                    <a:pt x="496" y="220"/>
                  </a:cubicBezTo>
                  <a:cubicBezTo>
                    <a:pt x="504" y="252"/>
                    <a:pt x="512" y="288"/>
                    <a:pt x="484" y="308"/>
                  </a:cubicBezTo>
                  <a:cubicBezTo>
                    <a:pt x="472" y="328"/>
                    <a:pt x="472" y="336"/>
                    <a:pt x="448" y="344"/>
                  </a:cubicBezTo>
                  <a:cubicBezTo>
                    <a:pt x="416" y="344"/>
                    <a:pt x="388" y="348"/>
                    <a:pt x="356" y="340"/>
                  </a:cubicBezTo>
                  <a:cubicBezTo>
                    <a:pt x="352" y="340"/>
                    <a:pt x="352" y="328"/>
                    <a:pt x="348" y="324"/>
                  </a:cubicBezTo>
                  <a:cubicBezTo>
                    <a:pt x="336" y="312"/>
                    <a:pt x="304" y="300"/>
                    <a:pt x="288" y="296"/>
                  </a:cubicBezTo>
                  <a:cubicBezTo>
                    <a:pt x="276" y="276"/>
                    <a:pt x="268" y="256"/>
                    <a:pt x="252" y="240"/>
                  </a:cubicBezTo>
                  <a:cubicBezTo>
                    <a:pt x="244" y="228"/>
                    <a:pt x="216" y="212"/>
                    <a:pt x="216" y="212"/>
                  </a:cubicBezTo>
                  <a:cubicBezTo>
                    <a:pt x="208" y="196"/>
                    <a:pt x="192" y="180"/>
                    <a:pt x="180" y="172"/>
                  </a:cubicBezTo>
                  <a:cubicBezTo>
                    <a:pt x="160" y="180"/>
                    <a:pt x="172" y="188"/>
                    <a:pt x="148" y="192"/>
                  </a:cubicBezTo>
                  <a:cubicBezTo>
                    <a:pt x="124" y="208"/>
                    <a:pt x="96" y="216"/>
                    <a:pt x="76" y="236"/>
                  </a:cubicBezTo>
                  <a:cubicBezTo>
                    <a:pt x="68" y="260"/>
                    <a:pt x="64" y="280"/>
                    <a:pt x="48" y="296"/>
                  </a:cubicBezTo>
                  <a:cubicBezTo>
                    <a:pt x="40" y="320"/>
                    <a:pt x="20" y="336"/>
                    <a:pt x="16" y="364"/>
                  </a:cubicBezTo>
                  <a:cubicBezTo>
                    <a:pt x="12" y="420"/>
                    <a:pt x="8" y="436"/>
                    <a:pt x="0" y="484"/>
                  </a:cubicBezTo>
                  <a:cubicBezTo>
                    <a:pt x="4" y="536"/>
                    <a:pt x="0" y="696"/>
                    <a:pt x="36" y="708"/>
                  </a:cubicBezTo>
                  <a:cubicBezTo>
                    <a:pt x="39" y="684"/>
                    <a:pt x="59" y="655"/>
                    <a:pt x="69" y="638"/>
                  </a:cubicBezTo>
                  <a:cubicBezTo>
                    <a:pt x="79" y="621"/>
                    <a:pt x="83" y="639"/>
                    <a:pt x="96" y="608"/>
                  </a:cubicBezTo>
                  <a:cubicBezTo>
                    <a:pt x="117" y="605"/>
                    <a:pt x="162" y="570"/>
                    <a:pt x="204" y="576"/>
                  </a:cubicBezTo>
                  <a:cubicBezTo>
                    <a:pt x="226" y="564"/>
                    <a:pt x="216" y="548"/>
                    <a:pt x="230" y="546"/>
                  </a:cubicBezTo>
                  <a:cubicBezTo>
                    <a:pt x="236" y="544"/>
                    <a:pt x="231" y="558"/>
                    <a:pt x="240" y="561"/>
                  </a:cubicBezTo>
                  <a:cubicBezTo>
                    <a:pt x="249" y="564"/>
                    <a:pt x="269" y="561"/>
                    <a:pt x="287" y="566"/>
                  </a:cubicBezTo>
                  <a:cubicBezTo>
                    <a:pt x="299" y="552"/>
                    <a:pt x="299" y="560"/>
                    <a:pt x="303" y="539"/>
                  </a:cubicBezTo>
                  <a:cubicBezTo>
                    <a:pt x="323" y="551"/>
                    <a:pt x="315" y="561"/>
                    <a:pt x="330" y="567"/>
                  </a:cubicBezTo>
                  <a:cubicBezTo>
                    <a:pt x="381" y="536"/>
                    <a:pt x="393" y="531"/>
                    <a:pt x="410" y="549"/>
                  </a:cubicBezTo>
                  <a:cubicBezTo>
                    <a:pt x="410" y="531"/>
                    <a:pt x="414" y="530"/>
                    <a:pt x="489" y="527"/>
                  </a:cubicBezTo>
                  <a:cubicBezTo>
                    <a:pt x="511" y="536"/>
                    <a:pt x="562" y="537"/>
                    <a:pt x="576" y="533"/>
                  </a:cubicBezTo>
                  <a:cubicBezTo>
                    <a:pt x="590" y="529"/>
                    <a:pt x="566" y="515"/>
                    <a:pt x="576" y="504"/>
                  </a:cubicBezTo>
                  <a:cubicBezTo>
                    <a:pt x="576" y="488"/>
                    <a:pt x="625" y="468"/>
                    <a:pt x="638" y="470"/>
                  </a:cubicBezTo>
                  <a:cubicBezTo>
                    <a:pt x="642" y="486"/>
                    <a:pt x="641" y="508"/>
                    <a:pt x="657" y="516"/>
                  </a:cubicBezTo>
                  <a:cubicBezTo>
                    <a:pt x="669" y="524"/>
                    <a:pt x="690" y="530"/>
                    <a:pt x="690" y="530"/>
                  </a:cubicBezTo>
                  <a:cubicBezTo>
                    <a:pt x="726" y="526"/>
                    <a:pt x="752" y="524"/>
                    <a:pt x="784" y="536"/>
                  </a:cubicBezTo>
                  <a:cubicBezTo>
                    <a:pt x="786" y="551"/>
                    <a:pt x="840" y="567"/>
                    <a:pt x="879" y="588"/>
                  </a:cubicBezTo>
                  <a:cubicBezTo>
                    <a:pt x="899" y="617"/>
                    <a:pt x="932" y="612"/>
                    <a:pt x="944" y="620"/>
                  </a:cubicBezTo>
                  <a:cubicBezTo>
                    <a:pt x="954" y="612"/>
                    <a:pt x="960" y="614"/>
                    <a:pt x="960" y="614"/>
                  </a:cubicBezTo>
                  <a:cubicBezTo>
                    <a:pt x="986" y="576"/>
                    <a:pt x="998" y="552"/>
                    <a:pt x="1094" y="566"/>
                  </a:cubicBezTo>
                  <a:cubicBezTo>
                    <a:pt x="1097" y="543"/>
                    <a:pt x="1101" y="578"/>
                    <a:pt x="1088" y="522"/>
                  </a:cubicBezTo>
                  <a:cubicBezTo>
                    <a:pt x="1091" y="488"/>
                    <a:pt x="1117" y="475"/>
                    <a:pt x="1137" y="447"/>
                  </a:cubicBezTo>
                  <a:cubicBezTo>
                    <a:pt x="1140" y="428"/>
                    <a:pt x="1145" y="422"/>
                    <a:pt x="1156" y="416"/>
                  </a:cubicBez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  <p:sp>
          <p:nvSpPr>
            <p:cNvPr id="273" name="Freeform 81"/>
            <p:cNvSpPr>
              <a:spLocks noChangeAspect="1"/>
            </p:cNvSpPr>
            <p:nvPr/>
          </p:nvSpPr>
          <p:spPr bwMode="auto">
            <a:xfrm>
              <a:off x="2996" y="2433"/>
              <a:ext cx="240" cy="192"/>
            </a:xfrm>
            <a:custGeom>
              <a:avLst/>
              <a:gdLst>
                <a:gd name="T0" fmla="*/ 0 w 952"/>
                <a:gd name="T1" fmla="*/ 0 h 758"/>
                <a:gd name="T2" fmla="*/ 0 w 952"/>
                <a:gd name="T3" fmla="*/ 0 h 758"/>
                <a:gd name="T4" fmla="*/ 0 w 952"/>
                <a:gd name="T5" fmla="*/ 0 h 758"/>
                <a:gd name="T6" fmla="*/ 0 w 952"/>
                <a:gd name="T7" fmla="*/ 0 h 758"/>
                <a:gd name="T8" fmla="*/ 0 w 952"/>
                <a:gd name="T9" fmla="*/ 0 h 758"/>
                <a:gd name="T10" fmla="*/ 0 w 952"/>
                <a:gd name="T11" fmla="*/ 0 h 758"/>
                <a:gd name="T12" fmla="*/ 0 w 952"/>
                <a:gd name="T13" fmla="*/ 0 h 758"/>
                <a:gd name="T14" fmla="*/ 0 w 952"/>
                <a:gd name="T15" fmla="*/ 0 h 758"/>
                <a:gd name="T16" fmla="*/ 0 w 952"/>
                <a:gd name="T17" fmla="*/ 0 h 758"/>
                <a:gd name="T18" fmla="*/ 0 w 952"/>
                <a:gd name="T19" fmla="*/ 0 h 758"/>
                <a:gd name="T20" fmla="*/ 0 w 952"/>
                <a:gd name="T21" fmla="*/ 0 h 758"/>
                <a:gd name="T22" fmla="*/ 0 w 952"/>
                <a:gd name="T23" fmla="*/ 0 h 758"/>
                <a:gd name="T24" fmla="*/ 0 w 952"/>
                <a:gd name="T25" fmla="*/ 0 h 758"/>
                <a:gd name="T26" fmla="*/ 0 w 952"/>
                <a:gd name="T27" fmla="*/ 0 h 758"/>
                <a:gd name="T28" fmla="*/ 0 w 952"/>
                <a:gd name="T29" fmla="*/ 0 h 758"/>
                <a:gd name="T30" fmla="*/ 0 w 952"/>
                <a:gd name="T31" fmla="*/ 0 h 758"/>
                <a:gd name="T32" fmla="*/ 0 w 952"/>
                <a:gd name="T33" fmla="*/ 0 h 758"/>
                <a:gd name="T34" fmla="*/ 0 w 952"/>
                <a:gd name="T35" fmla="*/ 0 h 758"/>
                <a:gd name="T36" fmla="*/ 0 w 952"/>
                <a:gd name="T37" fmla="*/ 0 h 758"/>
                <a:gd name="T38" fmla="*/ 0 w 952"/>
                <a:gd name="T39" fmla="*/ 0 h 758"/>
                <a:gd name="T40" fmla="*/ 0 w 952"/>
                <a:gd name="T41" fmla="*/ 0 h 758"/>
                <a:gd name="T42" fmla="*/ 0 w 952"/>
                <a:gd name="T43" fmla="*/ 0 h 758"/>
                <a:gd name="T44" fmla="*/ 0 w 952"/>
                <a:gd name="T45" fmla="*/ 0 h 758"/>
                <a:gd name="T46" fmla="*/ 0 w 952"/>
                <a:gd name="T47" fmla="*/ 0 h 758"/>
                <a:gd name="T48" fmla="*/ 0 w 952"/>
                <a:gd name="T49" fmla="*/ 0 h 758"/>
                <a:gd name="T50" fmla="*/ 0 w 952"/>
                <a:gd name="T51" fmla="*/ 0 h 758"/>
                <a:gd name="T52" fmla="*/ 0 w 952"/>
                <a:gd name="T53" fmla="*/ 0 h 758"/>
                <a:gd name="T54" fmla="*/ 0 w 952"/>
                <a:gd name="T55" fmla="*/ 0 h 758"/>
                <a:gd name="T56" fmla="*/ 0 w 952"/>
                <a:gd name="T57" fmla="*/ 0 h 758"/>
                <a:gd name="T58" fmla="*/ 0 w 952"/>
                <a:gd name="T59" fmla="*/ 0 h 758"/>
                <a:gd name="T60" fmla="*/ 0 w 952"/>
                <a:gd name="T61" fmla="*/ 0 h 758"/>
                <a:gd name="T62" fmla="*/ 0 w 952"/>
                <a:gd name="T63" fmla="*/ 0 h 758"/>
                <a:gd name="T64" fmla="*/ 0 w 952"/>
                <a:gd name="T65" fmla="*/ 0 h 758"/>
                <a:gd name="T66" fmla="*/ 0 w 952"/>
                <a:gd name="T67" fmla="*/ 0 h 758"/>
                <a:gd name="T68" fmla="*/ 0 w 952"/>
                <a:gd name="T69" fmla="*/ 0 h 758"/>
                <a:gd name="T70" fmla="*/ 0 w 952"/>
                <a:gd name="T71" fmla="*/ 0 h 758"/>
                <a:gd name="T72" fmla="*/ 0 w 952"/>
                <a:gd name="T73" fmla="*/ 0 h 758"/>
                <a:gd name="T74" fmla="*/ 0 w 952"/>
                <a:gd name="T75" fmla="*/ 0 h 758"/>
                <a:gd name="T76" fmla="*/ 0 w 952"/>
                <a:gd name="T77" fmla="*/ 0 h 758"/>
                <a:gd name="T78" fmla="*/ 0 w 952"/>
                <a:gd name="T79" fmla="*/ 0 h 758"/>
                <a:gd name="T80" fmla="*/ 0 w 952"/>
                <a:gd name="T81" fmla="*/ 0 h 758"/>
                <a:gd name="T82" fmla="*/ 0 w 952"/>
                <a:gd name="T83" fmla="*/ 0 h 758"/>
                <a:gd name="T84" fmla="*/ 0 w 952"/>
                <a:gd name="T85" fmla="*/ 0 h 758"/>
                <a:gd name="T86" fmla="*/ 0 w 952"/>
                <a:gd name="T87" fmla="*/ 0 h 758"/>
                <a:gd name="T88" fmla="*/ 0 w 952"/>
                <a:gd name="T89" fmla="*/ 0 h 758"/>
                <a:gd name="T90" fmla="*/ 0 w 952"/>
                <a:gd name="T91" fmla="*/ 0 h 758"/>
                <a:gd name="T92" fmla="*/ 0 w 952"/>
                <a:gd name="T93" fmla="*/ 0 h 758"/>
                <a:gd name="T94" fmla="*/ 0 w 952"/>
                <a:gd name="T95" fmla="*/ 0 h 758"/>
                <a:gd name="T96" fmla="*/ 0 w 952"/>
                <a:gd name="T97" fmla="*/ 0 h 758"/>
                <a:gd name="T98" fmla="*/ 0 w 952"/>
                <a:gd name="T99" fmla="*/ 0 h 758"/>
                <a:gd name="T100" fmla="*/ 0 w 952"/>
                <a:gd name="T101" fmla="*/ 0 h 758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952"/>
                <a:gd name="T154" fmla="*/ 0 h 758"/>
                <a:gd name="T155" fmla="*/ 952 w 952"/>
                <a:gd name="T156" fmla="*/ 758 h 758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952" h="758">
                  <a:moveTo>
                    <a:pt x="912" y="152"/>
                  </a:moveTo>
                  <a:cubicBezTo>
                    <a:pt x="844" y="140"/>
                    <a:pt x="856" y="120"/>
                    <a:pt x="808" y="104"/>
                  </a:cubicBezTo>
                  <a:cubicBezTo>
                    <a:pt x="792" y="88"/>
                    <a:pt x="776" y="92"/>
                    <a:pt x="756" y="80"/>
                  </a:cubicBezTo>
                  <a:cubicBezTo>
                    <a:pt x="736" y="48"/>
                    <a:pt x="696" y="60"/>
                    <a:pt x="656" y="60"/>
                  </a:cubicBezTo>
                  <a:cubicBezTo>
                    <a:pt x="648" y="60"/>
                    <a:pt x="620" y="52"/>
                    <a:pt x="616" y="48"/>
                  </a:cubicBezTo>
                  <a:cubicBezTo>
                    <a:pt x="604" y="36"/>
                    <a:pt x="600" y="0"/>
                    <a:pt x="600" y="0"/>
                  </a:cubicBezTo>
                  <a:cubicBezTo>
                    <a:pt x="580" y="4"/>
                    <a:pt x="544" y="24"/>
                    <a:pt x="544" y="24"/>
                  </a:cubicBezTo>
                  <a:cubicBezTo>
                    <a:pt x="532" y="34"/>
                    <a:pt x="542" y="50"/>
                    <a:pt x="546" y="66"/>
                  </a:cubicBezTo>
                  <a:cubicBezTo>
                    <a:pt x="531" y="68"/>
                    <a:pt x="507" y="69"/>
                    <a:pt x="492" y="68"/>
                  </a:cubicBezTo>
                  <a:cubicBezTo>
                    <a:pt x="476" y="72"/>
                    <a:pt x="472" y="64"/>
                    <a:pt x="456" y="60"/>
                  </a:cubicBezTo>
                  <a:cubicBezTo>
                    <a:pt x="416" y="64"/>
                    <a:pt x="380" y="48"/>
                    <a:pt x="372" y="84"/>
                  </a:cubicBezTo>
                  <a:cubicBezTo>
                    <a:pt x="368" y="68"/>
                    <a:pt x="356" y="64"/>
                    <a:pt x="340" y="68"/>
                  </a:cubicBezTo>
                  <a:cubicBezTo>
                    <a:pt x="328" y="80"/>
                    <a:pt x="320" y="88"/>
                    <a:pt x="304" y="92"/>
                  </a:cubicBezTo>
                  <a:cubicBezTo>
                    <a:pt x="288" y="116"/>
                    <a:pt x="280" y="80"/>
                    <a:pt x="268" y="68"/>
                  </a:cubicBezTo>
                  <a:cubicBezTo>
                    <a:pt x="260" y="108"/>
                    <a:pt x="244" y="96"/>
                    <a:pt x="204" y="92"/>
                  </a:cubicBezTo>
                  <a:cubicBezTo>
                    <a:pt x="192" y="60"/>
                    <a:pt x="184" y="100"/>
                    <a:pt x="176" y="104"/>
                  </a:cubicBezTo>
                  <a:cubicBezTo>
                    <a:pt x="160" y="108"/>
                    <a:pt x="144" y="108"/>
                    <a:pt x="128" y="108"/>
                  </a:cubicBezTo>
                  <a:cubicBezTo>
                    <a:pt x="112" y="116"/>
                    <a:pt x="100" y="124"/>
                    <a:pt x="84" y="132"/>
                  </a:cubicBezTo>
                  <a:cubicBezTo>
                    <a:pt x="76" y="136"/>
                    <a:pt x="60" y="140"/>
                    <a:pt x="60" y="140"/>
                  </a:cubicBezTo>
                  <a:cubicBezTo>
                    <a:pt x="52" y="156"/>
                    <a:pt x="52" y="164"/>
                    <a:pt x="36" y="168"/>
                  </a:cubicBezTo>
                  <a:cubicBezTo>
                    <a:pt x="28" y="188"/>
                    <a:pt x="16" y="200"/>
                    <a:pt x="4" y="216"/>
                  </a:cubicBezTo>
                  <a:cubicBezTo>
                    <a:pt x="4" y="236"/>
                    <a:pt x="0" y="320"/>
                    <a:pt x="24" y="328"/>
                  </a:cubicBezTo>
                  <a:cubicBezTo>
                    <a:pt x="32" y="356"/>
                    <a:pt x="20" y="408"/>
                    <a:pt x="52" y="420"/>
                  </a:cubicBezTo>
                  <a:cubicBezTo>
                    <a:pt x="83" y="429"/>
                    <a:pt x="100" y="442"/>
                    <a:pt x="128" y="450"/>
                  </a:cubicBezTo>
                  <a:cubicBezTo>
                    <a:pt x="148" y="462"/>
                    <a:pt x="201" y="480"/>
                    <a:pt x="201" y="480"/>
                  </a:cubicBezTo>
                  <a:cubicBezTo>
                    <a:pt x="231" y="495"/>
                    <a:pt x="287" y="480"/>
                    <a:pt x="315" y="504"/>
                  </a:cubicBezTo>
                  <a:cubicBezTo>
                    <a:pt x="319" y="528"/>
                    <a:pt x="343" y="641"/>
                    <a:pt x="359" y="657"/>
                  </a:cubicBezTo>
                  <a:cubicBezTo>
                    <a:pt x="396" y="660"/>
                    <a:pt x="422" y="663"/>
                    <a:pt x="443" y="684"/>
                  </a:cubicBezTo>
                  <a:cubicBezTo>
                    <a:pt x="485" y="708"/>
                    <a:pt x="492" y="726"/>
                    <a:pt x="509" y="758"/>
                  </a:cubicBezTo>
                  <a:cubicBezTo>
                    <a:pt x="563" y="758"/>
                    <a:pt x="566" y="755"/>
                    <a:pt x="615" y="725"/>
                  </a:cubicBezTo>
                  <a:cubicBezTo>
                    <a:pt x="636" y="750"/>
                    <a:pt x="657" y="750"/>
                    <a:pt x="683" y="714"/>
                  </a:cubicBezTo>
                  <a:cubicBezTo>
                    <a:pt x="701" y="709"/>
                    <a:pt x="719" y="701"/>
                    <a:pt x="723" y="696"/>
                  </a:cubicBezTo>
                  <a:cubicBezTo>
                    <a:pt x="741" y="686"/>
                    <a:pt x="705" y="688"/>
                    <a:pt x="707" y="680"/>
                  </a:cubicBezTo>
                  <a:cubicBezTo>
                    <a:pt x="709" y="672"/>
                    <a:pt x="725" y="651"/>
                    <a:pt x="734" y="645"/>
                  </a:cubicBezTo>
                  <a:cubicBezTo>
                    <a:pt x="746" y="642"/>
                    <a:pt x="765" y="644"/>
                    <a:pt x="765" y="644"/>
                  </a:cubicBezTo>
                  <a:cubicBezTo>
                    <a:pt x="773" y="628"/>
                    <a:pt x="791" y="597"/>
                    <a:pt x="813" y="599"/>
                  </a:cubicBezTo>
                  <a:cubicBezTo>
                    <a:pt x="823" y="595"/>
                    <a:pt x="812" y="613"/>
                    <a:pt x="818" y="620"/>
                  </a:cubicBezTo>
                  <a:cubicBezTo>
                    <a:pt x="824" y="627"/>
                    <a:pt x="837" y="630"/>
                    <a:pt x="852" y="640"/>
                  </a:cubicBezTo>
                  <a:cubicBezTo>
                    <a:pt x="884" y="632"/>
                    <a:pt x="872" y="608"/>
                    <a:pt x="852" y="592"/>
                  </a:cubicBezTo>
                  <a:cubicBezTo>
                    <a:pt x="839" y="587"/>
                    <a:pt x="845" y="594"/>
                    <a:pt x="825" y="566"/>
                  </a:cubicBezTo>
                  <a:cubicBezTo>
                    <a:pt x="821" y="558"/>
                    <a:pt x="824" y="528"/>
                    <a:pt x="824" y="528"/>
                  </a:cubicBezTo>
                  <a:cubicBezTo>
                    <a:pt x="822" y="512"/>
                    <a:pt x="818" y="482"/>
                    <a:pt x="834" y="459"/>
                  </a:cubicBezTo>
                  <a:cubicBezTo>
                    <a:pt x="835" y="442"/>
                    <a:pt x="822" y="447"/>
                    <a:pt x="830" y="425"/>
                  </a:cubicBezTo>
                  <a:cubicBezTo>
                    <a:pt x="834" y="417"/>
                    <a:pt x="861" y="375"/>
                    <a:pt x="885" y="329"/>
                  </a:cubicBezTo>
                  <a:cubicBezTo>
                    <a:pt x="897" y="321"/>
                    <a:pt x="914" y="312"/>
                    <a:pt x="914" y="312"/>
                  </a:cubicBezTo>
                  <a:cubicBezTo>
                    <a:pt x="930" y="296"/>
                    <a:pt x="940" y="308"/>
                    <a:pt x="952" y="288"/>
                  </a:cubicBezTo>
                  <a:cubicBezTo>
                    <a:pt x="948" y="280"/>
                    <a:pt x="949" y="269"/>
                    <a:pt x="941" y="261"/>
                  </a:cubicBezTo>
                  <a:cubicBezTo>
                    <a:pt x="923" y="257"/>
                    <a:pt x="904" y="248"/>
                    <a:pt x="904" y="248"/>
                  </a:cubicBezTo>
                  <a:cubicBezTo>
                    <a:pt x="896" y="224"/>
                    <a:pt x="902" y="239"/>
                    <a:pt x="902" y="225"/>
                  </a:cubicBezTo>
                  <a:cubicBezTo>
                    <a:pt x="912" y="204"/>
                    <a:pt x="921" y="164"/>
                    <a:pt x="924" y="144"/>
                  </a:cubicBezTo>
                  <a:cubicBezTo>
                    <a:pt x="900" y="152"/>
                    <a:pt x="896" y="152"/>
                    <a:pt x="912" y="152"/>
                  </a:cubicBez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  <p:sp>
          <p:nvSpPr>
            <p:cNvPr id="274" name="Freeform 82"/>
            <p:cNvSpPr>
              <a:spLocks noChangeAspect="1"/>
            </p:cNvSpPr>
            <p:nvPr/>
          </p:nvSpPr>
          <p:spPr bwMode="auto">
            <a:xfrm>
              <a:off x="2955" y="2536"/>
              <a:ext cx="132" cy="81"/>
            </a:xfrm>
            <a:custGeom>
              <a:avLst/>
              <a:gdLst>
                <a:gd name="T0" fmla="*/ 0 w 527"/>
                <a:gd name="T1" fmla="*/ 0 h 322"/>
                <a:gd name="T2" fmla="*/ 0 w 527"/>
                <a:gd name="T3" fmla="*/ 0 h 322"/>
                <a:gd name="T4" fmla="*/ 0 w 527"/>
                <a:gd name="T5" fmla="*/ 0 h 322"/>
                <a:gd name="T6" fmla="*/ 0 w 527"/>
                <a:gd name="T7" fmla="*/ 0 h 322"/>
                <a:gd name="T8" fmla="*/ 0 w 527"/>
                <a:gd name="T9" fmla="*/ 0 h 322"/>
                <a:gd name="T10" fmla="*/ 0 w 527"/>
                <a:gd name="T11" fmla="*/ 0 h 322"/>
                <a:gd name="T12" fmla="*/ 0 w 527"/>
                <a:gd name="T13" fmla="*/ 0 h 322"/>
                <a:gd name="T14" fmla="*/ 0 w 527"/>
                <a:gd name="T15" fmla="*/ 0 h 322"/>
                <a:gd name="T16" fmla="*/ 0 w 527"/>
                <a:gd name="T17" fmla="*/ 0 h 322"/>
                <a:gd name="T18" fmla="*/ 0 w 527"/>
                <a:gd name="T19" fmla="*/ 0 h 322"/>
                <a:gd name="T20" fmla="*/ 0 w 527"/>
                <a:gd name="T21" fmla="*/ 0 h 322"/>
                <a:gd name="T22" fmla="*/ 0 w 527"/>
                <a:gd name="T23" fmla="*/ 0 h 322"/>
                <a:gd name="T24" fmla="*/ 0 w 527"/>
                <a:gd name="T25" fmla="*/ 0 h 322"/>
                <a:gd name="T26" fmla="*/ 0 w 527"/>
                <a:gd name="T27" fmla="*/ 0 h 322"/>
                <a:gd name="T28" fmla="*/ 0 w 527"/>
                <a:gd name="T29" fmla="*/ 0 h 322"/>
                <a:gd name="T30" fmla="*/ 0 w 527"/>
                <a:gd name="T31" fmla="*/ 0 h 32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527"/>
                <a:gd name="T49" fmla="*/ 0 h 322"/>
                <a:gd name="T50" fmla="*/ 527 w 527"/>
                <a:gd name="T51" fmla="*/ 322 h 32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527" h="322">
                  <a:moveTo>
                    <a:pt x="192" y="0"/>
                  </a:moveTo>
                  <a:cubicBezTo>
                    <a:pt x="228" y="12"/>
                    <a:pt x="283" y="52"/>
                    <a:pt x="395" y="84"/>
                  </a:cubicBezTo>
                  <a:cubicBezTo>
                    <a:pt x="411" y="84"/>
                    <a:pt x="463" y="84"/>
                    <a:pt x="479" y="96"/>
                  </a:cubicBezTo>
                  <a:cubicBezTo>
                    <a:pt x="491" y="136"/>
                    <a:pt x="499" y="176"/>
                    <a:pt x="507" y="216"/>
                  </a:cubicBezTo>
                  <a:cubicBezTo>
                    <a:pt x="511" y="228"/>
                    <a:pt x="527" y="252"/>
                    <a:pt x="527" y="252"/>
                  </a:cubicBezTo>
                  <a:cubicBezTo>
                    <a:pt x="490" y="253"/>
                    <a:pt x="484" y="250"/>
                    <a:pt x="443" y="267"/>
                  </a:cubicBezTo>
                  <a:cubicBezTo>
                    <a:pt x="423" y="271"/>
                    <a:pt x="375" y="292"/>
                    <a:pt x="375" y="292"/>
                  </a:cubicBezTo>
                  <a:cubicBezTo>
                    <a:pt x="334" y="294"/>
                    <a:pt x="314" y="303"/>
                    <a:pt x="277" y="304"/>
                  </a:cubicBezTo>
                  <a:cubicBezTo>
                    <a:pt x="242" y="308"/>
                    <a:pt x="206" y="314"/>
                    <a:pt x="170" y="318"/>
                  </a:cubicBezTo>
                  <a:cubicBezTo>
                    <a:pt x="113" y="315"/>
                    <a:pt x="100" y="322"/>
                    <a:pt x="8" y="312"/>
                  </a:cubicBezTo>
                  <a:cubicBezTo>
                    <a:pt x="0" y="312"/>
                    <a:pt x="16" y="288"/>
                    <a:pt x="16" y="288"/>
                  </a:cubicBezTo>
                  <a:cubicBezTo>
                    <a:pt x="28" y="180"/>
                    <a:pt x="8" y="180"/>
                    <a:pt x="96" y="156"/>
                  </a:cubicBezTo>
                  <a:cubicBezTo>
                    <a:pt x="112" y="140"/>
                    <a:pt x="124" y="124"/>
                    <a:pt x="144" y="116"/>
                  </a:cubicBezTo>
                  <a:cubicBezTo>
                    <a:pt x="160" y="96"/>
                    <a:pt x="164" y="84"/>
                    <a:pt x="176" y="64"/>
                  </a:cubicBezTo>
                  <a:cubicBezTo>
                    <a:pt x="180" y="56"/>
                    <a:pt x="192" y="40"/>
                    <a:pt x="192" y="40"/>
                  </a:cubicBezTo>
                  <a:cubicBezTo>
                    <a:pt x="184" y="8"/>
                    <a:pt x="180" y="20"/>
                    <a:pt x="192" y="0"/>
                  </a:cubicBez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  <p:sp>
          <p:nvSpPr>
            <p:cNvPr id="275" name="Freeform 83"/>
            <p:cNvSpPr>
              <a:spLocks noChangeAspect="1"/>
            </p:cNvSpPr>
            <p:nvPr/>
          </p:nvSpPr>
          <p:spPr bwMode="auto">
            <a:xfrm>
              <a:off x="3124" y="2417"/>
              <a:ext cx="395" cy="383"/>
            </a:xfrm>
            <a:custGeom>
              <a:avLst/>
              <a:gdLst>
                <a:gd name="T0" fmla="*/ 0 w 1566"/>
                <a:gd name="T1" fmla="*/ 0 h 1516"/>
                <a:gd name="T2" fmla="*/ 0 w 1566"/>
                <a:gd name="T3" fmla="*/ 0 h 1516"/>
                <a:gd name="T4" fmla="*/ 0 w 1566"/>
                <a:gd name="T5" fmla="*/ 0 h 1516"/>
                <a:gd name="T6" fmla="*/ 0 w 1566"/>
                <a:gd name="T7" fmla="*/ 0 h 1516"/>
                <a:gd name="T8" fmla="*/ 0 w 1566"/>
                <a:gd name="T9" fmla="*/ 0 h 1516"/>
                <a:gd name="T10" fmla="*/ 0 w 1566"/>
                <a:gd name="T11" fmla="*/ 0 h 1516"/>
                <a:gd name="T12" fmla="*/ 0 w 1566"/>
                <a:gd name="T13" fmla="*/ 0 h 1516"/>
                <a:gd name="T14" fmla="*/ 0 w 1566"/>
                <a:gd name="T15" fmla="*/ 0 h 1516"/>
                <a:gd name="T16" fmla="*/ 0 w 1566"/>
                <a:gd name="T17" fmla="*/ 0 h 1516"/>
                <a:gd name="T18" fmla="*/ 0 w 1566"/>
                <a:gd name="T19" fmla="*/ 0 h 1516"/>
                <a:gd name="T20" fmla="*/ 0 w 1566"/>
                <a:gd name="T21" fmla="*/ 0 h 1516"/>
                <a:gd name="T22" fmla="*/ 0 w 1566"/>
                <a:gd name="T23" fmla="*/ 0 h 1516"/>
                <a:gd name="T24" fmla="*/ 0 w 1566"/>
                <a:gd name="T25" fmla="*/ 0 h 1516"/>
                <a:gd name="T26" fmla="*/ 0 w 1566"/>
                <a:gd name="T27" fmla="*/ 0 h 1516"/>
                <a:gd name="T28" fmla="*/ 0 w 1566"/>
                <a:gd name="T29" fmla="*/ 0 h 1516"/>
                <a:gd name="T30" fmla="*/ 0 w 1566"/>
                <a:gd name="T31" fmla="*/ 0 h 1516"/>
                <a:gd name="T32" fmla="*/ 0 w 1566"/>
                <a:gd name="T33" fmla="*/ 0 h 1516"/>
                <a:gd name="T34" fmla="*/ 0 w 1566"/>
                <a:gd name="T35" fmla="*/ 0 h 1516"/>
                <a:gd name="T36" fmla="*/ 0 w 1566"/>
                <a:gd name="T37" fmla="*/ 0 h 1516"/>
                <a:gd name="T38" fmla="*/ 0 w 1566"/>
                <a:gd name="T39" fmla="*/ 0 h 1516"/>
                <a:gd name="T40" fmla="*/ 0 w 1566"/>
                <a:gd name="T41" fmla="*/ 0 h 1516"/>
                <a:gd name="T42" fmla="*/ 0 w 1566"/>
                <a:gd name="T43" fmla="*/ 0 h 1516"/>
                <a:gd name="T44" fmla="*/ 0 w 1566"/>
                <a:gd name="T45" fmla="*/ 0 h 1516"/>
                <a:gd name="T46" fmla="*/ 0 w 1566"/>
                <a:gd name="T47" fmla="*/ 0 h 1516"/>
                <a:gd name="T48" fmla="*/ 0 w 1566"/>
                <a:gd name="T49" fmla="*/ 0 h 1516"/>
                <a:gd name="T50" fmla="*/ 0 w 1566"/>
                <a:gd name="T51" fmla="*/ 0 h 1516"/>
                <a:gd name="T52" fmla="*/ 0 w 1566"/>
                <a:gd name="T53" fmla="*/ 0 h 1516"/>
                <a:gd name="T54" fmla="*/ 0 w 1566"/>
                <a:gd name="T55" fmla="*/ 0 h 1516"/>
                <a:gd name="T56" fmla="*/ 0 w 1566"/>
                <a:gd name="T57" fmla="*/ 0 h 1516"/>
                <a:gd name="T58" fmla="*/ 0 w 1566"/>
                <a:gd name="T59" fmla="*/ 0 h 1516"/>
                <a:gd name="T60" fmla="*/ 0 w 1566"/>
                <a:gd name="T61" fmla="*/ 0 h 1516"/>
                <a:gd name="T62" fmla="*/ 0 w 1566"/>
                <a:gd name="T63" fmla="*/ 0 h 1516"/>
                <a:gd name="T64" fmla="*/ 0 w 1566"/>
                <a:gd name="T65" fmla="*/ 0 h 1516"/>
                <a:gd name="T66" fmla="*/ 0 w 1566"/>
                <a:gd name="T67" fmla="*/ 0 h 1516"/>
                <a:gd name="T68" fmla="*/ 0 w 1566"/>
                <a:gd name="T69" fmla="*/ 0 h 1516"/>
                <a:gd name="T70" fmla="*/ 0 w 1566"/>
                <a:gd name="T71" fmla="*/ 0 h 1516"/>
                <a:gd name="T72" fmla="*/ 0 w 1566"/>
                <a:gd name="T73" fmla="*/ 0 h 1516"/>
                <a:gd name="T74" fmla="*/ 0 w 1566"/>
                <a:gd name="T75" fmla="*/ 0 h 1516"/>
                <a:gd name="T76" fmla="*/ 0 w 1566"/>
                <a:gd name="T77" fmla="*/ 0 h 1516"/>
                <a:gd name="T78" fmla="*/ 0 w 1566"/>
                <a:gd name="T79" fmla="*/ 0 h 1516"/>
                <a:gd name="T80" fmla="*/ 0 w 1566"/>
                <a:gd name="T81" fmla="*/ 0 h 1516"/>
                <a:gd name="T82" fmla="*/ 0 w 1566"/>
                <a:gd name="T83" fmla="*/ 0 h 1516"/>
                <a:gd name="T84" fmla="*/ 0 w 1566"/>
                <a:gd name="T85" fmla="*/ 0 h 1516"/>
                <a:gd name="T86" fmla="*/ 0 w 1566"/>
                <a:gd name="T87" fmla="*/ 0 h 1516"/>
                <a:gd name="T88" fmla="*/ 0 w 1566"/>
                <a:gd name="T89" fmla="*/ 0 h 1516"/>
                <a:gd name="T90" fmla="*/ 0 w 1566"/>
                <a:gd name="T91" fmla="*/ 0 h 151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1566"/>
                <a:gd name="T139" fmla="*/ 0 h 1516"/>
                <a:gd name="T140" fmla="*/ 1566 w 1566"/>
                <a:gd name="T141" fmla="*/ 1516 h 151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1566" h="1516">
                  <a:moveTo>
                    <a:pt x="606" y="16"/>
                  </a:moveTo>
                  <a:cubicBezTo>
                    <a:pt x="598" y="44"/>
                    <a:pt x="602" y="36"/>
                    <a:pt x="586" y="52"/>
                  </a:cubicBezTo>
                  <a:cubicBezTo>
                    <a:pt x="574" y="68"/>
                    <a:pt x="546" y="104"/>
                    <a:pt x="542" y="120"/>
                  </a:cubicBezTo>
                  <a:cubicBezTo>
                    <a:pt x="554" y="136"/>
                    <a:pt x="554" y="140"/>
                    <a:pt x="550" y="160"/>
                  </a:cubicBezTo>
                  <a:cubicBezTo>
                    <a:pt x="538" y="160"/>
                    <a:pt x="486" y="152"/>
                    <a:pt x="466" y="160"/>
                  </a:cubicBezTo>
                  <a:cubicBezTo>
                    <a:pt x="450" y="168"/>
                    <a:pt x="442" y="188"/>
                    <a:pt x="422" y="196"/>
                  </a:cubicBezTo>
                  <a:cubicBezTo>
                    <a:pt x="418" y="208"/>
                    <a:pt x="410" y="232"/>
                    <a:pt x="410" y="232"/>
                  </a:cubicBezTo>
                  <a:cubicBezTo>
                    <a:pt x="406" y="264"/>
                    <a:pt x="402" y="268"/>
                    <a:pt x="394" y="292"/>
                  </a:cubicBezTo>
                  <a:cubicBezTo>
                    <a:pt x="398" y="300"/>
                    <a:pt x="398" y="312"/>
                    <a:pt x="406" y="316"/>
                  </a:cubicBezTo>
                  <a:cubicBezTo>
                    <a:pt x="414" y="320"/>
                    <a:pt x="430" y="324"/>
                    <a:pt x="430" y="324"/>
                  </a:cubicBezTo>
                  <a:cubicBezTo>
                    <a:pt x="466" y="360"/>
                    <a:pt x="430" y="360"/>
                    <a:pt x="406" y="376"/>
                  </a:cubicBezTo>
                  <a:cubicBezTo>
                    <a:pt x="390" y="388"/>
                    <a:pt x="398" y="384"/>
                    <a:pt x="382" y="388"/>
                  </a:cubicBezTo>
                  <a:cubicBezTo>
                    <a:pt x="362" y="420"/>
                    <a:pt x="350" y="456"/>
                    <a:pt x="322" y="484"/>
                  </a:cubicBezTo>
                  <a:cubicBezTo>
                    <a:pt x="318" y="496"/>
                    <a:pt x="326" y="520"/>
                    <a:pt x="326" y="520"/>
                  </a:cubicBezTo>
                  <a:cubicBezTo>
                    <a:pt x="314" y="552"/>
                    <a:pt x="318" y="536"/>
                    <a:pt x="314" y="564"/>
                  </a:cubicBezTo>
                  <a:cubicBezTo>
                    <a:pt x="314" y="584"/>
                    <a:pt x="314" y="608"/>
                    <a:pt x="318" y="628"/>
                  </a:cubicBezTo>
                  <a:cubicBezTo>
                    <a:pt x="322" y="648"/>
                    <a:pt x="354" y="660"/>
                    <a:pt x="362" y="684"/>
                  </a:cubicBezTo>
                  <a:cubicBezTo>
                    <a:pt x="358" y="696"/>
                    <a:pt x="362" y="700"/>
                    <a:pt x="346" y="700"/>
                  </a:cubicBezTo>
                  <a:cubicBezTo>
                    <a:pt x="334" y="700"/>
                    <a:pt x="310" y="680"/>
                    <a:pt x="310" y="680"/>
                  </a:cubicBezTo>
                  <a:cubicBezTo>
                    <a:pt x="314" y="660"/>
                    <a:pt x="310" y="656"/>
                    <a:pt x="290" y="664"/>
                  </a:cubicBezTo>
                  <a:cubicBezTo>
                    <a:pt x="274" y="680"/>
                    <a:pt x="270" y="696"/>
                    <a:pt x="254" y="708"/>
                  </a:cubicBezTo>
                  <a:cubicBezTo>
                    <a:pt x="214" y="704"/>
                    <a:pt x="230" y="708"/>
                    <a:pt x="206" y="732"/>
                  </a:cubicBezTo>
                  <a:cubicBezTo>
                    <a:pt x="206" y="736"/>
                    <a:pt x="202" y="740"/>
                    <a:pt x="202" y="744"/>
                  </a:cubicBezTo>
                  <a:cubicBezTo>
                    <a:pt x="202" y="748"/>
                    <a:pt x="214" y="748"/>
                    <a:pt x="214" y="752"/>
                  </a:cubicBezTo>
                  <a:cubicBezTo>
                    <a:pt x="218" y="772"/>
                    <a:pt x="190" y="772"/>
                    <a:pt x="178" y="776"/>
                  </a:cubicBezTo>
                  <a:cubicBezTo>
                    <a:pt x="174" y="796"/>
                    <a:pt x="150" y="804"/>
                    <a:pt x="130" y="808"/>
                  </a:cubicBezTo>
                  <a:cubicBezTo>
                    <a:pt x="122" y="804"/>
                    <a:pt x="118" y="792"/>
                    <a:pt x="110" y="792"/>
                  </a:cubicBezTo>
                  <a:cubicBezTo>
                    <a:pt x="98" y="792"/>
                    <a:pt x="70" y="808"/>
                    <a:pt x="62" y="816"/>
                  </a:cubicBezTo>
                  <a:cubicBezTo>
                    <a:pt x="42" y="828"/>
                    <a:pt x="24" y="820"/>
                    <a:pt x="0" y="820"/>
                  </a:cubicBezTo>
                  <a:cubicBezTo>
                    <a:pt x="22" y="849"/>
                    <a:pt x="2" y="860"/>
                    <a:pt x="14" y="888"/>
                  </a:cubicBezTo>
                  <a:cubicBezTo>
                    <a:pt x="10" y="903"/>
                    <a:pt x="67" y="1014"/>
                    <a:pt x="82" y="1040"/>
                  </a:cubicBezTo>
                  <a:cubicBezTo>
                    <a:pt x="90" y="1052"/>
                    <a:pt x="101" y="1072"/>
                    <a:pt x="105" y="1084"/>
                  </a:cubicBezTo>
                  <a:cubicBezTo>
                    <a:pt x="109" y="1096"/>
                    <a:pt x="124" y="1113"/>
                    <a:pt x="126" y="1120"/>
                  </a:cubicBezTo>
                  <a:cubicBezTo>
                    <a:pt x="122" y="1156"/>
                    <a:pt x="130" y="1164"/>
                    <a:pt x="106" y="1188"/>
                  </a:cubicBezTo>
                  <a:cubicBezTo>
                    <a:pt x="75" y="1201"/>
                    <a:pt x="65" y="1216"/>
                    <a:pt x="52" y="1237"/>
                  </a:cubicBezTo>
                  <a:cubicBezTo>
                    <a:pt x="39" y="1250"/>
                    <a:pt x="31" y="1254"/>
                    <a:pt x="27" y="1266"/>
                  </a:cubicBezTo>
                  <a:cubicBezTo>
                    <a:pt x="23" y="1278"/>
                    <a:pt x="31" y="1300"/>
                    <a:pt x="30" y="1312"/>
                  </a:cubicBezTo>
                  <a:cubicBezTo>
                    <a:pt x="36" y="1342"/>
                    <a:pt x="51" y="1328"/>
                    <a:pt x="91" y="1336"/>
                  </a:cubicBezTo>
                  <a:cubicBezTo>
                    <a:pt x="106" y="1347"/>
                    <a:pt x="118" y="1348"/>
                    <a:pt x="126" y="1368"/>
                  </a:cubicBezTo>
                  <a:cubicBezTo>
                    <a:pt x="122" y="1416"/>
                    <a:pt x="114" y="1476"/>
                    <a:pt x="142" y="1516"/>
                  </a:cubicBezTo>
                  <a:cubicBezTo>
                    <a:pt x="158" y="1512"/>
                    <a:pt x="142" y="1492"/>
                    <a:pt x="163" y="1485"/>
                  </a:cubicBezTo>
                  <a:cubicBezTo>
                    <a:pt x="171" y="1465"/>
                    <a:pt x="185" y="1466"/>
                    <a:pt x="205" y="1458"/>
                  </a:cubicBezTo>
                  <a:cubicBezTo>
                    <a:pt x="209" y="1454"/>
                    <a:pt x="215" y="1450"/>
                    <a:pt x="219" y="1446"/>
                  </a:cubicBezTo>
                  <a:cubicBezTo>
                    <a:pt x="223" y="1442"/>
                    <a:pt x="228" y="1430"/>
                    <a:pt x="232" y="1426"/>
                  </a:cubicBezTo>
                  <a:cubicBezTo>
                    <a:pt x="264" y="1416"/>
                    <a:pt x="247" y="1392"/>
                    <a:pt x="290" y="1368"/>
                  </a:cubicBezTo>
                  <a:cubicBezTo>
                    <a:pt x="310" y="1356"/>
                    <a:pt x="357" y="1339"/>
                    <a:pt x="357" y="1339"/>
                  </a:cubicBezTo>
                  <a:cubicBezTo>
                    <a:pt x="379" y="1339"/>
                    <a:pt x="394" y="1332"/>
                    <a:pt x="418" y="1336"/>
                  </a:cubicBezTo>
                  <a:cubicBezTo>
                    <a:pt x="454" y="1335"/>
                    <a:pt x="472" y="1335"/>
                    <a:pt x="498" y="1309"/>
                  </a:cubicBezTo>
                  <a:cubicBezTo>
                    <a:pt x="535" y="1312"/>
                    <a:pt x="582" y="1305"/>
                    <a:pt x="616" y="1308"/>
                  </a:cubicBezTo>
                  <a:cubicBezTo>
                    <a:pt x="630" y="1317"/>
                    <a:pt x="678" y="1318"/>
                    <a:pt x="700" y="1320"/>
                  </a:cubicBezTo>
                  <a:cubicBezTo>
                    <a:pt x="721" y="1333"/>
                    <a:pt x="729" y="1317"/>
                    <a:pt x="750" y="1296"/>
                  </a:cubicBezTo>
                  <a:cubicBezTo>
                    <a:pt x="750" y="1318"/>
                    <a:pt x="769" y="1350"/>
                    <a:pt x="777" y="1350"/>
                  </a:cubicBezTo>
                  <a:cubicBezTo>
                    <a:pt x="789" y="1344"/>
                    <a:pt x="783" y="1329"/>
                    <a:pt x="855" y="1330"/>
                  </a:cubicBezTo>
                  <a:cubicBezTo>
                    <a:pt x="863" y="1334"/>
                    <a:pt x="859" y="1365"/>
                    <a:pt x="867" y="1365"/>
                  </a:cubicBezTo>
                  <a:cubicBezTo>
                    <a:pt x="875" y="1361"/>
                    <a:pt x="898" y="1344"/>
                    <a:pt x="898" y="1344"/>
                  </a:cubicBezTo>
                  <a:cubicBezTo>
                    <a:pt x="902" y="1336"/>
                    <a:pt x="914" y="1316"/>
                    <a:pt x="922" y="1312"/>
                  </a:cubicBezTo>
                  <a:cubicBezTo>
                    <a:pt x="924" y="1291"/>
                    <a:pt x="964" y="1305"/>
                    <a:pt x="964" y="1305"/>
                  </a:cubicBezTo>
                  <a:cubicBezTo>
                    <a:pt x="976" y="1309"/>
                    <a:pt x="994" y="1304"/>
                    <a:pt x="1006" y="1308"/>
                  </a:cubicBezTo>
                  <a:cubicBezTo>
                    <a:pt x="1012" y="1335"/>
                    <a:pt x="1013" y="1346"/>
                    <a:pt x="1041" y="1350"/>
                  </a:cubicBezTo>
                  <a:cubicBezTo>
                    <a:pt x="1047" y="1323"/>
                    <a:pt x="1066" y="1293"/>
                    <a:pt x="1089" y="1266"/>
                  </a:cubicBezTo>
                  <a:cubicBezTo>
                    <a:pt x="1108" y="1264"/>
                    <a:pt x="1122" y="1252"/>
                    <a:pt x="1132" y="1261"/>
                  </a:cubicBezTo>
                  <a:cubicBezTo>
                    <a:pt x="1144" y="1271"/>
                    <a:pt x="1125" y="1305"/>
                    <a:pt x="1162" y="1327"/>
                  </a:cubicBezTo>
                  <a:cubicBezTo>
                    <a:pt x="1206" y="1315"/>
                    <a:pt x="1159" y="1267"/>
                    <a:pt x="1222" y="1275"/>
                  </a:cubicBezTo>
                  <a:cubicBezTo>
                    <a:pt x="1236" y="1275"/>
                    <a:pt x="1254" y="1241"/>
                    <a:pt x="1270" y="1236"/>
                  </a:cubicBezTo>
                  <a:cubicBezTo>
                    <a:pt x="1309" y="1252"/>
                    <a:pt x="1327" y="1269"/>
                    <a:pt x="1334" y="1284"/>
                  </a:cubicBezTo>
                  <a:cubicBezTo>
                    <a:pt x="1354" y="1288"/>
                    <a:pt x="1389" y="1296"/>
                    <a:pt x="1386" y="1261"/>
                  </a:cubicBezTo>
                  <a:cubicBezTo>
                    <a:pt x="1387" y="1254"/>
                    <a:pt x="1395" y="1246"/>
                    <a:pt x="1392" y="1237"/>
                  </a:cubicBezTo>
                  <a:cubicBezTo>
                    <a:pt x="1389" y="1228"/>
                    <a:pt x="1378" y="1236"/>
                    <a:pt x="1369" y="1204"/>
                  </a:cubicBezTo>
                  <a:cubicBezTo>
                    <a:pt x="1357" y="1140"/>
                    <a:pt x="1370" y="1072"/>
                    <a:pt x="1426" y="1036"/>
                  </a:cubicBezTo>
                  <a:cubicBezTo>
                    <a:pt x="1434" y="1016"/>
                    <a:pt x="1450" y="1017"/>
                    <a:pt x="1447" y="1000"/>
                  </a:cubicBezTo>
                  <a:cubicBezTo>
                    <a:pt x="1491" y="999"/>
                    <a:pt x="1507" y="982"/>
                    <a:pt x="1537" y="975"/>
                  </a:cubicBezTo>
                  <a:cubicBezTo>
                    <a:pt x="1533" y="955"/>
                    <a:pt x="1518" y="940"/>
                    <a:pt x="1498" y="928"/>
                  </a:cubicBezTo>
                  <a:cubicBezTo>
                    <a:pt x="1482" y="904"/>
                    <a:pt x="1466" y="884"/>
                    <a:pt x="1438" y="876"/>
                  </a:cubicBezTo>
                  <a:cubicBezTo>
                    <a:pt x="1418" y="848"/>
                    <a:pt x="1386" y="772"/>
                    <a:pt x="1374" y="748"/>
                  </a:cubicBezTo>
                  <a:cubicBezTo>
                    <a:pt x="1370" y="740"/>
                    <a:pt x="1358" y="724"/>
                    <a:pt x="1358" y="724"/>
                  </a:cubicBezTo>
                  <a:cubicBezTo>
                    <a:pt x="1378" y="684"/>
                    <a:pt x="1462" y="680"/>
                    <a:pt x="1498" y="680"/>
                  </a:cubicBezTo>
                  <a:cubicBezTo>
                    <a:pt x="1514" y="676"/>
                    <a:pt x="1518" y="664"/>
                    <a:pt x="1534" y="660"/>
                  </a:cubicBezTo>
                  <a:cubicBezTo>
                    <a:pt x="1542" y="652"/>
                    <a:pt x="1554" y="648"/>
                    <a:pt x="1558" y="640"/>
                  </a:cubicBezTo>
                  <a:cubicBezTo>
                    <a:pt x="1562" y="632"/>
                    <a:pt x="1566" y="616"/>
                    <a:pt x="1566" y="616"/>
                  </a:cubicBezTo>
                  <a:cubicBezTo>
                    <a:pt x="1558" y="540"/>
                    <a:pt x="1566" y="584"/>
                    <a:pt x="1522" y="556"/>
                  </a:cubicBezTo>
                  <a:cubicBezTo>
                    <a:pt x="1490" y="512"/>
                    <a:pt x="1426" y="512"/>
                    <a:pt x="1378" y="508"/>
                  </a:cubicBezTo>
                  <a:cubicBezTo>
                    <a:pt x="1358" y="480"/>
                    <a:pt x="1354" y="440"/>
                    <a:pt x="1318" y="432"/>
                  </a:cubicBezTo>
                  <a:cubicBezTo>
                    <a:pt x="1274" y="436"/>
                    <a:pt x="1282" y="436"/>
                    <a:pt x="1250" y="416"/>
                  </a:cubicBezTo>
                  <a:cubicBezTo>
                    <a:pt x="1246" y="392"/>
                    <a:pt x="1234" y="368"/>
                    <a:pt x="1210" y="360"/>
                  </a:cubicBezTo>
                  <a:cubicBezTo>
                    <a:pt x="1202" y="332"/>
                    <a:pt x="1154" y="320"/>
                    <a:pt x="1134" y="292"/>
                  </a:cubicBezTo>
                  <a:cubicBezTo>
                    <a:pt x="1118" y="236"/>
                    <a:pt x="1118" y="212"/>
                    <a:pt x="1086" y="168"/>
                  </a:cubicBezTo>
                  <a:cubicBezTo>
                    <a:pt x="1082" y="124"/>
                    <a:pt x="1078" y="48"/>
                    <a:pt x="1046" y="16"/>
                  </a:cubicBezTo>
                  <a:cubicBezTo>
                    <a:pt x="978" y="20"/>
                    <a:pt x="974" y="48"/>
                    <a:pt x="926" y="64"/>
                  </a:cubicBezTo>
                  <a:cubicBezTo>
                    <a:pt x="914" y="80"/>
                    <a:pt x="906" y="80"/>
                    <a:pt x="890" y="84"/>
                  </a:cubicBezTo>
                  <a:cubicBezTo>
                    <a:pt x="878" y="80"/>
                    <a:pt x="854" y="64"/>
                    <a:pt x="854" y="64"/>
                  </a:cubicBezTo>
                  <a:cubicBezTo>
                    <a:pt x="818" y="8"/>
                    <a:pt x="746" y="32"/>
                    <a:pt x="682" y="28"/>
                  </a:cubicBezTo>
                  <a:cubicBezTo>
                    <a:pt x="666" y="24"/>
                    <a:pt x="614" y="0"/>
                    <a:pt x="606" y="16"/>
                  </a:cubicBez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  <p:sp>
          <p:nvSpPr>
            <p:cNvPr id="276" name="Freeform 84"/>
            <p:cNvSpPr>
              <a:spLocks noChangeAspect="1"/>
            </p:cNvSpPr>
            <p:nvPr/>
          </p:nvSpPr>
          <p:spPr bwMode="auto">
            <a:xfrm>
              <a:off x="3135" y="2619"/>
              <a:ext cx="840" cy="578"/>
            </a:xfrm>
            <a:custGeom>
              <a:avLst/>
              <a:gdLst>
                <a:gd name="T0" fmla="*/ 0 w 3327"/>
                <a:gd name="T1" fmla="*/ 0 h 2288"/>
                <a:gd name="T2" fmla="*/ 0 w 3327"/>
                <a:gd name="T3" fmla="*/ 0 h 2288"/>
                <a:gd name="T4" fmla="*/ 0 w 3327"/>
                <a:gd name="T5" fmla="*/ 0 h 2288"/>
                <a:gd name="T6" fmla="*/ 0 w 3327"/>
                <a:gd name="T7" fmla="*/ 0 h 2288"/>
                <a:gd name="T8" fmla="*/ 0 w 3327"/>
                <a:gd name="T9" fmla="*/ 0 h 2288"/>
                <a:gd name="T10" fmla="*/ 0 w 3327"/>
                <a:gd name="T11" fmla="*/ 0 h 2288"/>
                <a:gd name="T12" fmla="*/ 0 w 3327"/>
                <a:gd name="T13" fmla="*/ 0 h 2288"/>
                <a:gd name="T14" fmla="*/ 0 w 3327"/>
                <a:gd name="T15" fmla="*/ 0 h 2288"/>
                <a:gd name="T16" fmla="*/ 0 w 3327"/>
                <a:gd name="T17" fmla="*/ 0 h 2288"/>
                <a:gd name="T18" fmla="*/ 0 w 3327"/>
                <a:gd name="T19" fmla="*/ 0 h 2288"/>
                <a:gd name="T20" fmla="*/ 0 w 3327"/>
                <a:gd name="T21" fmla="*/ 0 h 2288"/>
                <a:gd name="T22" fmla="*/ 0 w 3327"/>
                <a:gd name="T23" fmla="*/ 0 h 2288"/>
                <a:gd name="T24" fmla="*/ 0 w 3327"/>
                <a:gd name="T25" fmla="*/ 0 h 2288"/>
                <a:gd name="T26" fmla="*/ 0 w 3327"/>
                <a:gd name="T27" fmla="*/ 0 h 2288"/>
                <a:gd name="T28" fmla="*/ 0 w 3327"/>
                <a:gd name="T29" fmla="*/ 0 h 2288"/>
                <a:gd name="T30" fmla="*/ 0 w 3327"/>
                <a:gd name="T31" fmla="*/ 0 h 2288"/>
                <a:gd name="T32" fmla="*/ 0 w 3327"/>
                <a:gd name="T33" fmla="*/ 0 h 2288"/>
                <a:gd name="T34" fmla="*/ 0 w 3327"/>
                <a:gd name="T35" fmla="*/ 0 h 2288"/>
                <a:gd name="T36" fmla="*/ 0 w 3327"/>
                <a:gd name="T37" fmla="*/ 0 h 2288"/>
                <a:gd name="T38" fmla="*/ 0 w 3327"/>
                <a:gd name="T39" fmla="*/ 0 h 2288"/>
                <a:gd name="T40" fmla="*/ 0 w 3327"/>
                <a:gd name="T41" fmla="*/ 0 h 2288"/>
                <a:gd name="T42" fmla="*/ 0 w 3327"/>
                <a:gd name="T43" fmla="*/ 0 h 2288"/>
                <a:gd name="T44" fmla="*/ 0 w 3327"/>
                <a:gd name="T45" fmla="*/ 0 h 2288"/>
                <a:gd name="T46" fmla="*/ 0 w 3327"/>
                <a:gd name="T47" fmla="*/ 0 h 2288"/>
                <a:gd name="T48" fmla="*/ 0 w 3327"/>
                <a:gd name="T49" fmla="*/ 0 h 2288"/>
                <a:gd name="T50" fmla="*/ 0 w 3327"/>
                <a:gd name="T51" fmla="*/ 0 h 2288"/>
                <a:gd name="T52" fmla="*/ 0 w 3327"/>
                <a:gd name="T53" fmla="*/ 0 h 2288"/>
                <a:gd name="T54" fmla="*/ 0 w 3327"/>
                <a:gd name="T55" fmla="*/ 0 h 2288"/>
                <a:gd name="T56" fmla="*/ 0 w 3327"/>
                <a:gd name="T57" fmla="*/ 0 h 2288"/>
                <a:gd name="T58" fmla="*/ 0 w 3327"/>
                <a:gd name="T59" fmla="*/ 0 h 2288"/>
                <a:gd name="T60" fmla="*/ 0 w 3327"/>
                <a:gd name="T61" fmla="*/ 0 h 2288"/>
                <a:gd name="T62" fmla="*/ 0 w 3327"/>
                <a:gd name="T63" fmla="*/ 0 h 2288"/>
                <a:gd name="T64" fmla="*/ 0 w 3327"/>
                <a:gd name="T65" fmla="*/ 0 h 2288"/>
                <a:gd name="T66" fmla="*/ 0 w 3327"/>
                <a:gd name="T67" fmla="*/ 0 h 2288"/>
                <a:gd name="T68" fmla="*/ 0 w 3327"/>
                <a:gd name="T69" fmla="*/ 0 h 2288"/>
                <a:gd name="T70" fmla="*/ 0 w 3327"/>
                <a:gd name="T71" fmla="*/ 0 h 2288"/>
                <a:gd name="T72" fmla="*/ 0 w 3327"/>
                <a:gd name="T73" fmla="*/ 0 h 2288"/>
                <a:gd name="T74" fmla="*/ 0 w 3327"/>
                <a:gd name="T75" fmla="*/ 0 h 2288"/>
                <a:gd name="T76" fmla="*/ 0 w 3327"/>
                <a:gd name="T77" fmla="*/ 0 h 2288"/>
                <a:gd name="T78" fmla="*/ 0 w 3327"/>
                <a:gd name="T79" fmla="*/ 0 h 2288"/>
                <a:gd name="T80" fmla="*/ 0 w 3327"/>
                <a:gd name="T81" fmla="*/ 0 h 2288"/>
                <a:gd name="T82" fmla="*/ 0 w 3327"/>
                <a:gd name="T83" fmla="*/ 0 h 2288"/>
                <a:gd name="T84" fmla="*/ 0 w 3327"/>
                <a:gd name="T85" fmla="*/ 0 h 2288"/>
                <a:gd name="T86" fmla="*/ 0 w 3327"/>
                <a:gd name="T87" fmla="*/ 0 h 2288"/>
                <a:gd name="T88" fmla="*/ 0 w 3327"/>
                <a:gd name="T89" fmla="*/ 0 h 2288"/>
                <a:gd name="T90" fmla="*/ 0 w 3327"/>
                <a:gd name="T91" fmla="*/ 0 h 2288"/>
                <a:gd name="T92" fmla="*/ 0 w 3327"/>
                <a:gd name="T93" fmla="*/ 0 h 2288"/>
                <a:gd name="T94" fmla="*/ 0 w 3327"/>
                <a:gd name="T95" fmla="*/ 0 h 2288"/>
                <a:gd name="T96" fmla="*/ 0 w 3327"/>
                <a:gd name="T97" fmla="*/ 0 h 2288"/>
                <a:gd name="T98" fmla="*/ 0 w 3327"/>
                <a:gd name="T99" fmla="*/ 0 h 2288"/>
                <a:gd name="T100" fmla="*/ 0 w 3327"/>
                <a:gd name="T101" fmla="*/ 0 h 2288"/>
                <a:gd name="T102" fmla="*/ 0 w 3327"/>
                <a:gd name="T103" fmla="*/ 0 h 2288"/>
                <a:gd name="T104" fmla="*/ 0 w 3327"/>
                <a:gd name="T105" fmla="*/ 0 h 2288"/>
                <a:gd name="T106" fmla="*/ 0 w 3327"/>
                <a:gd name="T107" fmla="*/ 0 h 2288"/>
                <a:gd name="T108" fmla="*/ 0 w 3327"/>
                <a:gd name="T109" fmla="*/ 0 h 228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3327"/>
                <a:gd name="T166" fmla="*/ 0 h 2288"/>
                <a:gd name="T167" fmla="*/ 3327 w 3327"/>
                <a:gd name="T168" fmla="*/ 2288 h 228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3327" h="2288">
                  <a:moveTo>
                    <a:pt x="1407" y="204"/>
                  </a:moveTo>
                  <a:cubicBezTo>
                    <a:pt x="1403" y="204"/>
                    <a:pt x="1407" y="212"/>
                    <a:pt x="1403" y="216"/>
                  </a:cubicBezTo>
                  <a:cubicBezTo>
                    <a:pt x="1391" y="236"/>
                    <a:pt x="1379" y="248"/>
                    <a:pt x="1359" y="260"/>
                  </a:cubicBezTo>
                  <a:cubicBezTo>
                    <a:pt x="1351" y="272"/>
                    <a:pt x="1347" y="284"/>
                    <a:pt x="1335" y="296"/>
                  </a:cubicBezTo>
                  <a:cubicBezTo>
                    <a:pt x="1331" y="308"/>
                    <a:pt x="1323" y="332"/>
                    <a:pt x="1323" y="332"/>
                  </a:cubicBezTo>
                  <a:cubicBezTo>
                    <a:pt x="1323" y="364"/>
                    <a:pt x="1315" y="416"/>
                    <a:pt x="1347" y="440"/>
                  </a:cubicBezTo>
                  <a:cubicBezTo>
                    <a:pt x="1339" y="492"/>
                    <a:pt x="1339" y="500"/>
                    <a:pt x="1291" y="484"/>
                  </a:cubicBezTo>
                  <a:cubicBezTo>
                    <a:pt x="1279" y="468"/>
                    <a:pt x="1251" y="448"/>
                    <a:pt x="1231" y="440"/>
                  </a:cubicBezTo>
                  <a:cubicBezTo>
                    <a:pt x="1203" y="444"/>
                    <a:pt x="1215" y="452"/>
                    <a:pt x="1195" y="464"/>
                  </a:cubicBezTo>
                  <a:cubicBezTo>
                    <a:pt x="1187" y="484"/>
                    <a:pt x="1183" y="480"/>
                    <a:pt x="1163" y="476"/>
                  </a:cubicBezTo>
                  <a:cubicBezTo>
                    <a:pt x="1131" y="484"/>
                    <a:pt x="1151" y="516"/>
                    <a:pt x="1119" y="528"/>
                  </a:cubicBezTo>
                  <a:cubicBezTo>
                    <a:pt x="1087" y="516"/>
                    <a:pt x="1095" y="492"/>
                    <a:pt x="1087" y="464"/>
                  </a:cubicBezTo>
                  <a:cubicBezTo>
                    <a:pt x="1027" y="468"/>
                    <a:pt x="1055" y="464"/>
                    <a:pt x="1027" y="492"/>
                  </a:cubicBezTo>
                  <a:cubicBezTo>
                    <a:pt x="1023" y="508"/>
                    <a:pt x="1011" y="516"/>
                    <a:pt x="1003" y="528"/>
                  </a:cubicBezTo>
                  <a:cubicBezTo>
                    <a:pt x="999" y="552"/>
                    <a:pt x="995" y="556"/>
                    <a:pt x="975" y="548"/>
                  </a:cubicBezTo>
                  <a:cubicBezTo>
                    <a:pt x="959" y="504"/>
                    <a:pt x="975" y="512"/>
                    <a:pt x="923" y="508"/>
                  </a:cubicBezTo>
                  <a:cubicBezTo>
                    <a:pt x="907" y="504"/>
                    <a:pt x="899" y="500"/>
                    <a:pt x="883" y="504"/>
                  </a:cubicBezTo>
                  <a:cubicBezTo>
                    <a:pt x="871" y="540"/>
                    <a:pt x="847" y="548"/>
                    <a:pt x="823" y="572"/>
                  </a:cubicBezTo>
                  <a:cubicBezTo>
                    <a:pt x="811" y="532"/>
                    <a:pt x="823" y="532"/>
                    <a:pt x="771" y="536"/>
                  </a:cubicBezTo>
                  <a:cubicBezTo>
                    <a:pt x="755" y="540"/>
                    <a:pt x="747" y="548"/>
                    <a:pt x="731" y="552"/>
                  </a:cubicBezTo>
                  <a:cubicBezTo>
                    <a:pt x="711" y="524"/>
                    <a:pt x="714" y="529"/>
                    <a:pt x="710" y="501"/>
                  </a:cubicBezTo>
                  <a:cubicBezTo>
                    <a:pt x="694" y="505"/>
                    <a:pt x="695" y="524"/>
                    <a:pt x="675" y="528"/>
                  </a:cubicBezTo>
                  <a:cubicBezTo>
                    <a:pt x="575" y="516"/>
                    <a:pt x="611" y="528"/>
                    <a:pt x="567" y="512"/>
                  </a:cubicBezTo>
                  <a:cubicBezTo>
                    <a:pt x="527" y="516"/>
                    <a:pt x="491" y="512"/>
                    <a:pt x="451" y="516"/>
                  </a:cubicBezTo>
                  <a:cubicBezTo>
                    <a:pt x="415" y="552"/>
                    <a:pt x="359" y="540"/>
                    <a:pt x="315" y="540"/>
                  </a:cubicBezTo>
                  <a:cubicBezTo>
                    <a:pt x="291" y="552"/>
                    <a:pt x="263" y="568"/>
                    <a:pt x="235" y="576"/>
                  </a:cubicBezTo>
                  <a:cubicBezTo>
                    <a:pt x="219" y="592"/>
                    <a:pt x="211" y="616"/>
                    <a:pt x="187" y="632"/>
                  </a:cubicBezTo>
                  <a:cubicBezTo>
                    <a:pt x="167" y="660"/>
                    <a:pt x="179" y="652"/>
                    <a:pt x="159" y="660"/>
                  </a:cubicBezTo>
                  <a:cubicBezTo>
                    <a:pt x="151" y="672"/>
                    <a:pt x="115" y="684"/>
                    <a:pt x="115" y="684"/>
                  </a:cubicBezTo>
                  <a:cubicBezTo>
                    <a:pt x="110" y="707"/>
                    <a:pt x="107" y="714"/>
                    <a:pt x="98" y="723"/>
                  </a:cubicBezTo>
                  <a:cubicBezTo>
                    <a:pt x="108" y="740"/>
                    <a:pt x="111" y="764"/>
                    <a:pt x="114" y="778"/>
                  </a:cubicBezTo>
                  <a:cubicBezTo>
                    <a:pt x="123" y="793"/>
                    <a:pt x="148" y="796"/>
                    <a:pt x="161" y="810"/>
                  </a:cubicBezTo>
                  <a:cubicBezTo>
                    <a:pt x="169" y="818"/>
                    <a:pt x="177" y="837"/>
                    <a:pt x="183" y="849"/>
                  </a:cubicBezTo>
                  <a:cubicBezTo>
                    <a:pt x="209" y="851"/>
                    <a:pt x="221" y="864"/>
                    <a:pt x="221" y="872"/>
                  </a:cubicBezTo>
                  <a:cubicBezTo>
                    <a:pt x="228" y="908"/>
                    <a:pt x="236" y="933"/>
                    <a:pt x="235" y="956"/>
                  </a:cubicBezTo>
                  <a:cubicBezTo>
                    <a:pt x="235" y="964"/>
                    <a:pt x="239" y="1004"/>
                    <a:pt x="231" y="1012"/>
                  </a:cubicBezTo>
                  <a:cubicBezTo>
                    <a:pt x="215" y="1038"/>
                    <a:pt x="161" y="1092"/>
                    <a:pt x="139" y="1116"/>
                  </a:cubicBezTo>
                  <a:cubicBezTo>
                    <a:pt x="135" y="1132"/>
                    <a:pt x="105" y="1139"/>
                    <a:pt x="99" y="1156"/>
                  </a:cubicBezTo>
                  <a:cubicBezTo>
                    <a:pt x="87" y="1178"/>
                    <a:pt x="87" y="1228"/>
                    <a:pt x="77" y="1253"/>
                  </a:cubicBezTo>
                  <a:cubicBezTo>
                    <a:pt x="67" y="1278"/>
                    <a:pt x="44" y="1290"/>
                    <a:pt x="39" y="1304"/>
                  </a:cubicBezTo>
                  <a:cubicBezTo>
                    <a:pt x="35" y="1316"/>
                    <a:pt x="44" y="1340"/>
                    <a:pt x="44" y="1340"/>
                  </a:cubicBezTo>
                  <a:cubicBezTo>
                    <a:pt x="65" y="1394"/>
                    <a:pt x="63" y="1400"/>
                    <a:pt x="79" y="1448"/>
                  </a:cubicBezTo>
                  <a:cubicBezTo>
                    <a:pt x="59" y="1456"/>
                    <a:pt x="57" y="1479"/>
                    <a:pt x="53" y="1493"/>
                  </a:cubicBezTo>
                  <a:cubicBezTo>
                    <a:pt x="35" y="1509"/>
                    <a:pt x="19" y="1544"/>
                    <a:pt x="19" y="1544"/>
                  </a:cubicBezTo>
                  <a:cubicBezTo>
                    <a:pt x="15" y="1596"/>
                    <a:pt x="8" y="1638"/>
                    <a:pt x="0" y="1664"/>
                  </a:cubicBezTo>
                  <a:cubicBezTo>
                    <a:pt x="18" y="1683"/>
                    <a:pt x="21" y="1685"/>
                    <a:pt x="29" y="1700"/>
                  </a:cubicBezTo>
                  <a:cubicBezTo>
                    <a:pt x="56" y="1698"/>
                    <a:pt x="115" y="1703"/>
                    <a:pt x="139" y="1712"/>
                  </a:cubicBezTo>
                  <a:cubicBezTo>
                    <a:pt x="159" y="1742"/>
                    <a:pt x="155" y="1752"/>
                    <a:pt x="161" y="1773"/>
                  </a:cubicBezTo>
                  <a:cubicBezTo>
                    <a:pt x="213" y="1671"/>
                    <a:pt x="279" y="1743"/>
                    <a:pt x="348" y="1728"/>
                  </a:cubicBezTo>
                  <a:cubicBezTo>
                    <a:pt x="408" y="1732"/>
                    <a:pt x="476" y="1735"/>
                    <a:pt x="536" y="1739"/>
                  </a:cubicBezTo>
                  <a:cubicBezTo>
                    <a:pt x="572" y="1719"/>
                    <a:pt x="575" y="1713"/>
                    <a:pt x="618" y="1704"/>
                  </a:cubicBezTo>
                  <a:cubicBezTo>
                    <a:pt x="646" y="1688"/>
                    <a:pt x="695" y="1668"/>
                    <a:pt x="723" y="1656"/>
                  </a:cubicBezTo>
                  <a:cubicBezTo>
                    <a:pt x="735" y="1616"/>
                    <a:pt x="774" y="1616"/>
                    <a:pt x="810" y="1604"/>
                  </a:cubicBezTo>
                  <a:cubicBezTo>
                    <a:pt x="822" y="1566"/>
                    <a:pt x="843" y="1538"/>
                    <a:pt x="902" y="1529"/>
                  </a:cubicBezTo>
                  <a:cubicBezTo>
                    <a:pt x="896" y="1515"/>
                    <a:pt x="871" y="1517"/>
                    <a:pt x="879" y="1505"/>
                  </a:cubicBezTo>
                  <a:cubicBezTo>
                    <a:pt x="878" y="1482"/>
                    <a:pt x="875" y="1464"/>
                    <a:pt x="919" y="1468"/>
                  </a:cubicBezTo>
                  <a:cubicBezTo>
                    <a:pt x="939" y="1464"/>
                    <a:pt x="971" y="1461"/>
                    <a:pt x="978" y="1430"/>
                  </a:cubicBezTo>
                  <a:cubicBezTo>
                    <a:pt x="1010" y="1424"/>
                    <a:pt x="1030" y="1420"/>
                    <a:pt x="1062" y="1416"/>
                  </a:cubicBezTo>
                  <a:cubicBezTo>
                    <a:pt x="1083" y="1424"/>
                    <a:pt x="1079" y="1424"/>
                    <a:pt x="1095" y="1436"/>
                  </a:cubicBezTo>
                  <a:cubicBezTo>
                    <a:pt x="1107" y="1448"/>
                    <a:pt x="1132" y="1452"/>
                    <a:pt x="1148" y="1452"/>
                  </a:cubicBezTo>
                  <a:cubicBezTo>
                    <a:pt x="1199" y="1472"/>
                    <a:pt x="1194" y="1470"/>
                    <a:pt x="1260" y="1466"/>
                  </a:cubicBezTo>
                  <a:cubicBezTo>
                    <a:pt x="1280" y="1474"/>
                    <a:pt x="1273" y="1475"/>
                    <a:pt x="1289" y="1487"/>
                  </a:cubicBezTo>
                  <a:cubicBezTo>
                    <a:pt x="1371" y="1491"/>
                    <a:pt x="1383" y="1499"/>
                    <a:pt x="1388" y="1538"/>
                  </a:cubicBezTo>
                  <a:cubicBezTo>
                    <a:pt x="1376" y="1604"/>
                    <a:pt x="1370" y="1614"/>
                    <a:pt x="1395" y="1612"/>
                  </a:cubicBezTo>
                  <a:cubicBezTo>
                    <a:pt x="1403" y="1628"/>
                    <a:pt x="1416" y="1620"/>
                    <a:pt x="1427" y="1640"/>
                  </a:cubicBezTo>
                  <a:cubicBezTo>
                    <a:pt x="1439" y="1644"/>
                    <a:pt x="1476" y="1649"/>
                    <a:pt x="1476" y="1649"/>
                  </a:cubicBezTo>
                  <a:cubicBezTo>
                    <a:pt x="1492" y="1673"/>
                    <a:pt x="1491" y="1720"/>
                    <a:pt x="1515" y="1736"/>
                  </a:cubicBezTo>
                  <a:cubicBezTo>
                    <a:pt x="1523" y="1760"/>
                    <a:pt x="1535" y="1760"/>
                    <a:pt x="1539" y="1780"/>
                  </a:cubicBezTo>
                  <a:cubicBezTo>
                    <a:pt x="1546" y="1791"/>
                    <a:pt x="1548" y="1787"/>
                    <a:pt x="1557" y="1802"/>
                  </a:cubicBezTo>
                  <a:cubicBezTo>
                    <a:pt x="1590" y="1821"/>
                    <a:pt x="1617" y="1845"/>
                    <a:pt x="1637" y="1859"/>
                  </a:cubicBezTo>
                  <a:lnTo>
                    <a:pt x="1640" y="1886"/>
                  </a:lnTo>
                  <a:cubicBezTo>
                    <a:pt x="1592" y="1894"/>
                    <a:pt x="1557" y="1899"/>
                    <a:pt x="1505" y="1907"/>
                  </a:cubicBezTo>
                  <a:cubicBezTo>
                    <a:pt x="1476" y="1901"/>
                    <a:pt x="1455" y="1895"/>
                    <a:pt x="1433" y="1893"/>
                  </a:cubicBezTo>
                  <a:cubicBezTo>
                    <a:pt x="1417" y="1897"/>
                    <a:pt x="1428" y="1910"/>
                    <a:pt x="1424" y="1926"/>
                  </a:cubicBezTo>
                  <a:cubicBezTo>
                    <a:pt x="1424" y="1937"/>
                    <a:pt x="1424" y="1949"/>
                    <a:pt x="1430" y="1961"/>
                  </a:cubicBezTo>
                  <a:cubicBezTo>
                    <a:pt x="1448" y="1980"/>
                    <a:pt x="1461" y="2006"/>
                    <a:pt x="1463" y="2022"/>
                  </a:cubicBezTo>
                  <a:cubicBezTo>
                    <a:pt x="1440" y="2061"/>
                    <a:pt x="1446" y="2058"/>
                    <a:pt x="1437" y="2067"/>
                  </a:cubicBezTo>
                  <a:cubicBezTo>
                    <a:pt x="1449" y="2035"/>
                    <a:pt x="1416" y="2112"/>
                    <a:pt x="1407" y="2140"/>
                  </a:cubicBezTo>
                  <a:cubicBezTo>
                    <a:pt x="1399" y="2164"/>
                    <a:pt x="1410" y="2187"/>
                    <a:pt x="1400" y="2216"/>
                  </a:cubicBezTo>
                  <a:cubicBezTo>
                    <a:pt x="1384" y="2212"/>
                    <a:pt x="1371" y="2231"/>
                    <a:pt x="1355" y="2235"/>
                  </a:cubicBezTo>
                  <a:cubicBezTo>
                    <a:pt x="1368" y="2270"/>
                    <a:pt x="1386" y="2271"/>
                    <a:pt x="1433" y="2280"/>
                  </a:cubicBezTo>
                  <a:cubicBezTo>
                    <a:pt x="1453" y="2288"/>
                    <a:pt x="1447" y="2267"/>
                    <a:pt x="1463" y="2259"/>
                  </a:cubicBezTo>
                  <a:cubicBezTo>
                    <a:pt x="1478" y="2247"/>
                    <a:pt x="1490" y="2241"/>
                    <a:pt x="1503" y="2234"/>
                  </a:cubicBezTo>
                  <a:cubicBezTo>
                    <a:pt x="1515" y="2222"/>
                    <a:pt x="1511" y="2197"/>
                    <a:pt x="1523" y="2189"/>
                  </a:cubicBezTo>
                  <a:cubicBezTo>
                    <a:pt x="1565" y="2178"/>
                    <a:pt x="1616" y="2169"/>
                    <a:pt x="1643" y="2186"/>
                  </a:cubicBezTo>
                  <a:cubicBezTo>
                    <a:pt x="1647" y="2154"/>
                    <a:pt x="1635" y="2132"/>
                    <a:pt x="1659" y="2116"/>
                  </a:cubicBezTo>
                  <a:cubicBezTo>
                    <a:pt x="1663" y="2096"/>
                    <a:pt x="1663" y="2068"/>
                    <a:pt x="1687" y="2060"/>
                  </a:cubicBezTo>
                  <a:cubicBezTo>
                    <a:pt x="1703" y="2036"/>
                    <a:pt x="1719" y="2016"/>
                    <a:pt x="1731" y="1988"/>
                  </a:cubicBezTo>
                  <a:cubicBezTo>
                    <a:pt x="1739" y="1956"/>
                    <a:pt x="1743" y="1924"/>
                    <a:pt x="1755" y="1892"/>
                  </a:cubicBezTo>
                  <a:cubicBezTo>
                    <a:pt x="1759" y="1868"/>
                    <a:pt x="1755" y="1840"/>
                    <a:pt x="1783" y="1832"/>
                  </a:cubicBezTo>
                  <a:cubicBezTo>
                    <a:pt x="1799" y="1816"/>
                    <a:pt x="1807" y="1804"/>
                    <a:pt x="1831" y="1796"/>
                  </a:cubicBezTo>
                  <a:cubicBezTo>
                    <a:pt x="1855" y="1756"/>
                    <a:pt x="1867" y="1736"/>
                    <a:pt x="1915" y="1724"/>
                  </a:cubicBezTo>
                  <a:cubicBezTo>
                    <a:pt x="1939" y="1708"/>
                    <a:pt x="1943" y="1692"/>
                    <a:pt x="1959" y="1668"/>
                  </a:cubicBezTo>
                  <a:cubicBezTo>
                    <a:pt x="1991" y="1684"/>
                    <a:pt x="1983" y="1708"/>
                    <a:pt x="1995" y="1736"/>
                  </a:cubicBezTo>
                  <a:cubicBezTo>
                    <a:pt x="1983" y="1772"/>
                    <a:pt x="1991" y="1756"/>
                    <a:pt x="1979" y="1788"/>
                  </a:cubicBezTo>
                  <a:cubicBezTo>
                    <a:pt x="1979" y="1792"/>
                    <a:pt x="1975" y="1800"/>
                    <a:pt x="1975" y="1800"/>
                  </a:cubicBezTo>
                  <a:cubicBezTo>
                    <a:pt x="1983" y="1868"/>
                    <a:pt x="2027" y="1836"/>
                    <a:pt x="2067" y="1812"/>
                  </a:cubicBezTo>
                  <a:cubicBezTo>
                    <a:pt x="2111" y="1784"/>
                    <a:pt x="2167" y="1808"/>
                    <a:pt x="2219" y="1808"/>
                  </a:cubicBezTo>
                  <a:cubicBezTo>
                    <a:pt x="2259" y="1800"/>
                    <a:pt x="2239" y="1804"/>
                    <a:pt x="2271" y="1796"/>
                  </a:cubicBezTo>
                  <a:cubicBezTo>
                    <a:pt x="2299" y="1776"/>
                    <a:pt x="2303" y="1776"/>
                    <a:pt x="2335" y="1772"/>
                  </a:cubicBezTo>
                  <a:cubicBezTo>
                    <a:pt x="2343" y="1796"/>
                    <a:pt x="2347" y="1820"/>
                    <a:pt x="2323" y="1836"/>
                  </a:cubicBezTo>
                  <a:cubicBezTo>
                    <a:pt x="2311" y="1856"/>
                    <a:pt x="2319" y="1888"/>
                    <a:pt x="2295" y="1896"/>
                  </a:cubicBezTo>
                  <a:cubicBezTo>
                    <a:pt x="2275" y="1916"/>
                    <a:pt x="2271" y="1936"/>
                    <a:pt x="2251" y="1952"/>
                  </a:cubicBezTo>
                  <a:cubicBezTo>
                    <a:pt x="2243" y="1960"/>
                    <a:pt x="2227" y="1976"/>
                    <a:pt x="2227" y="1976"/>
                  </a:cubicBezTo>
                  <a:cubicBezTo>
                    <a:pt x="2223" y="1992"/>
                    <a:pt x="2211" y="2024"/>
                    <a:pt x="2211" y="2024"/>
                  </a:cubicBezTo>
                  <a:cubicBezTo>
                    <a:pt x="2231" y="2052"/>
                    <a:pt x="2259" y="2024"/>
                    <a:pt x="2283" y="2016"/>
                  </a:cubicBezTo>
                  <a:cubicBezTo>
                    <a:pt x="2315" y="2028"/>
                    <a:pt x="2339" y="2004"/>
                    <a:pt x="2383" y="2028"/>
                  </a:cubicBezTo>
                  <a:cubicBezTo>
                    <a:pt x="2411" y="2036"/>
                    <a:pt x="2435" y="2044"/>
                    <a:pt x="2455" y="2072"/>
                  </a:cubicBezTo>
                  <a:cubicBezTo>
                    <a:pt x="2479" y="2112"/>
                    <a:pt x="2459" y="2176"/>
                    <a:pt x="2503" y="2204"/>
                  </a:cubicBezTo>
                  <a:cubicBezTo>
                    <a:pt x="2555" y="2196"/>
                    <a:pt x="2559" y="2192"/>
                    <a:pt x="2599" y="2180"/>
                  </a:cubicBezTo>
                  <a:cubicBezTo>
                    <a:pt x="2611" y="2164"/>
                    <a:pt x="2619" y="2168"/>
                    <a:pt x="2623" y="2148"/>
                  </a:cubicBezTo>
                  <a:cubicBezTo>
                    <a:pt x="2627" y="2124"/>
                    <a:pt x="2623" y="2104"/>
                    <a:pt x="2643" y="2088"/>
                  </a:cubicBezTo>
                  <a:cubicBezTo>
                    <a:pt x="2647" y="2076"/>
                    <a:pt x="2659" y="2060"/>
                    <a:pt x="2667" y="2052"/>
                  </a:cubicBezTo>
                  <a:cubicBezTo>
                    <a:pt x="2683" y="2040"/>
                    <a:pt x="2703" y="2016"/>
                    <a:pt x="2723" y="2000"/>
                  </a:cubicBezTo>
                  <a:cubicBezTo>
                    <a:pt x="2731" y="1980"/>
                    <a:pt x="2767" y="1980"/>
                    <a:pt x="2775" y="1956"/>
                  </a:cubicBezTo>
                  <a:cubicBezTo>
                    <a:pt x="2779" y="1928"/>
                    <a:pt x="2783" y="1924"/>
                    <a:pt x="2803" y="1908"/>
                  </a:cubicBezTo>
                  <a:cubicBezTo>
                    <a:pt x="2811" y="1904"/>
                    <a:pt x="2827" y="1892"/>
                    <a:pt x="2827" y="1892"/>
                  </a:cubicBezTo>
                  <a:cubicBezTo>
                    <a:pt x="2875" y="1904"/>
                    <a:pt x="2847" y="1900"/>
                    <a:pt x="2907" y="1896"/>
                  </a:cubicBezTo>
                  <a:cubicBezTo>
                    <a:pt x="2931" y="1888"/>
                    <a:pt x="2931" y="1880"/>
                    <a:pt x="2943" y="1860"/>
                  </a:cubicBezTo>
                  <a:cubicBezTo>
                    <a:pt x="2955" y="1812"/>
                    <a:pt x="2983" y="1768"/>
                    <a:pt x="2995" y="1716"/>
                  </a:cubicBezTo>
                  <a:cubicBezTo>
                    <a:pt x="2995" y="1712"/>
                    <a:pt x="2963" y="1728"/>
                    <a:pt x="2955" y="1728"/>
                  </a:cubicBezTo>
                  <a:cubicBezTo>
                    <a:pt x="2919" y="1736"/>
                    <a:pt x="2879" y="1744"/>
                    <a:pt x="2847" y="1764"/>
                  </a:cubicBezTo>
                  <a:cubicBezTo>
                    <a:pt x="2835" y="1804"/>
                    <a:pt x="2823" y="1808"/>
                    <a:pt x="2787" y="1832"/>
                  </a:cubicBezTo>
                  <a:cubicBezTo>
                    <a:pt x="2759" y="1828"/>
                    <a:pt x="2739" y="1812"/>
                    <a:pt x="2715" y="1796"/>
                  </a:cubicBezTo>
                  <a:cubicBezTo>
                    <a:pt x="2691" y="1760"/>
                    <a:pt x="2675" y="1772"/>
                    <a:pt x="2643" y="1748"/>
                  </a:cubicBezTo>
                  <a:cubicBezTo>
                    <a:pt x="2631" y="1740"/>
                    <a:pt x="2607" y="1724"/>
                    <a:pt x="2607" y="1724"/>
                  </a:cubicBezTo>
                  <a:cubicBezTo>
                    <a:pt x="2603" y="1708"/>
                    <a:pt x="2579" y="1676"/>
                    <a:pt x="2579" y="1676"/>
                  </a:cubicBezTo>
                  <a:cubicBezTo>
                    <a:pt x="2587" y="1640"/>
                    <a:pt x="2579" y="1644"/>
                    <a:pt x="2623" y="1640"/>
                  </a:cubicBezTo>
                  <a:cubicBezTo>
                    <a:pt x="2655" y="1616"/>
                    <a:pt x="2647" y="1584"/>
                    <a:pt x="2667" y="1556"/>
                  </a:cubicBezTo>
                  <a:cubicBezTo>
                    <a:pt x="2671" y="1536"/>
                    <a:pt x="2679" y="1492"/>
                    <a:pt x="2695" y="1476"/>
                  </a:cubicBezTo>
                  <a:cubicBezTo>
                    <a:pt x="2703" y="1468"/>
                    <a:pt x="2719" y="1460"/>
                    <a:pt x="2719" y="1460"/>
                  </a:cubicBezTo>
                  <a:cubicBezTo>
                    <a:pt x="2727" y="1436"/>
                    <a:pt x="2747" y="1428"/>
                    <a:pt x="2767" y="1420"/>
                  </a:cubicBezTo>
                  <a:cubicBezTo>
                    <a:pt x="2783" y="1400"/>
                    <a:pt x="2787" y="1396"/>
                    <a:pt x="2811" y="1388"/>
                  </a:cubicBezTo>
                  <a:cubicBezTo>
                    <a:pt x="2831" y="1368"/>
                    <a:pt x="2859" y="1372"/>
                    <a:pt x="2887" y="1368"/>
                  </a:cubicBezTo>
                  <a:cubicBezTo>
                    <a:pt x="2895" y="1324"/>
                    <a:pt x="2891" y="1308"/>
                    <a:pt x="2935" y="1296"/>
                  </a:cubicBezTo>
                  <a:cubicBezTo>
                    <a:pt x="2947" y="1280"/>
                    <a:pt x="2963" y="1260"/>
                    <a:pt x="2979" y="1248"/>
                  </a:cubicBezTo>
                  <a:cubicBezTo>
                    <a:pt x="2991" y="1216"/>
                    <a:pt x="3019" y="1188"/>
                    <a:pt x="3051" y="1176"/>
                  </a:cubicBezTo>
                  <a:cubicBezTo>
                    <a:pt x="3063" y="1164"/>
                    <a:pt x="3083" y="1152"/>
                    <a:pt x="3099" y="1148"/>
                  </a:cubicBezTo>
                  <a:cubicBezTo>
                    <a:pt x="3119" y="1120"/>
                    <a:pt x="3095" y="1060"/>
                    <a:pt x="3075" y="1032"/>
                  </a:cubicBezTo>
                  <a:cubicBezTo>
                    <a:pt x="3071" y="1000"/>
                    <a:pt x="3071" y="976"/>
                    <a:pt x="3079" y="956"/>
                  </a:cubicBezTo>
                  <a:cubicBezTo>
                    <a:pt x="3083" y="940"/>
                    <a:pt x="3107" y="916"/>
                    <a:pt x="3127" y="908"/>
                  </a:cubicBezTo>
                  <a:cubicBezTo>
                    <a:pt x="3135" y="880"/>
                    <a:pt x="3195" y="868"/>
                    <a:pt x="3223" y="860"/>
                  </a:cubicBezTo>
                  <a:cubicBezTo>
                    <a:pt x="3251" y="840"/>
                    <a:pt x="3291" y="848"/>
                    <a:pt x="3319" y="828"/>
                  </a:cubicBezTo>
                  <a:cubicBezTo>
                    <a:pt x="3315" y="776"/>
                    <a:pt x="3327" y="788"/>
                    <a:pt x="3295" y="756"/>
                  </a:cubicBezTo>
                  <a:cubicBezTo>
                    <a:pt x="3275" y="700"/>
                    <a:pt x="3231" y="576"/>
                    <a:pt x="3203" y="512"/>
                  </a:cubicBezTo>
                  <a:cubicBezTo>
                    <a:pt x="3219" y="396"/>
                    <a:pt x="3219" y="360"/>
                    <a:pt x="3139" y="348"/>
                  </a:cubicBezTo>
                  <a:cubicBezTo>
                    <a:pt x="3091" y="328"/>
                    <a:pt x="3031" y="360"/>
                    <a:pt x="2979" y="344"/>
                  </a:cubicBezTo>
                  <a:cubicBezTo>
                    <a:pt x="2935" y="360"/>
                    <a:pt x="2951" y="364"/>
                    <a:pt x="2887" y="368"/>
                  </a:cubicBezTo>
                  <a:cubicBezTo>
                    <a:pt x="2795" y="332"/>
                    <a:pt x="2779" y="368"/>
                    <a:pt x="2727" y="384"/>
                  </a:cubicBezTo>
                  <a:cubicBezTo>
                    <a:pt x="2679" y="380"/>
                    <a:pt x="2691" y="376"/>
                    <a:pt x="2659" y="344"/>
                  </a:cubicBezTo>
                  <a:cubicBezTo>
                    <a:pt x="2643" y="328"/>
                    <a:pt x="2595" y="328"/>
                    <a:pt x="2575" y="320"/>
                  </a:cubicBezTo>
                  <a:cubicBezTo>
                    <a:pt x="2543" y="320"/>
                    <a:pt x="2523" y="368"/>
                    <a:pt x="2491" y="380"/>
                  </a:cubicBezTo>
                  <a:cubicBezTo>
                    <a:pt x="2459" y="392"/>
                    <a:pt x="2403" y="392"/>
                    <a:pt x="2379" y="396"/>
                  </a:cubicBezTo>
                  <a:cubicBezTo>
                    <a:pt x="2363" y="404"/>
                    <a:pt x="2351" y="408"/>
                    <a:pt x="2335" y="412"/>
                  </a:cubicBezTo>
                  <a:cubicBezTo>
                    <a:pt x="2307" y="412"/>
                    <a:pt x="2279" y="416"/>
                    <a:pt x="2251" y="408"/>
                  </a:cubicBezTo>
                  <a:cubicBezTo>
                    <a:pt x="2247" y="408"/>
                    <a:pt x="2231" y="316"/>
                    <a:pt x="2211" y="296"/>
                  </a:cubicBezTo>
                  <a:cubicBezTo>
                    <a:pt x="2179" y="240"/>
                    <a:pt x="2095" y="276"/>
                    <a:pt x="2055" y="272"/>
                  </a:cubicBezTo>
                  <a:cubicBezTo>
                    <a:pt x="2011" y="276"/>
                    <a:pt x="1995" y="288"/>
                    <a:pt x="1979" y="244"/>
                  </a:cubicBezTo>
                  <a:cubicBezTo>
                    <a:pt x="1979" y="220"/>
                    <a:pt x="1967" y="156"/>
                    <a:pt x="1959" y="128"/>
                  </a:cubicBezTo>
                  <a:cubicBezTo>
                    <a:pt x="1939" y="92"/>
                    <a:pt x="1875" y="36"/>
                    <a:pt x="1831" y="20"/>
                  </a:cubicBezTo>
                  <a:cubicBezTo>
                    <a:pt x="1803" y="0"/>
                    <a:pt x="1735" y="32"/>
                    <a:pt x="1695" y="36"/>
                  </a:cubicBezTo>
                  <a:cubicBezTo>
                    <a:pt x="1667" y="52"/>
                    <a:pt x="1627" y="72"/>
                    <a:pt x="1599" y="80"/>
                  </a:cubicBezTo>
                  <a:cubicBezTo>
                    <a:pt x="1595" y="92"/>
                    <a:pt x="1583" y="108"/>
                    <a:pt x="1575" y="116"/>
                  </a:cubicBezTo>
                  <a:cubicBezTo>
                    <a:pt x="1567" y="124"/>
                    <a:pt x="1539" y="180"/>
                    <a:pt x="1539" y="180"/>
                  </a:cubicBezTo>
                  <a:cubicBezTo>
                    <a:pt x="1519" y="208"/>
                    <a:pt x="1515" y="172"/>
                    <a:pt x="1483" y="180"/>
                  </a:cubicBezTo>
                  <a:cubicBezTo>
                    <a:pt x="1471" y="188"/>
                    <a:pt x="1443" y="196"/>
                    <a:pt x="1443" y="196"/>
                  </a:cubicBezTo>
                  <a:lnTo>
                    <a:pt x="1407" y="204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  <p:sp>
          <p:nvSpPr>
            <p:cNvPr id="277" name="Freeform 85"/>
            <p:cNvSpPr>
              <a:spLocks noChangeAspect="1"/>
            </p:cNvSpPr>
            <p:nvPr/>
          </p:nvSpPr>
          <p:spPr bwMode="auto">
            <a:xfrm>
              <a:off x="3353" y="2976"/>
              <a:ext cx="196" cy="209"/>
            </a:xfrm>
            <a:custGeom>
              <a:avLst/>
              <a:gdLst>
                <a:gd name="T0" fmla="*/ 0 w 776"/>
                <a:gd name="T1" fmla="*/ 0 h 826"/>
                <a:gd name="T2" fmla="*/ 0 w 776"/>
                <a:gd name="T3" fmla="*/ 0 h 826"/>
                <a:gd name="T4" fmla="*/ 0 w 776"/>
                <a:gd name="T5" fmla="*/ 0 h 826"/>
                <a:gd name="T6" fmla="*/ 0 w 776"/>
                <a:gd name="T7" fmla="*/ 0 h 826"/>
                <a:gd name="T8" fmla="*/ 0 w 776"/>
                <a:gd name="T9" fmla="*/ 0 h 826"/>
                <a:gd name="T10" fmla="*/ 0 w 776"/>
                <a:gd name="T11" fmla="*/ 0 h 826"/>
                <a:gd name="T12" fmla="*/ 0 w 776"/>
                <a:gd name="T13" fmla="*/ 0 h 826"/>
                <a:gd name="T14" fmla="*/ 0 w 776"/>
                <a:gd name="T15" fmla="*/ 0 h 826"/>
                <a:gd name="T16" fmla="*/ 0 w 776"/>
                <a:gd name="T17" fmla="*/ 0 h 826"/>
                <a:gd name="T18" fmla="*/ 0 w 776"/>
                <a:gd name="T19" fmla="*/ 0 h 826"/>
                <a:gd name="T20" fmla="*/ 0 w 776"/>
                <a:gd name="T21" fmla="*/ 0 h 826"/>
                <a:gd name="T22" fmla="*/ 0 w 776"/>
                <a:gd name="T23" fmla="*/ 0 h 826"/>
                <a:gd name="T24" fmla="*/ 0 w 776"/>
                <a:gd name="T25" fmla="*/ 0 h 826"/>
                <a:gd name="T26" fmla="*/ 0 w 776"/>
                <a:gd name="T27" fmla="*/ 0 h 826"/>
                <a:gd name="T28" fmla="*/ 0 w 776"/>
                <a:gd name="T29" fmla="*/ 0 h 826"/>
                <a:gd name="T30" fmla="*/ 0 w 776"/>
                <a:gd name="T31" fmla="*/ 0 h 826"/>
                <a:gd name="T32" fmla="*/ 0 w 776"/>
                <a:gd name="T33" fmla="*/ 0 h 826"/>
                <a:gd name="T34" fmla="*/ 0 w 776"/>
                <a:gd name="T35" fmla="*/ 0 h 826"/>
                <a:gd name="T36" fmla="*/ 0 w 776"/>
                <a:gd name="T37" fmla="*/ 0 h 826"/>
                <a:gd name="T38" fmla="*/ 0 w 776"/>
                <a:gd name="T39" fmla="*/ 0 h 826"/>
                <a:gd name="T40" fmla="*/ 0 w 776"/>
                <a:gd name="T41" fmla="*/ 0 h 826"/>
                <a:gd name="T42" fmla="*/ 0 w 776"/>
                <a:gd name="T43" fmla="*/ 0 h 826"/>
                <a:gd name="T44" fmla="*/ 0 w 776"/>
                <a:gd name="T45" fmla="*/ 0 h 826"/>
                <a:gd name="T46" fmla="*/ 0 w 776"/>
                <a:gd name="T47" fmla="*/ 0 h 826"/>
                <a:gd name="T48" fmla="*/ 0 w 776"/>
                <a:gd name="T49" fmla="*/ 0 h 826"/>
                <a:gd name="T50" fmla="*/ 0 w 776"/>
                <a:gd name="T51" fmla="*/ 0 h 826"/>
                <a:gd name="T52" fmla="*/ 0 w 776"/>
                <a:gd name="T53" fmla="*/ 0 h 826"/>
                <a:gd name="T54" fmla="*/ 0 w 776"/>
                <a:gd name="T55" fmla="*/ 0 h 826"/>
                <a:gd name="T56" fmla="*/ 0 w 776"/>
                <a:gd name="T57" fmla="*/ 0 h 826"/>
                <a:gd name="T58" fmla="*/ 0 w 776"/>
                <a:gd name="T59" fmla="*/ 0 h 826"/>
                <a:gd name="T60" fmla="*/ 0 w 776"/>
                <a:gd name="T61" fmla="*/ 0 h 826"/>
                <a:gd name="T62" fmla="*/ 0 w 776"/>
                <a:gd name="T63" fmla="*/ 0 h 82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776"/>
                <a:gd name="T97" fmla="*/ 0 h 826"/>
                <a:gd name="T98" fmla="*/ 776 w 776"/>
                <a:gd name="T99" fmla="*/ 826 h 82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776" h="826">
                  <a:moveTo>
                    <a:pt x="484" y="824"/>
                  </a:moveTo>
                  <a:cubicBezTo>
                    <a:pt x="503" y="815"/>
                    <a:pt x="500" y="803"/>
                    <a:pt x="532" y="800"/>
                  </a:cubicBezTo>
                  <a:cubicBezTo>
                    <a:pt x="544" y="764"/>
                    <a:pt x="532" y="728"/>
                    <a:pt x="552" y="696"/>
                  </a:cubicBezTo>
                  <a:cubicBezTo>
                    <a:pt x="560" y="660"/>
                    <a:pt x="580" y="640"/>
                    <a:pt x="592" y="608"/>
                  </a:cubicBezTo>
                  <a:cubicBezTo>
                    <a:pt x="588" y="584"/>
                    <a:pt x="580" y="564"/>
                    <a:pt x="564" y="548"/>
                  </a:cubicBezTo>
                  <a:cubicBezTo>
                    <a:pt x="556" y="504"/>
                    <a:pt x="544" y="484"/>
                    <a:pt x="576" y="476"/>
                  </a:cubicBezTo>
                  <a:cubicBezTo>
                    <a:pt x="596" y="480"/>
                    <a:pt x="640" y="492"/>
                    <a:pt x="640" y="492"/>
                  </a:cubicBezTo>
                  <a:cubicBezTo>
                    <a:pt x="688" y="488"/>
                    <a:pt x="728" y="476"/>
                    <a:pt x="776" y="468"/>
                  </a:cubicBezTo>
                  <a:cubicBezTo>
                    <a:pt x="772" y="448"/>
                    <a:pt x="768" y="440"/>
                    <a:pt x="748" y="432"/>
                  </a:cubicBezTo>
                  <a:cubicBezTo>
                    <a:pt x="740" y="416"/>
                    <a:pt x="704" y="392"/>
                    <a:pt x="688" y="384"/>
                  </a:cubicBezTo>
                  <a:cubicBezTo>
                    <a:pt x="680" y="360"/>
                    <a:pt x="656" y="336"/>
                    <a:pt x="640" y="312"/>
                  </a:cubicBezTo>
                  <a:cubicBezTo>
                    <a:pt x="604" y="260"/>
                    <a:pt x="652" y="232"/>
                    <a:pt x="556" y="224"/>
                  </a:cubicBezTo>
                  <a:cubicBezTo>
                    <a:pt x="540" y="196"/>
                    <a:pt x="532" y="204"/>
                    <a:pt x="508" y="188"/>
                  </a:cubicBezTo>
                  <a:cubicBezTo>
                    <a:pt x="528" y="84"/>
                    <a:pt x="536" y="76"/>
                    <a:pt x="420" y="72"/>
                  </a:cubicBezTo>
                  <a:cubicBezTo>
                    <a:pt x="416" y="56"/>
                    <a:pt x="400" y="56"/>
                    <a:pt x="388" y="48"/>
                  </a:cubicBezTo>
                  <a:cubicBezTo>
                    <a:pt x="344" y="64"/>
                    <a:pt x="288" y="36"/>
                    <a:pt x="244" y="28"/>
                  </a:cubicBezTo>
                  <a:cubicBezTo>
                    <a:pt x="228" y="16"/>
                    <a:pt x="196" y="0"/>
                    <a:pt x="196" y="0"/>
                  </a:cubicBezTo>
                  <a:cubicBezTo>
                    <a:pt x="168" y="4"/>
                    <a:pt x="112" y="12"/>
                    <a:pt x="112" y="12"/>
                  </a:cubicBezTo>
                  <a:cubicBezTo>
                    <a:pt x="96" y="56"/>
                    <a:pt x="56" y="52"/>
                    <a:pt x="16" y="56"/>
                  </a:cubicBezTo>
                  <a:cubicBezTo>
                    <a:pt x="0" y="104"/>
                    <a:pt x="16" y="92"/>
                    <a:pt x="48" y="124"/>
                  </a:cubicBezTo>
                  <a:cubicBezTo>
                    <a:pt x="52" y="136"/>
                    <a:pt x="60" y="156"/>
                    <a:pt x="100" y="172"/>
                  </a:cubicBezTo>
                  <a:cubicBezTo>
                    <a:pt x="116" y="192"/>
                    <a:pt x="123" y="197"/>
                    <a:pt x="135" y="212"/>
                  </a:cubicBezTo>
                  <a:cubicBezTo>
                    <a:pt x="158" y="231"/>
                    <a:pt x="153" y="233"/>
                    <a:pt x="173" y="245"/>
                  </a:cubicBezTo>
                  <a:cubicBezTo>
                    <a:pt x="177" y="261"/>
                    <a:pt x="185" y="263"/>
                    <a:pt x="194" y="282"/>
                  </a:cubicBezTo>
                  <a:cubicBezTo>
                    <a:pt x="214" y="302"/>
                    <a:pt x="213" y="312"/>
                    <a:pt x="233" y="332"/>
                  </a:cubicBezTo>
                  <a:cubicBezTo>
                    <a:pt x="261" y="342"/>
                    <a:pt x="300" y="364"/>
                    <a:pt x="300" y="364"/>
                  </a:cubicBezTo>
                  <a:cubicBezTo>
                    <a:pt x="311" y="381"/>
                    <a:pt x="300" y="354"/>
                    <a:pt x="317" y="393"/>
                  </a:cubicBezTo>
                  <a:cubicBezTo>
                    <a:pt x="443" y="449"/>
                    <a:pt x="398" y="557"/>
                    <a:pt x="400" y="600"/>
                  </a:cubicBezTo>
                  <a:cubicBezTo>
                    <a:pt x="422" y="668"/>
                    <a:pt x="414" y="645"/>
                    <a:pt x="429" y="701"/>
                  </a:cubicBezTo>
                  <a:cubicBezTo>
                    <a:pt x="433" y="729"/>
                    <a:pt x="446" y="764"/>
                    <a:pt x="452" y="780"/>
                  </a:cubicBezTo>
                  <a:cubicBezTo>
                    <a:pt x="461" y="794"/>
                    <a:pt x="464" y="798"/>
                    <a:pt x="474" y="810"/>
                  </a:cubicBezTo>
                  <a:cubicBezTo>
                    <a:pt x="478" y="826"/>
                    <a:pt x="484" y="816"/>
                    <a:pt x="484" y="824"/>
                  </a:cubicBez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  <p:sp>
          <p:nvSpPr>
            <p:cNvPr id="278" name="Freeform 86"/>
            <p:cNvSpPr>
              <a:spLocks noChangeAspect="1"/>
            </p:cNvSpPr>
            <p:nvPr/>
          </p:nvSpPr>
          <p:spPr bwMode="auto">
            <a:xfrm>
              <a:off x="3059" y="3001"/>
              <a:ext cx="503" cy="360"/>
            </a:xfrm>
            <a:custGeom>
              <a:avLst/>
              <a:gdLst>
                <a:gd name="T0" fmla="*/ 0 w 1991"/>
                <a:gd name="T1" fmla="*/ 0 h 1428"/>
                <a:gd name="T2" fmla="*/ 0 w 1991"/>
                <a:gd name="T3" fmla="*/ 0 h 1428"/>
                <a:gd name="T4" fmla="*/ 0 w 1991"/>
                <a:gd name="T5" fmla="*/ 0 h 1428"/>
                <a:gd name="T6" fmla="*/ 0 w 1991"/>
                <a:gd name="T7" fmla="*/ 0 h 1428"/>
                <a:gd name="T8" fmla="*/ 0 w 1991"/>
                <a:gd name="T9" fmla="*/ 0 h 1428"/>
                <a:gd name="T10" fmla="*/ 0 w 1991"/>
                <a:gd name="T11" fmla="*/ 0 h 1428"/>
                <a:gd name="T12" fmla="*/ 0 w 1991"/>
                <a:gd name="T13" fmla="*/ 0 h 1428"/>
                <a:gd name="T14" fmla="*/ 0 w 1991"/>
                <a:gd name="T15" fmla="*/ 0 h 1428"/>
                <a:gd name="T16" fmla="*/ 0 w 1991"/>
                <a:gd name="T17" fmla="*/ 0 h 1428"/>
                <a:gd name="T18" fmla="*/ 0 w 1991"/>
                <a:gd name="T19" fmla="*/ 0 h 1428"/>
                <a:gd name="T20" fmla="*/ 0 w 1991"/>
                <a:gd name="T21" fmla="*/ 0 h 1428"/>
                <a:gd name="T22" fmla="*/ 0 w 1991"/>
                <a:gd name="T23" fmla="*/ 0 h 1428"/>
                <a:gd name="T24" fmla="*/ 0 w 1991"/>
                <a:gd name="T25" fmla="*/ 0 h 1428"/>
                <a:gd name="T26" fmla="*/ 0 w 1991"/>
                <a:gd name="T27" fmla="*/ 0 h 1428"/>
                <a:gd name="T28" fmla="*/ 0 w 1991"/>
                <a:gd name="T29" fmla="*/ 0 h 1428"/>
                <a:gd name="T30" fmla="*/ 0 w 1991"/>
                <a:gd name="T31" fmla="*/ 0 h 1428"/>
                <a:gd name="T32" fmla="*/ 0 w 1991"/>
                <a:gd name="T33" fmla="*/ 0 h 1428"/>
                <a:gd name="T34" fmla="*/ 0 w 1991"/>
                <a:gd name="T35" fmla="*/ 0 h 1428"/>
                <a:gd name="T36" fmla="*/ 0 w 1991"/>
                <a:gd name="T37" fmla="*/ 0 h 1428"/>
                <a:gd name="T38" fmla="*/ 0 w 1991"/>
                <a:gd name="T39" fmla="*/ 0 h 1428"/>
                <a:gd name="T40" fmla="*/ 0 w 1991"/>
                <a:gd name="T41" fmla="*/ 0 h 1428"/>
                <a:gd name="T42" fmla="*/ 0 w 1991"/>
                <a:gd name="T43" fmla="*/ 0 h 1428"/>
                <a:gd name="T44" fmla="*/ 0 w 1991"/>
                <a:gd name="T45" fmla="*/ 0 h 1428"/>
                <a:gd name="T46" fmla="*/ 0 w 1991"/>
                <a:gd name="T47" fmla="*/ 0 h 1428"/>
                <a:gd name="T48" fmla="*/ 0 w 1991"/>
                <a:gd name="T49" fmla="*/ 0 h 1428"/>
                <a:gd name="T50" fmla="*/ 0 w 1991"/>
                <a:gd name="T51" fmla="*/ 0 h 1428"/>
                <a:gd name="T52" fmla="*/ 0 w 1991"/>
                <a:gd name="T53" fmla="*/ 0 h 1428"/>
                <a:gd name="T54" fmla="*/ 0 w 1991"/>
                <a:gd name="T55" fmla="*/ 0 h 1428"/>
                <a:gd name="T56" fmla="*/ 0 w 1991"/>
                <a:gd name="T57" fmla="*/ 0 h 1428"/>
                <a:gd name="T58" fmla="*/ 0 w 1991"/>
                <a:gd name="T59" fmla="*/ 0 h 1428"/>
                <a:gd name="T60" fmla="*/ 0 w 1991"/>
                <a:gd name="T61" fmla="*/ 0 h 1428"/>
                <a:gd name="T62" fmla="*/ 0 w 1991"/>
                <a:gd name="T63" fmla="*/ 0 h 1428"/>
                <a:gd name="T64" fmla="*/ 0 w 1991"/>
                <a:gd name="T65" fmla="*/ 0 h 1428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991"/>
                <a:gd name="T100" fmla="*/ 0 h 1428"/>
                <a:gd name="T101" fmla="*/ 1991 w 1991"/>
                <a:gd name="T102" fmla="*/ 1428 h 1428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991" h="1428">
                  <a:moveTo>
                    <a:pt x="1847" y="1195"/>
                  </a:moveTo>
                  <a:cubicBezTo>
                    <a:pt x="1855" y="1139"/>
                    <a:pt x="1851" y="1087"/>
                    <a:pt x="1831" y="1035"/>
                  </a:cubicBezTo>
                  <a:cubicBezTo>
                    <a:pt x="1835" y="963"/>
                    <a:pt x="1815" y="903"/>
                    <a:pt x="1875" y="863"/>
                  </a:cubicBezTo>
                  <a:cubicBezTo>
                    <a:pt x="1879" y="847"/>
                    <a:pt x="1911" y="835"/>
                    <a:pt x="1927" y="827"/>
                  </a:cubicBezTo>
                  <a:cubicBezTo>
                    <a:pt x="1939" y="823"/>
                    <a:pt x="1963" y="815"/>
                    <a:pt x="1963" y="815"/>
                  </a:cubicBezTo>
                  <a:cubicBezTo>
                    <a:pt x="1991" y="787"/>
                    <a:pt x="1975" y="712"/>
                    <a:pt x="1947" y="684"/>
                  </a:cubicBezTo>
                  <a:cubicBezTo>
                    <a:pt x="1935" y="644"/>
                    <a:pt x="1863" y="672"/>
                    <a:pt x="1823" y="676"/>
                  </a:cubicBezTo>
                  <a:cubicBezTo>
                    <a:pt x="1815" y="708"/>
                    <a:pt x="1791" y="735"/>
                    <a:pt x="1759" y="747"/>
                  </a:cubicBezTo>
                  <a:cubicBezTo>
                    <a:pt x="1747" y="775"/>
                    <a:pt x="1735" y="767"/>
                    <a:pt x="1703" y="763"/>
                  </a:cubicBezTo>
                  <a:cubicBezTo>
                    <a:pt x="1687" y="755"/>
                    <a:pt x="1675" y="751"/>
                    <a:pt x="1659" y="743"/>
                  </a:cubicBezTo>
                  <a:cubicBezTo>
                    <a:pt x="1647" y="727"/>
                    <a:pt x="1639" y="708"/>
                    <a:pt x="1627" y="696"/>
                  </a:cubicBezTo>
                  <a:cubicBezTo>
                    <a:pt x="1619" y="688"/>
                    <a:pt x="1603" y="636"/>
                    <a:pt x="1603" y="636"/>
                  </a:cubicBezTo>
                  <a:cubicBezTo>
                    <a:pt x="1595" y="604"/>
                    <a:pt x="1587" y="560"/>
                    <a:pt x="1567" y="500"/>
                  </a:cubicBezTo>
                  <a:cubicBezTo>
                    <a:pt x="1583" y="396"/>
                    <a:pt x="1563" y="324"/>
                    <a:pt x="1483" y="296"/>
                  </a:cubicBezTo>
                  <a:cubicBezTo>
                    <a:pt x="1475" y="276"/>
                    <a:pt x="1467" y="268"/>
                    <a:pt x="1447" y="260"/>
                  </a:cubicBezTo>
                  <a:cubicBezTo>
                    <a:pt x="1431" y="244"/>
                    <a:pt x="1419" y="244"/>
                    <a:pt x="1399" y="236"/>
                  </a:cubicBezTo>
                  <a:cubicBezTo>
                    <a:pt x="1387" y="216"/>
                    <a:pt x="1379" y="204"/>
                    <a:pt x="1363" y="192"/>
                  </a:cubicBezTo>
                  <a:cubicBezTo>
                    <a:pt x="1359" y="176"/>
                    <a:pt x="1319" y="124"/>
                    <a:pt x="1299" y="116"/>
                  </a:cubicBezTo>
                  <a:cubicBezTo>
                    <a:pt x="1291" y="88"/>
                    <a:pt x="1255" y="76"/>
                    <a:pt x="1231" y="60"/>
                  </a:cubicBezTo>
                  <a:cubicBezTo>
                    <a:pt x="1223" y="48"/>
                    <a:pt x="1219" y="36"/>
                    <a:pt x="1207" y="24"/>
                  </a:cubicBezTo>
                  <a:cubicBezTo>
                    <a:pt x="1199" y="0"/>
                    <a:pt x="1135" y="44"/>
                    <a:pt x="1135" y="44"/>
                  </a:cubicBezTo>
                  <a:cubicBezTo>
                    <a:pt x="1111" y="76"/>
                    <a:pt x="1123" y="92"/>
                    <a:pt x="1079" y="100"/>
                  </a:cubicBezTo>
                  <a:cubicBezTo>
                    <a:pt x="1063" y="108"/>
                    <a:pt x="1043" y="116"/>
                    <a:pt x="1027" y="128"/>
                  </a:cubicBezTo>
                  <a:cubicBezTo>
                    <a:pt x="1015" y="164"/>
                    <a:pt x="943" y="168"/>
                    <a:pt x="915" y="192"/>
                  </a:cubicBezTo>
                  <a:cubicBezTo>
                    <a:pt x="899" y="196"/>
                    <a:pt x="871" y="204"/>
                    <a:pt x="871" y="204"/>
                  </a:cubicBezTo>
                  <a:cubicBezTo>
                    <a:pt x="859" y="216"/>
                    <a:pt x="847" y="220"/>
                    <a:pt x="835" y="228"/>
                  </a:cubicBezTo>
                  <a:cubicBezTo>
                    <a:pt x="723" y="216"/>
                    <a:pt x="787" y="220"/>
                    <a:pt x="643" y="216"/>
                  </a:cubicBezTo>
                  <a:cubicBezTo>
                    <a:pt x="535" y="220"/>
                    <a:pt x="543" y="180"/>
                    <a:pt x="483" y="228"/>
                  </a:cubicBezTo>
                  <a:cubicBezTo>
                    <a:pt x="475" y="248"/>
                    <a:pt x="435" y="292"/>
                    <a:pt x="411" y="296"/>
                  </a:cubicBezTo>
                  <a:cubicBezTo>
                    <a:pt x="399" y="312"/>
                    <a:pt x="383" y="312"/>
                    <a:pt x="363" y="320"/>
                  </a:cubicBezTo>
                  <a:cubicBezTo>
                    <a:pt x="359" y="320"/>
                    <a:pt x="351" y="324"/>
                    <a:pt x="351" y="324"/>
                  </a:cubicBezTo>
                  <a:cubicBezTo>
                    <a:pt x="339" y="340"/>
                    <a:pt x="331" y="360"/>
                    <a:pt x="319" y="372"/>
                  </a:cubicBezTo>
                  <a:cubicBezTo>
                    <a:pt x="295" y="440"/>
                    <a:pt x="287" y="528"/>
                    <a:pt x="247" y="588"/>
                  </a:cubicBezTo>
                  <a:cubicBezTo>
                    <a:pt x="233" y="623"/>
                    <a:pt x="235" y="632"/>
                    <a:pt x="219" y="680"/>
                  </a:cubicBezTo>
                  <a:cubicBezTo>
                    <a:pt x="215" y="720"/>
                    <a:pt x="203" y="725"/>
                    <a:pt x="183" y="753"/>
                  </a:cubicBezTo>
                  <a:cubicBezTo>
                    <a:pt x="173" y="772"/>
                    <a:pt x="174" y="780"/>
                    <a:pt x="161" y="800"/>
                  </a:cubicBezTo>
                  <a:cubicBezTo>
                    <a:pt x="144" y="813"/>
                    <a:pt x="98" y="825"/>
                    <a:pt x="83" y="849"/>
                  </a:cubicBezTo>
                  <a:cubicBezTo>
                    <a:pt x="60" y="860"/>
                    <a:pt x="27" y="862"/>
                    <a:pt x="20" y="866"/>
                  </a:cubicBezTo>
                  <a:cubicBezTo>
                    <a:pt x="0" y="878"/>
                    <a:pt x="33" y="866"/>
                    <a:pt x="36" y="881"/>
                  </a:cubicBezTo>
                  <a:cubicBezTo>
                    <a:pt x="50" y="921"/>
                    <a:pt x="90" y="912"/>
                    <a:pt x="105" y="927"/>
                  </a:cubicBezTo>
                  <a:cubicBezTo>
                    <a:pt x="129" y="959"/>
                    <a:pt x="141" y="962"/>
                    <a:pt x="163" y="991"/>
                  </a:cubicBezTo>
                  <a:cubicBezTo>
                    <a:pt x="170" y="1017"/>
                    <a:pt x="206" y="1035"/>
                    <a:pt x="225" y="1076"/>
                  </a:cubicBezTo>
                  <a:cubicBezTo>
                    <a:pt x="248" y="1083"/>
                    <a:pt x="257" y="1079"/>
                    <a:pt x="281" y="1086"/>
                  </a:cubicBezTo>
                  <a:cubicBezTo>
                    <a:pt x="293" y="1090"/>
                    <a:pt x="315" y="1111"/>
                    <a:pt x="315" y="1111"/>
                  </a:cubicBezTo>
                  <a:cubicBezTo>
                    <a:pt x="319" y="1199"/>
                    <a:pt x="288" y="1233"/>
                    <a:pt x="375" y="1231"/>
                  </a:cubicBezTo>
                  <a:cubicBezTo>
                    <a:pt x="391" y="1235"/>
                    <a:pt x="399" y="1226"/>
                    <a:pt x="422" y="1233"/>
                  </a:cubicBezTo>
                  <a:cubicBezTo>
                    <a:pt x="430" y="1237"/>
                    <a:pt x="462" y="1251"/>
                    <a:pt x="462" y="1251"/>
                  </a:cubicBezTo>
                  <a:cubicBezTo>
                    <a:pt x="473" y="1253"/>
                    <a:pt x="475" y="1254"/>
                    <a:pt x="491" y="1248"/>
                  </a:cubicBezTo>
                  <a:cubicBezTo>
                    <a:pt x="497" y="1235"/>
                    <a:pt x="498" y="1226"/>
                    <a:pt x="557" y="1206"/>
                  </a:cubicBezTo>
                  <a:cubicBezTo>
                    <a:pt x="581" y="1214"/>
                    <a:pt x="609" y="1265"/>
                    <a:pt x="600" y="1301"/>
                  </a:cubicBezTo>
                  <a:cubicBezTo>
                    <a:pt x="604" y="1309"/>
                    <a:pt x="618" y="1301"/>
                    <a:pt x="629" y="1316"/>
                  </a:cubicBezTo>
                  <a:cubicBezTo>
                    <a:pt x="641" y="1320"/>
                    <a:pt x="656" y="1329"/>
                    <a:pt x="656" y="1329"/>
                  </a:cubicBezTo>
                  <a:cubicBezTo>
                    <a:pt x="698" y="1392"/>
                    <a:pt x="678" y="1401"/>
                    <a:pt x="685" y="1415"/>
                  </a:cubicBezTo>
                  <a:cubicBezTo>
                    <a:pt x="704" y="1421"/>
                    <a:pt x="707" y="1423"/>
                    <a:pt x="725" y="1425"/>
                  </a:cubicBezTo>
                  <a:cubicBezTo>
                    <a:pt x="747" y="1428"/>
                    <a:pt x="771" y="1425"/>
                    <a:pt x="795" y="1425"/>
                  </a:cubicBezTo>
                  <a:cubicBezTo>
                    <a:pt x="871" y="1421"/>
                    <a:pt x="942" y="1409"/>
                    <a:pt x="1026" y="1397"/>
                  </a:cubicBezTo>
                  <a:cubicBezTo>
                    <a:pt x="1074" y="1389"/>
                    <a:pt x="1122" y="1385"/>
                    <a:pt x="1175" y="1380"/>
                  </a:cubicBezTo>
                  <a:cubicBezTo>
                    <a:pt x="1196" y="1371"/>
                    <a:pt x="1230" y="1359"/>
                    <a:pt x="1230" y="1359"/>
                  </a:cubicBezTo>
                  <a:cubicBezTo>
                    <a:pt x="1242" y="1351"/>
                    <a:pt x="1251" y="1346"/>
                    <a:pt x="1263" y="1338"/>
                  </a:cubicBezTo>
                  <a:cubicBezTo>
                    <a:pt x="1267" y="1322"/>
                    <a:pt x="1295" y="1307"/>
                    <a:pt x="1311" y="1295"/>
                  </a:cubicBezTo>
                  <a:cubicBezTo>
                    <a:pt x="1323" y="1274"/>
                    <a:pt x="1343" y="1257"/>
                    <a:pt x="1355" y="1233"/>
                  </a:cubicBezTo>
                  <a:cubicBezTo>
                    <a:pt x="1382" y="1216"/>
                    <a:pt x="1428" y="1213"/>
                    <a:pt x="1455" y="1203"/>
                  </a:cubicBezTo>
                  <a:cubicBezTo>
                    <a:pt x="1476" y="1182"/>
                    <a:pt x="1519" y="1175"/>
                    <a:pt x="1519" y="1175"/>
                  </a:cubicBezTo>
                  <a:cubicBezTo>
                    <a:pt x="1527" y="1167"/>
                    <a:pt x="1557" y="1158"/>
                    <a:pt x="1557" y="1158"/>
                  </a:cubicBezTo>
                  <a:cubicBezTo>
                    <a:pt x="1581" y="1162"/>
                    <a:pt x="1605" y="1154"/>
                    <a:pt x="1629" y="1158"/>
                  </a:cubicBezTo>
                  <a:cubicBezTo>
                    <a:pt x="1670" y="1172"/>
                    <a:pt x="1773" y="1197"/>
                    <a:pt x="1803" y="1195"/>
                  </a:cubicBezTo>
                  <a:cubicBezTo>
                    <a:pt x="1811" y="1195"/>
                    <a:pt x="1871" y="1219"/>
                    <a:pt x="1847" y="1195"/>
                  </a:cubicBez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  <p:sp>
          <p:nvSpPr>
            <p:cNvPr id="279" name="Freeform 87"/>
            <p:cNvSpPr>
              <a:spLocks noChangeAspect="1"/>
            </p:cNvSpPr>
            <p:nvPr/>
          </p:nvSpPr>
          <p:spPr bwMode="auto">
            <a:xfrm>
              <a:off x="3202" y="3292"/>
              <a:ext cx="334" cy="253"/>
            </a:xfrm>
            <a:custGeom>
              <a:avLst/>
              <a:gdLst>
                <a:gd name="T0" fmla="*/ 0 w 1320"/>
                <a:gd name="T1" fmla="*/ 0 h 999"/>
                <a:gd name="T2" fmla="*/ 0 w 1320"/>
                <a:gd name="T3" fmla="*/ 0 h 999"/>
                <a:gd name="T4" fmla="*/ 0 w 1320"/>
                <a:gd name="T5" fmla="*/ 0 h 999"/>
                <a:gd name="T6" fmla="*/ 0 w 1320"/>
                <a:gd name="T7" fmla="*/ 0 h 999"/>
                <a:gd name="T8" fmla="*/ 0 w 1320"/>
                <a:gd name="T9" fmla="*/ 0 h 999"/>
                <a:gd name="T10" fmla="*/ 0 w 1320"/>
                <a:gd name="T11" fmla="*/ 0 h 999"/>
                <a:gd name="T12" fmla="*/ 0 w 1320"/>
                <a:gd name="T13" fmla="*/ 0 h 999"/>
                <a:gd name="T14" fmla="*/ 0 w 1320"/>
                <a:gd name="T15" fmla="*/ 0 h 999"/>
                <a:gd name="T16" fmla="*/ 0 w 1320"/>
                <a:gd name="T17" fmla="*/ 0 h 999"/>
                <a:gd name="T18" fmla="*/ 0 w 1320"/>
                <a:gd name="T19" fmla="*/ 0 h 999"/>
                <a:gd name="T20" fmla="*/ 0 w 1320"/>
                <a:gd name="T21" fmla="*/ 0 h 999"/>
                <a:gd name="T22" fmla="*/ 0 w 1320"/>
                <a:gd name="T23" fmla="*/ 0 h 999"/>
                <a:gd name="T24" fmla="*/ 0 w 1320"/>
                <a:gd name="T25" fmla="*/ 0 h 999"/>
                <a:gd name="T26" fmla="*/ 0 w 1320"/>
                <a:gd name="T27" fmla="*/ 0 h 999"/>
                <a:gd name="T28" fmla="*/ 0 w 1320"/>
                <a:gd name="T29" fmla="*/ 0 h 999"/>
                <a:gd name="T30" fmla="*/ 0 w 1320"/>
                <a:gd name="T31" fmla="*/ 0 h 999"/>
                <a:gd name="T32" fmla="*/ 0 w 1320"/>
                <a:gd name="T33" fmla="*/ 0 h 999"/>
                <a:gd name="T34" fmla="*/ 0 w 1320"/>
                <a:gd name="T35" fmla="*/ 0 h 999"/>
                <a:gd name="T36" fmla="*/ 0 w 1320"/>
                <a:gd name="T37" fmla="*/ 0 h 999"/>
                <a:gd name="T38" fmla="*/ 0 w 1320"/>
                <a:gd name="T39" fmla="*/ 0 h 999"/>
                <a:gd name="T40" fmla="*/ 0 w 1320"/>
                <a:gd name="T41" fmla="*/ 0 h 999"/>
                <a:gd name="T42" fmla="*/ 0 w 1320"/>
                <a:gd name="T43" fmla="*/ 0 h 999"/>
                <a:gd name="T44" fmla="*/ 0 w 1320"/>
                <a:gd name="T45" fmla="*/ 0 h 999"/>
                <a:gd name="T46" fmla="*/ 0 w 1320"/>
                <a:gd name="T47" fmla="*/ 0 h 999"/>
                <a:gd name="T48" fmla="*/ 0 w 1320"/>
                <a:gd name="T49" fmla="*/ 0 h 999"/>
                <a:gd name="T50" fmla="*/ 0 w 1320"/>
                <a:gd name="T51" fmla="*/ 0 h 999"/>
                <a:gd name="T52" fmla="*/ 0 w 1320"/>
                <a:gd name="T53" fmla="*/ 0 h 999"/>
                <a:gd name="T54" fmla="*/ 0 w 1320"/>
                <a:gd name="T55" fmla="*/ 0 h 999"/>
                <a:gd name="T56" fmla="*/ 0 w 1320"/>
                <a:gd name="T57" fmla="*/ 0 h 999"/>
                <a:gd name="T58" fmla="*/ 0 w 1320"/>
                <a:gd name="T59" fmla="*/ 0 h 999"/>
                <a:gd name="T60" fmla="*/ 0 w 1320"/>
                <a:gd name="T61" fmla="*/ 0 h 999"/>
                <a:gd name="T62" fmla="*/ 0 w 1320"/>
                <a:gd name="T63" fmla="*/ 0 h 999"/>
                <a:gd name="T64" fmla="*/ 0 w 1320"/>
                <a:gd name="T65" fmla="*/ 0 h 999"/>
                <a:gd name="T66" fmla="*/ 0 w 1320"/>
                <a:gd name="T67" fmla="*/ 0 h 999"/>
                <a:gd name="T68" fmla="*/ 0 w 1320"/>
                <a:gd name="T69" fmla="*/ 0 h 999"/>
                <a:gd name="T70" fmla="*/ 0 w 1320"/>
                <a:gd name="T71" fmla="*/ 0 h 999"/>
                <a:gd name="T72" fmla="*/ 0 w 1320"/>
                <a:gd name="T73" fmla="*/ 0 h 999"/>
                <a:gd name="T74" fmla="*/ 0 w 1320"/>
                <a:gd name="T75" fmla="*/ 0 h 999"/>
                <a:gd name="T76" fmla="*/ 0 w 1320"/>
                <a:gd name="T77" fmla="*/ 0 h 999"/>
                <a:gd name="T78" fmla="*/ 0 w 1320"/>
                <a:gd name="T79" fmla="*/ 0 h 999"/>
                <a:gd name="T80" fmla="*/ 0 w 1320"/>
                <a:gd name="T81" fmla="*/ 0 h 999"/>
                <a:gd name="T82" fmla="*/ 0 w 1320"/>
                <a:gd name="T83" fmla="*/ 0 h 999"/>
                <a:gd name="T84" fmla="*/ 0 w 1320"/>
                <a:gd name="T85" fmla="*/ 0 h 999"/>
                <a:gd name="T86" fmla="*/ 0 w 1320"/>
                <a:gd name="T87" fmla="*/ 0 h 999"/>
                <a:gd name="T88" fmla="*/ 0 w 1320"/>
                <a:gd name="T89" fmla="*/ 0 h 999"/>
                <a:gd name="T90" fmla="*/ 0 w 1320"/>
                <a:gd name="T91" fmla="*/ 0 h 999"/>
                <a:gd name="T92" fmla="*/ 0 w 1320"/>
                <a:gd name="T93" fmla="*/ 0 h 999"/>
                <a:gd name="T94" fmla="*/ 0 w 1320"/>
                <a:gd name="T95" fmla="*/ 0 h 999"/>
                <a:gd name="T96" fmla="*/ 0 w 1320"/>
                <a:gd name="T97" fmla="*/ 0 h 999"/>
                <a:gd name="T98" fmla="*/ 0 w 1320"/>
                <a:gd name="T99" fmla="*/ 0 h 999"/>
                <a:gd name="T100" fmla="*/ 0 w 1320"/>
                <a:gd name="T101" fmla="*/ 0 h 999"/>
                <a:gd name="T102" fmla="*/ 0 w 1320"/>
                <a:gd name="T103" fmla="*/ 0 h 999"/>
                <a:gd name="T104" fmla="*/ 0 w 1320"/>
                <a:gd name="T105" fmla="*/ 0 h 999"/>
                <a:gd name="T106" fmla="*/ 0 w 1320"/>
                <a:gd name="T107" fmla="*/ 0 h 999"/>
                <a:gd name="T108" fmla="*/ 0 w 1320"/>
                <a:gd name="T109" fmla="*/ 0 h 999"/>
                <a:gd name="T110" fmla="*/ 0 w 1320"/>
                <a:gd name="T111" fmla="*/ 0 h 999"/>
                <a:gd name="T112" fmla="*/ 0 w 1320"/>
                <a:gd name="T113" fmla="*/ 0 h 999"/>
                <a:gd name="T114" fmla="*/ 0 w 1320"/>
                <a:gd name="T115" fmla="*/ 0 h 999"/>
                <a:gd name="T116" fmla="*/ 0 w 1320"/>
                <a:gd name="T117" fmla="*/ 0 h 999"/>
                <a:gd name="T118" fmla="*/ 0 w 1320"/>
                <a:gd name="T119" fmla="*/ 0 h 999"/>
                <a:gd name="T120" fmla="*/ 0 w 1320"/>
                <a:gd name="T121" fmla="*/ 0 h 999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320"/>
                <a:gd name="T184" fmla="*/ 0 h 999"/>
                <a:gd name="T185" fmla="*/ 1320 w 1320"/>
                <a:gd name="T186" fmla="*/ 999 h 999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320" h="999">
                  <a:moveTo>
                    <a:pt x="1283" y="578"/>
                  </a:moveTo>
                  <a:cubicBezTo>
                    <a:pt x="1307" y="570"/>
                    <a:pt x="1284" y="527"/>
                    <a:pt x="1276" y="507"/>
                  </a:cubicBezTo>
                  <a:cubicBezTo>
                    <a:pt x="1272" y="500"/>
                    <a:pt x="1224" y="484"/>
                    <a:pt x="1216" y="480"/>
                  </a:cubicBezTo>
                  <a:cubicBezTo>
                    <a:pt x="1208" y="476"/>
                    <a:pt x="1192" y="464"/>
                    <a:pt x="1192" y="464"/>
                  </a:cubicBezTo>
                  <a:cubicBezTo>
                    <a:pt x="1172" y="436"/>
                    <a:pt x="1184" y="400"/>
                    <a:pt x="1188" y="368"/>
                  </a:cubicBezTo>
                  <a:cubicBezTo>
                    <a:pt x="1188" y="340"/>
                    <a:pt x="1192" y="316"/>
                    <a:pt x="1192" y="288"/>
                  </a:cubicBezTo>
                  <a:cubicBezTo>
                    <a:pt x="1200" y="164"/>
                    <a:pt x="1196" y="144"/>
                    <a:pt x="1312" y="128"/>
                  </a:cubicBezTo>
                  <a:cubicBezTo>
                    <a:pt x="1320" y="116"/>
                    <a:pt x="1292" y="56"/>
                    <a:pt x="1272" y="48"/>
                  </a:cubicBezTo>
                  <a:cubicBezTo>
                    <a:pt x="1256" y="40"/>
                    <a:pt x="1228" y="40"/>
                    <a:pt x="1216" y="40"/>
                  </a:cubicBezTo>
                  <a:cubicBezTo>
                    <a:pt x="1176" y="28"/>
                    <a:pt x="1144" y="20"/>
                    <a:pt x="1104" y="16"/>
                  </a:cubicBezTo>
                  <a:cubicBezTo>
                    <a:pt x="1084" y="8"/>
                    <a:pt x="1064" y="4"/>
                    <a:pt x="1044" y="0"/>
                  </a:cubicBezTo>
                  <a:cubicBezTo>
                    <a:pt x="996" y="4"/>
                    <a:pt x="968" y="8"/>
                    <a:pt x="924" y="24"/>
                  </a:cubicBezTo>
                  <a:cubicBezTo>
                    <a:pt x="912" y="28"/>
                    <a:pt x="900" y="44"/>
                    <a:pt x="888" y="48"/>
                  </a:cubicBezTo>
                  <a:cubicBezTo>
                    <a:pt x="852" y="56"/>
                    <a:pt x="816" y="64"/>
                    <a:pt x="784" y="80"/>
                  </a:cubicBezTo>
                  <a:cubicBezTo>
                    <a:pt x="780" y="96"/>
                    <a:pt x="772" y="104"/>
                    <a:pt x="760" y="112"/>
                  </a:cubicBezTo>
                  <a:cubicBezTo>
                    <a:pt x="752" y="128"/>
                    <a:pt x="752" y="136"/>
                    <a:pt x="736" y="140"/>
                  </a:cubicBezTo>
                  <a:cubicBezTo>
                    <a:pt x="708" y="168"/>
                    <a:pt x="720" y="156"/>
                    <a:pt x="700" y="172"/>
                  </a:cubicBezTo>
                  <a:cubicBezTo>
                    <a:pt x="688" y="208"/>
                    <a:pt x="648" y="200"/>
                    <a:pt x="612" y="224"/>
                  </a:cubicBezTo>
                  <a:cubicBezTo>
                    <a:pt x="492" y="232"/>
                    <a:pt x="336" y="264"/>
                    <a:pt x="192" y="272"/>
                  </a:cubicBezTo>
                  <a:cubicBezTo>
                    <a:pt x="72" y="264"/>
                    <a:pt x="152" y="252"/>
                    <a:pt x="96" y="196"/>
                  </a:cubicBezTo>
                  <a:cubicBezTo>
                    <a:pt x="88" y="168"/>
                    <a:pt x="80" y="172"/>
                    <a:pt x="60" y="160"/>
                  </a:cubicBezTo>
                  <a:cubicBezTo>
                    <a:pt x="48" y="191"/>
                    <a:pt x="33" y="242"/>
                    <a:pt x="16" y="244"/>
                  </a:cubicBezTo>
                  <a:cubicBezTo>
                    <a:pt x="0" y="288"/>
                    <a:pt x="27" y="326"/>
                    <a:pt x="36" y="370"/>
                  </a:cubicBezTo>
                  <a:cubicBezTo>
                    <a:pt x="39" y="397"/>
                    <a:pt x="43" y="406"/>
                    <a:pt x="51" y="410"/>
                  </a:cubicBezTo>
                  <a:cubicBezTo>
                    <a:pt x="86" y="415"/>
                    <a:pt x="108" y="424"/>
                    <a:pt x="124" y="432"/>
                  </a:cubicBezTo>
                  <a:cubicBezTo>
                    <a:pt x="136" y="448"/>
                    <a:pt x="140" y="448"/>
                    <a:pt x="156" y="460"/>
                  </a:cubicBezTo>
                  <a:cubicBezTo>
                    <a:pt x="169" y="502"/>
                    <a:pt x="142" y="523"/>
                    <a:pt x="129" y="541"/>
                  </a:cubicBezTo>
                  <a:cubicBezTo>
                    <a:pt x="115" y="557"/>
                    <a:pt x="91" y="559"/>
                    <a:pt x="84" y="571"/>
                  </a:cubicBezTo>
                  <a:cubicBezTo>
                    <a:pt x="80" y="592"/>
                    <a:pt x="80" y="583"/>
                    <a:pt x="88" y="603"/>
                  </a:cubicBezTo>
                  <a:cubicBezTo>
                    <a:pt x="92" y="626"/>
                    <a:pt x="87" y="637"/>
                    <a:pt x="86" y="662"/>
                  </a:cubicBezTo>
                  <a:cubicBezTo>
                    <a:pt x="89" y="695"/>
                    <a:pt x="86" y="715"/>
                    <a:pt x="78" y="739"/>
                  </a:cubicBezTo>
                  <a:cubicBezTo>
                    <a:pt x="84" y="755"/>
                    <a:pt x="79" y="754"/>
                    <a:pt x="93" y="764"/>
                  </a:cubicBezTo>
                  <a:cubicBezTo>
                    <a:pt x="107" y="774"/>
                    <a:pt x="139" y="787"/>
                    <a:pt x="160" y="799"/>
                  </a:cubicBezTo>
                  <a:cubicBezTo>
                    <a:pt x="183" y="817"/>
                    <a:pt x="201" y="817"/>
                    <a:pt x="216" y="835"/>
                  </a:cubicBezTo>
                  <a:cubicBezTo>
                    <a:pt x="232" y="859"/>
                    <a:pt x="245" y="878"/>
                    <a:pt x="252" y="907"/>
                  </a:cubicBezTo>
                  <a:cubicBezTo>
                    <a:pt x="248" y="943"/>
                    <a:pt x="244" y="963"/>
                    <a:pt x="248" y="999"/>
                  </a:cubicBezTo>
                  <a:cubicBezTo>
                    <a:pt x="252" y="983"/>
                    <a:pt x="269" y="977"/>
                    <a:pt x="269" y="977"/>
                  </a:cubicBezTo>
                  <a:cubicBezTo>
                    <a:pt x="311" y="961"/>
                    <a:pt x="422" y="956"/>
                    <a:pt x="438" y="956"/>
                  </a:cubicBezTo>
                  <a:cubicBezTo>
                    <a:pt x="444" y="941"/>
                    <a:pt x="447" y="931"/>
                    <a:pt x="450" y="923"/>
                  </a:cubicBezTo>
                  <a:cubicBezTo>
                    <a:pt x="477" y="911"/>
                    <a:pt x="480" y="899"/>
                    <a:pt x="500" y="878"/>
                  </a:cubicBezTo>
                  <a:cubicBezTo>
                    <a:pt x="516" y="866"/>
                    <a:pt x="516" y="869"/>
                    <a:pt x="536" y="865"/>
                  </a:cubicBezTo>
                  <a:cubicBezTo>
                    <a:pt x="568" y="869"/>
                    <a:pt x="576" y="875"/>
                    <a:pt x="600" y="887"/>
                  </a:cubicBezTo>
                  <a:cubicBezTo>
                    <a:pt x="650" y="920"/>
                    <a:pt x="668" y="907"/>
                    <a:pt x="720" y="911"/>
                  </a:cubicBezTo>
                  <a:cubicBezTo>
                    <a:pt x="753" y="911"/>
                    <a:pt x="777" y="913"/>
                    <a:pt x="819" y="898"/>
                  </a:cubicBezTo>
                  <a:cubicBezTo>
                    <a:pt x="831" y="894"/>
                    <a:pt x="848" y="881"/>
                    <a:pt x="852" y="883"/>
                  </a:cubicBezTo>
                  <a:cubicBezTo>
                    <a:pt x="869" y="859"/>
                    <a:pt x="900" y="863"/>
                    <a:pt x="928" y="855"/>
                  </a:cubicBezTo>
                  <a:cubicBezTo>
                    <a:pt x="948" y="827"/>
                    <a:pt x="931" y="802"/>
                    <a:pt x="924" y="770"/>
                  </a:cubicBezTo>
                  <a:cubicBezTo>
                    <a:pt x="904" y="753"/>
                    <a:pt x="917" y="722"/>
                    <a:pt x="917" y="722"/>
                  </a:cubicBezTo>
                  <a:cubicBezTo>
                    <a:pt x="933" y="719"/>
                    <a:pt x="925" y="718"/>
                    <a:pt x="941" y="730"/>
                  </a:cubicBezTo>
                  <a:cubicBezTo>
                    <a:pt x="951" y="745"/>
                    <a:pt x="955" y="743"/>
                    <a:pt x="965" y="749"/>
                  </a:cubicBezTo>
                  <a:cubicBezTo>
                    <a:pt x="975" y="755"/>
                    <a:pt x="1001" y="769"/>
                    <a:pt x="1002" y="767"/>
                  </a:cubicBezTo>
                  <a:cubicBezTo>
                    <a:pt x="992" y="728"/>
                    <a:pt x="973" y="745"/>
                    <a:pt x="969" y="737"/>
                  </a:cubicBezTo>
                  <a:cubicBezTo>
                    <a:pt x="965" y="729"/>
                    <a:pt x="971" y="722"/>
                    <a:pt x="975" y="716"/>
                  </a:cubicBezTo>
                  <a:cubicBezTo>
                    <a:pt x="979" y="716"/>
                    <a:pt x="988" y="701"/>
                    <a:pt x="992" y="701"/>
                  </a:cubicBezTo>
                  <a:cubicBezTo>
                    <a:pt x="996" y="697"/>
                    <a:pt x="995" y="689"/>
                    <a:pt x="995" y="685"/>
                  </a:cubicBezTo>
                  <a:cubicBezTo>
                    <a:pt x="995" y="673"/>
                    <a:pt x="1003" y="663"/>
                    <a:pt x="1007" y="655"/>
                  </a:cubicBezTo>
                  <a:cubicBezTo>
                    <a:pt x="1011" y="644"/>
                    <a:pt x="1029" y="642"/>
                    <a:pt x="1037" y="638"/>
                  </a:cubicBezTo>
                  <a:cubicBezTo>
                    <a:pt x="1065" y="620"/>
                    <a:pt x="1082" y="598"/>
                    <a:pt x="1118" y="586"/>
                  </a:cubicBezTo>
                  <a:cubicBezTo>
                    <a:pt x="1145" y="581"/>
                    <a:pt x="1157" y="602"/>
                    <a:pt x="1200" y="603"/>
                  </a:cubicBezTo>
                  <a:cubicBezTo>
                    <a:pt x="1222" y="603"/>
                    <a:pt x="1243" y="600"/>
                    <a:pt x="1257" y="596"/>
                  </a:cubicBezTo>
                  <a:cubicBezTo>
                    <a:pt x="1271" y="592"/>
                    <a:pt x="1266" y="583"/>
                    <a:pt x="1283" y="578"/>
                  </a:cubicBez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  <p:sp>
          <p:nvSpPr>
            <p:cNvPr id="280" name="Freeform 88"/>
            <p:cNvSpPr>
              <a:spLocks noChangeAspect="1"/>
            </p:cNvSpPr>
            <p:nvPr/>
          </p:nvSpPr>
          <p:spPr bwMode="auto">
            <a:xfrm>
              <a:off x="3124" y="3471"/>
              <a:ext cx="142" cy="130"/>
            </a:xfrm>
            <a:custGeom>
              <a:avLst/>
              <a:gdLst>
                <a:gd name="T0" fmla="*/ 0 w 559"/>
                <a:gd name="T1" fmla="*/ 0 h 512"/>
                <a:gd name="T2" fmla="*/ 0 w 559"/>
                <a:gd name="T3" fmla="*/ 0 h 512"/>
                <a:gd name="T4" fmla="*/ 0 w 559"/>
                <a:gd name="T5" fmla="*/ 0 h 512"/>
                <a:gd name="T6" fmla="*/ 0 w 559"/>
                <a:gd name="T7" fmla="*/ 0 h 512"/>
                <a:gd name="T8" fmla="*/ 0 w 559"/>
                <a:gd name="T9" fmla="*/ 0 h 512"/>
                <a:gd name="T10" fmla="*/ 0 w 559"/>
                <a:gd name="T11" fmla="*/ 0 h 512"/>
                <a:gd name="T12" fmla="*/ 0 w 559"/>
                <a:gd name="T13" fmla="*/ 0 h 512"/>
                <a:gd name="T14" fmla="*/ 0 w 559"/>
                <a:gd name="T15" fmla="*/ 0 h 512"/>
                <a:gd name="T16" fmla="*/ 0 w 559"/>
                <a:gd name="T17" fmla="*/ 0 h 512"/>
                <a:gd name="T18" fmla="*/ 0 w 559"/>
                <a:gd name="T19" fmla="*/ 0 h 512"/>
                <a:gd name="T20" fmla="*/ 0 w 559"/>
                <a:gd name="T21" fmla="*/ 0 h 512"/>
                <a:gd name="T22" fmla="*/ 0 w 559"/>
                <a:gd name="T23" fmla="*/ 0 h 512"/>
                <a:gd name="T24" fmla="*/ 0 w 559"/>
                <a:gd name="T25" fmla="*/ 0 h 512"/>
                <a:gd name="T26" fmla="*/ 0 w 559"/>
                <a:gd name="T27" fmla="*/ 0 h 512"/>
                <a:gd name="T28" fmla="*/ 0 w 559"/>
                <a:gd name="T29" fmla="*/ 0 h 512"/>
                <a:gd name="T30" fmla="*/ 0 w 559"/>
                <a:gd name="T31" fmla="*/ 0 h 512"/>
                <a:gd name="T32" fmla="*/ 0 w 559"/>
                <a:gd name="T33" fmla="*/ 0 h 512"/>
                <a:gd name="T34" fmla="*/ 0 w 559"/>
                <a:gd name="T35" fmla="*/ 0 h 512"/>
                <a:gd name="T36" fmla="*/ 0 w 559"/>
                <a:gd name="T37" fmla="*/ 0 h 512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559"/>
                <a:gd name="T58" fmla="*/ 0 h 512"/>
                <a:gd name="T59" fmla="*/ 559 w 559"/>
                <a:gd name="T60" fmla="*/ 512 h 512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559" h="512">
                  <a:moveTo>
                    <a:pt x="380" y="28"/>
                  </a:moveTo>
                  <a:cubicBezTo>
                    <a:pt x="310" y="36"/>
                    <a:pt x="242" y="57"/>
                    <a:pt x="200" y="83"/>
                  </a:cubicBezTo>
                  <a:cubicBezTo>
                    <a:pt x="184" y="87"/>
                    <a:pt x="155" y="102"/>
                    <a:pt x="155" y="102"/>
                  </a:cubicBezTo>
                  <a:cubicBezTo>
                    <a:pt x="110" y="107"/>
                    <a:pt x="74" y="123"/>
                    <a:pt x="52" y="160"/>
                  </a:cubicBezTo>
                  <a:cubicBezTo>
                    <a:pt x="48" y="180"/>
                    <a:pt x="49" y="188"/>
                    <a:pt x="32" y="200"/>
                  </a:cubicBezTo>
                  <a:cubicBezTo>
                    <a:pt x="16" y="220"/>
                    <a:pt x="5" y="227"/>
                    <a:pt x="0" y="268"/>
                  </a:cubicBezTo>
                  <a:cubicBezTo>
                    <a:pt x="4" y="308"/>
                    <a:pt x="5" y="341"/>
                    <a:pt x="16" y="380"/>
                  </a:cubicBezTo>
                  <a:cubicBezTo>
                    <a:pt x="23" y="401"/>
                    <a:pt x="27" y="421"/>
                    <a:pt x="43" y="437"/>
                  </a:cubicBezTo>
                  <a:cubicBezTo>
                    <a:pt x="51" y="457"/>
                    <a:pt x="76" y="467"/>
                    <a:pt x="80" y="484"/>
                  </a:cubicBezTo>
                  <a:cubicBezTo>
                    <a:pt x="94" y="494"/>
                    <a:pt x="101" y="491"/>
                    <a:pt x="121" y="512"/>
                  </a:cubicBezTo>
                  <a:cubicBezTo>
                    <a:pt x="154" y="503"/>
                    <a:pt x="184" y="492"/>
                    <a:pt x="216" y="484"/>
                  </a:cubicBezTo>
                  <a:cubicBezTo>
                    <a:pt x="248" y="477"/>
                    <a:pt x="275" y="468"/>
                    <a:pt x="298" y="456"/>
                  </a:cubicBezTo>
                  <a:cubicBezTo>
                    <a:pt x="313" y="447"/>
                    <a:pt x="317" y="440"/>
                    <a:pt x="329" y="426"/>
                  </a:cubicBezTo>
                  <a:cubicBezTo>
                    <a:pt x="356" y="395"/>
                    <a:pt x="352" y="397"/>
                    <a:pt x="392" y="369"/>
                  </a:cubicBezTo>
                  <a:cubicBezTo>
                    <a:pt x="433" y="360"/>
                    <a:pt x="542" y="398"/>
                    <a:pt x="556" y="284"/>
                  </a:cubicBezTo>
                  <a:cubicBezTo>
                    <a:pt x="555" y="257"/>
                    <a:pt x="557" y="233"/>
                    <a:pt x="559" y="198"/>
                  </a:cubicBezTo>
                  <a:cubicBezTo>
                    <a:pt x="552" y="166"/>
                    <a:pt x="535" y="140"/>
                    <a:pt x="508" y="116"/>
                  </a:cubicBezTo>
                  <a:cubicBezTo>
                    <a:pt x="464" y="92"/>
                    <a:pt x="432" y="68"/>
                    <a:pt x="396" y="56"/>
                  </a:cubicBezTo>
                  <a:cubicBezTo>
                    <a:pt x="392" y="48"/>
                    <a:pt x="380" y="0"/>
                    <a:pt x="380" y="28"/>
                  </a:cubicBez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  <p:sp>
          <p:nvSpPr>
            <p:cNvPr id="281" name="Freeform 89"/>
            <p:cNvSpPr>
              <a:spLocks noChangeAspect="1"/>
            </p:cNvSpPr>
            <p:nvPr/>
          </p:nvSpPr>
          <p:spPr bwMode="auto">
            <a:xfrm>
              <a:off x="3053" y="3476"/>
              <a:ext cx="117" cy="232"/>
            </a:xfrm>
            <a:custGeom>
              <a:avLst/>
              <a:gdLst>
                <a:gd name="T0" fmla="*/ 0 w 467"/>
                <a:gd name="T1" fmla="*/ 0 h 920"/>
                <a:gd name="T2" fmla="*/ 0 w 467"/>
                <a:gd name="T3" fmla="*/ 0 h 920"/>
                <a:gd name="T4" fmla="*/ 0 w 467"/>
                <a:gd name="T5" fmla="*/ 0 h 920"/>
                <a:gd name="T6" fmla="*/ 0 w 467"/>
                <a:gd name="T7" fmla="*/ 0 h 920"/>
                <a:gd name="T8" fmla="*/ 0 w 467"/>
                <a:gd name="T9" fmla="*/ 0 h 920"/>
                <a:gd name="T10" fmla="*/ 0 w 467"/>
                <a:gd name="T11" fmla="*/ 0 h 920"/>
                <a:gd name="T12" fmla="*/ 0 w 467"/>
                <a:gd name="T13" fmla="*/ 0 h 920"/>
                <a:gd name="T14" fmla="*/ 0 w 467"/>
                <a:gd name="T15" fmla="*/ 0 h 920"/>
                <a:gd name="T16" fmla="*/ 0 w 467"/>
                <a:gd name="T17" fmla="*/ 0 h 920"/>
                <a:gd name="T18" fmla="*/ 0 w 467"/>
                <a:gd name="T19" fmla="*/ 0 h 920"/>
                <a:gd name="T20" fmla="*/ 0 w 467"/>
                <a:gd name="T21" fmla="*/ 0 h 920"/>
                <a:gd name="T22" fmla="*/ 0 w 467"/>
                <a:gd name="T23" fmla="*/ 0 h 920"/>
                <a:gd name="T24" fmla="*/ 0 w 467"/>
                <a:gd name="T25" fmla="*/ 0 h 920"/>
                <a:gd name="T26" fmla="*/ 0 w 467"/>
                <a:gd name="T27" fmla="*/ 0 h 920"/>
                <a:gd name="T28" fmla="*/ 0 w 467"/>
                <a:gd name="T29" fmla="*/ 0 h 920"/>
                <a:gd name="T30" fmla="*/ 0 w 467"/>
                <a:gd name="T31" fmla="*/ 0 h 920"/>
                <a:gd name="T32" fmla="*/ 0 w 467"/>
                <a:gd name="T33" fmla="*/ 0 h 920"/>
                <a:gd name="T34" fmla="*/ 0 w 467"/>
                <a:gd name="T35" fmla="*/ 0 h 920"/>
                <a:gd name="T36" fmla="*/ 0 w 467"/>
                <a:gd name="T37" fmla="*/ 0 h 920"/>
                <a:gd name="T38" fmla="*/ 0 w 467"/>
                <a:gd name="T39" fmla="*/ 0 h 920"/>
                <a:gd name="T40" fmla="*/ 0 w 467"/>
                <a:gd name="T41" fmla="*/ 0 h 920"/>
                <a:gd name="T42" fmla="*/ 0 w 467"/>
                <a:gd name="T43" fmla="*/ 0 h 920"/>
                <a:gd name="T44" fmla="*/ 0 w 467"/>
                <a:gd name="T45" fmla="*/ 0 h 920"/>
                <a:gd name="T46" fmla="*/ 0 w 467"/>
                <a:gd name="T47" fmla="*/ 0 h 920"/>
                <a:gd name="T48" fmla="*/ 0 w 467"/>
                <a:gd name="T49" fmla="*/ 0 h 920"/>
                <a:gd name="T50" fmla="*/ 0 w 467"/>
                <a:gd name="T51" fmla="*/ 0 h 920"/>
                <a:gd name="T52" fmla="*/ 0 w 467"/>
                <a:gd name="T53" fmla="*/ 0 h 920"/>
                <a:gd name="T54" fmla="*/ 0 w 467"/>
                <a:gd name="T55" fmla="*/ 0 h 920"/>
                <a:gd name="T56" fmla="*/ 0 w 467"/>
                <a:gd name="T57" fmla="*/ 0 h 920"/>
                <a:gd name="T58" fmla="*/ 0 w 467"/>
                <a:gd name="T59" fmla="*/ 0 h 920"/>
                <a:gd name="T60" fmla="*/ 0 w 467"/>
                <a:gd name="T61" fmla="*/ 0 h 920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467"/>
                <a:gd name="T94" fmla="*/ 0 h 920"/>
                <a:gd name="T95" fmla="*/ 467 w 467"/>
                <a:gd name="T96" fmla="*/ 920 h 920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467" h="920">
                  <a:moveTo>
                    <a:pt x="306" y="189"/>
                  </a:moveTo>
                  <a:cubicBezTo>
                    <a:pt x="294" y="186"/>
                    <a:pt x="283" y="154"/>
                    <a:pt x="291" y="134"/>
                  </a:cubicBezTo>
                  <a:cubicBezTo>
                    <a:pt x="285" y="119"/>
                    <a:pt x="278" y="105"/>
                    <a:pt x="273" y="93"/>
                  </a:cubicBezTo>
                  <a:cubicBezTo>
                    <a:pt x="259" y="84"/>
                    <a:pt x="230" y="90"/>
                    <a:pt x="209" y="78"/>
                  </a:cubicBezTo>
                  <a:cubicBezTo>
                    <a:pt x="186" y="68"/>
                    <a:pt x="191" y="56"/>
                    <a:pt x="185" y="50"/>
                  </a:cubicBezTo>
                  <a:cubicBezTo>
                    <a:pt x="175" y="43"/>
                    <a:pt x="159" y="36"/>
                    <a:pt x="147" y="35"/>
                  </a:cubicBezTo>
                  <a:cubicBezTo>
                    <a:pt x="139" y="47"/>
                    <a:pt x="138" y="35"/>
                    <a:pt x="122" y="39"/>
                  </a:cubicBezTo>
                  <a:cubicBezTo>
                    <a:pt x="94" y="31"/>
                    <a:pt x="102" y="18"/>
                    <a:pt x="84" y="0"/>
                  </a:cubicBezTo>
                  <a:cubicBezTo>
                    <a:pt x="54" y="23"/>
                    <a:pt x="41" y="54"/>
                    <a:pt x="31" y="74"/>
                  </a:cubicBezTo>
                  <a:cubicBezTo>
                    <a:pt x="23" y="102"/>
                    <a:pt x="18" y="111"/>
                    <a:pt x="8" y="129"/>
                  </a:cubicBezTo>
                  <a:cubicBezTo>
                    <a:pt x="0" y="149"/>
                    <a:pt x="3" y="135"/>
                    <a:pt x="17" y="146"/>
                  </a:cubicBezTo>
                  <a:cubicBezTo>
                    <a:pt x="26" y="164"/>
                    <a:pt x="29" y="176"/>
                    <a:pt x="35" y="192"/>
                  </a:cubicBezTo>
                  <a:cubicBezTo>
                    <a:pt x="39" y="228"/>
                    <a:pt x="51" y="258"/>
                    <a:pt x="87" y="274"/>
                  </a:cubicBezTo>
                  <a:cubicBezTo>
                    <a:pt x="91" y="290"/>
                    <a:pt x="87" y="294"/>
                    <a:pt x="79" y="310"/>
                  </a:cubicBezTo>
                  <a:cubicBezTo>
                    <a:pt x="67" y="350"/>
                    <a:pt x="87" y="634"/>
                    <a:pt x="103" y="642"/>
                  </a:cubicBezTo>
                  <a:cubicBezTo>
                    <a:pt x="119" y="674"/>
                    <a:pt x="131" y="714"/>
                    <a:pt x="143" y="746"/>
                  </a:cubicBezTo>
                  <a:cubicBezTo>
                    <a:pt x="147" y="762"/>
                    <a:pt x="207" y="766"/>
                    <a:pt x="223" y="770"/>
                  </a:cubicBezTo>
                  <a:cubicBezTo>
                    <a:pt x="235" y="778"/>
                    <a:pt x="239" y="790"/>
                    <a:pt x="255" y="794"/>
                  </a:cubicBezTo>
                  <a:cubicBezTo>
                    <a:pt x="279" y="834"/>
                    <a:pt x="308" y="884"/>
                    <a:pt x="332" y="920"/>
                  </a:cubicBezTo>
                  <a:cubicBezTo>
                    <a:pt x="341" y="897"/>
                    <a:pt x="326" y="840"/>
                    <a:pt x="327" y="807"/>
                  </a:cubicBezTo>
                  <a:cubicBezTo>
                    <a:pt x="335" y="774"/>
                    <a:pt x="288" y="749"/>
                    <a:pt x="384" y="720"/>
                  </a:cubicBezTo>
                  <a:cubicBezTo>
                    <a:pt x="396" y="696"/>
                    <a:pt x="405" y="674"/>
                    <a:pt x="398" y="644"/>
                  </a:cubicBezTo>
                  <a:cubicBezTo>
                    <a:pt x="384" y="617"/>
                    <a:pt x="402" y="611"/>
                    <a:pt x="434" y="599"/>
                  </a:cubicBezTo>
                  <a:cubicBezTo>
                    <a:pt x="467" y="609"/>
                    <a:pt x="453" y="581"/>
                    <a:pt x="437" y="542"/>
                  </a:cubicBezTo>
                  <a:cubicBezTo>
                    <a:pt x="429" y="530"/>
                    <a:pt x="431" y="516"/>
                    <a:pt x="423" y="504"/>
                  </a:cubicBezTo>
                  <a:cubicBezTo>
                    <a:pt x="419" y="496"/>
                    <a:pt x="403" y="494"/>
                    <a:pt x="403" y="494"/>
                  </a:cubicBezTo>
                  <a:cubicBezTo>
                    <a:pt x="391" y="482"/>
                    <a:pt x="367" y="466"/>
                    <a:pt x="367" y="466"/>
                  </a:cubicBezTo>
                  <a:cubicBezTo>
                    <a:pt x="355" y="450"/>
                    <a:pt x="342" y="434"/>
                    <a:pt x="327" y="422"/>
                  </a:cubicBezTo>
                  <a:cubicBezTo>
                    <a:pt x="315" y="402"/>
                    <a:pt x="295" y="374"/>
                    <a:pt x="291" y="334"/>
                  </a:cubicBezTo>
                  <a:cubicBezTo>
                    <a:pt x="285" y="304"/>
                    <a:pt x="281" y="263"/>
                    <a:pt x="282" y="243"/>
                  </a:cubicBezTo>
                  <a:cubicBezTo>
                    <a:pt x="285" y="219"/>
                    <a:pt x="303" y="195"/>
                    <a:pt x="306" y="189"/>
                  </a:cubicBez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  <p:grpSp>
          <p:nvGrpSpPr>
            <p:cNvPr id="282" name="Group 90"/>
            <p:cNvGrpSpPr>
              <a:grpSpLocks/>
            </p:cNvGrpSpPr>
            <p:nvPr/>
          </p:nvGrpSpPr>
          <p:grpSpPr bwMode="auto">
            <a:xfrm>
              <a:off x="3434" y="3438"/>
              <a:ext cx="173" cy="170"/>
              <a:chOff x="6214" y="7863"/>
              <a:chExt cx="684" cy="671"/>
            </a:xfrm>
            <a:grpFill/>
          </p:grpSpPr>
          <p:sp>
            <p:nvSpPr>
              <p:cNvPr id="317" name="Freeform 92"/>
              <p:cNvSpPr>
                <a:spLocks noChangeAspect="1"/>
              </p:cNvSpPr>
              <p:nvPr/>
            </p:nvSpPr>
            <p:spPr bwMode="auto">
              <a:xfrm>
                <a:off x="6214" y="8466"/>
                <a:ext cx="64" cy="68"/>
              </a:xfrm>
              <a:custGeom>
                <a:avLst/>
                <a:gdLst>
                  <a:gd name="T0" fmla="*/ 2147483647 w 16"/>
                  <a:gd name="T1" fmla="*/ 2147483647 h 17"/>
                  <a:gd name="T2" fmla="*/ 2147483647 w 16"/>
                  <a:gd name="T3" fmla="*/ 2147483647 h 17"/>
                  <a:gd name="T4" fmla="*/ 2147483647 w 16"/>
                  <a:gd name="T5" fmla="*/ 2147483647 h 17"/>
                  <a:gd name="T6" fmla="*/ 2147483647 w 16"/>
                  <a:gd name="T7" fmla="*/ 2147483647 h 17"/>
                  <a:gd name="T8" fmla="*/ 2147483647 w 16"/>
                  <a:gd name="T9" fmla="*/ 2147483647 h 1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6"/>
                  <a:gd name="T16" fmla="*/ 0 h 17"/>
                  <a:gd name="T17" fmla="*/ 16 w 16"/>
                  <a:gd name="T18" fmla="*/ 17 h 1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6" h="17">
                    <a:moveTo>
                      <a:pt x="13" y="3"/>
                    </a:moveTo>
                    <a:cubicBezTo>
                      <a:pt x="10" y="5"/>
                      <a:pt x="7" y="7"/>
                      <a:pt x="3" y="8"/>
                    </a:cubicBezTo>
                    <a:cubicBezTo>
                      <a:pt x="1" y="15"/>
                      <a:pt x="0" y="12"/>
                      <a:pt x="2" y="17"/>
                    </a:cubicBezTo>
                    <a:cubicBezTo>
                      <a:pt x="6" y="16"/>
                      <a:pt x="8" y="14"/>
                      <a:pt x="12" y="13"/>
                    </a:cubicBezTo>
                    <a:cubicBezTo>
                      <a:pt x="13" y="11"/>
                      <a:pt x="16" y="0"/>
                      <a:pt x="13" y="3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18" name="Freeform 93"/>
              <p:cNvSpPr>
                <a:spLocks noChangeAspect="1"/>
              </p:cNvSpPr>
              <p:nvPr/>
            </p:nvSpPr>
            <p:spPr bwMode="auto">
              <a:xfrm>
                <a:off x="6258" y="7863"/>
                <a:ext cx="640" cy="623"/>
              </a:xfrm>
              <a:custGeom>
                <a:avLst/>
                <a:gdLst>
                  <a:gd name="T0" fmla="*/ 340 w 640"/>
                  <a:gd name="T1" fmla="*/ 20 h 623"/>
                  <a:gd name="T2" fmla="*/ 384 w 640"/>
                  <a:gd name="T3" fmla="*/ 92 h 623"/>
                  <a:gd name="T4" fmla="*/ 468 w 640"/>
                  <a:gd name="T5" fmla="*/ 140 h 623"/>
                  <a:gd name="T6" fmla="*/ 604 w 640"/>
                  <a:gd name="T7" fmla="*/ 156 h 623"/>
                  <a:gd name="T8" fmla="*/ 588 w 640"/>
                  <a:gd name="T9" fmla="*/ 248 h 623"/>
                  <a:gd name="T10" fmla="*/ 516 w 640"/>
                  <a:gd name="T11" fmla="*/ 252 h 623"/>
                  <a:gd name="T12" fmla="*/ 472 w 640"/>
                  <a:gd name="T13" fmla="*/ 264 h 623"/>
                  <a:gd name="T14" fmla="*/ 388 w 640"/>
                  <a:gd name="T15" fmla="*/ 284 h 623"/>
                  <a:gd name="T16" fmla="*/ 324 w 640"/>
                  <a:gd name="T17" fmla="*/ 312 h 623"/>
                  <a:gd name="T18" fmla="*/ 280 w 640"/>
                  <a:gd name="T19" fmla="*/ 395 h 623"/>
                  <a:gd name="T20" fmla="*/ 208 w 640"/>
                  <a:gd name="T21" fmla="*/ 451 h 623"/>
                  <a:gd name="T22" fmla="*/ 160 w 640"/>
                  <a:gd name="T23" fmla="*/ 519 h 623"/>
                  <a:gd name="T24" fmla="*/ 84 w 640"/>
                  <a:gd name="T25" fmla="*/ 591 h 623"/>
                  <a:gd name="T26" fmla="*/ 56 w 640"/>
                  <a:gd name="T27" fmla="*/ 599 h 623"/>
                  <a:gd name="T28" fmla="*/ 100 w 640"/>
                  <a:gd name="T29" fmla="*/ 519 h 623"/>
                  <a:gd name="T30" fmla="*/ 124 w 640"/>
                  <a:gd name="T31" fmla="*/ 487 h 623"/>
                  <a:gd name="T32" fmla="*/ 72 w 640"/>
                  <a:gd name="T33" fmla="*/ 491 h 623"/>
                  <a:gd name="T34" fmla="*/ 0 w 640"/>
                  <a:gd name="T35" fmla="*/ 475 h 623"/>
                  <a:gd name="T36" fmla="*/ 28 w 640"/>
                  <a:gd name="T37" fmla="*/ 439 h 623"/>
                  <a:gd name="T38" fmla="*/ 48 w 640"/>
                  <a:gd name="T39" fmla="*/ 384 h 623"/>
                  <a:gd name="T40" fmla="*/ 38 w 640"/>
                  <a:gd name="T41" fmla="*/ 342 h 623"/>
                  <a:gd name="T42" fmla="*/ 81 w 640"/>
                  <a:gd name="T43" fmla="*/ 254 h 623"/>
                  <a:gd name="T44" fmla="*/ 42 w 640"/>
                  <a:gd name="T45" fmla="*/ 209 h 623"/>
                  <a:gd name="T46" fmla="*/ 4 w 640"/>
                  <a:gd name="T47" fmla="*/ 176 h 623"/>
                  <a:gd name="T48" fmla="*/ 28 w 640"/>
                  <a:gd name="T49" fmla="*/ 144 h 623"/>
                  <a:gd name="T50" fmla="*/ 48 w 640"/>
                  <a:gd name="T51" fmla="*/ 88 h 623"/>
                  <a:gd name="T52" fmla="*/ 72 w 640"/>
                  <a:gd name="T53" fmla="*/ 80 h 623"/>
                  <a:gd name="T54" fmla="*/ 156 w 640"/>
                  <a:gd name="T55" fmla="*/ 24 h 623"/>
                  <a:gd name="T56" fmla="*/ 216 w 640"/>
                  <a:gd name="T57" fmla="*/ 40 h 623"/>
                  <a:gd name="T58" fmla="*/ 296 w 640"/>
                  <a:gd name="T59" fmla="*/ 36 h 623"/>
                  <a:gd name="T60" fmla="*/ 340 w 640"/>
                  <a:gd name="T61" fmla="*/ 20 h 623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640"/>
                  <a:gd name="T94" fmla="*/ 0 h 623"/>
                  <a:gd name="T95" fmla="*/ 640 w 640"/>
                  <a:gd name="T96" fmla="*/ 623 h 623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640" h="623">
                    <a:moveTo>
                      <a:pt x="340" y="20"/>
                    </a:moveTo>
                    <a:cubicBezTo>
                      <a:pt x="352" y="56"/>
                      <a:pt x="352" y="72"/>
                      <a:pt x="384" y="92"/>
                    </a:cubicBezTo>
                    <a:cubicBezTo>
                      <a:pt x="400" y="136"/>
                      <a:pt x="424" y="136"/>
                      <a:pt x="468" y="140"/>
                    </a:cubicBezTo>
                    <a:cubicBezTo>
                      <a:pt x="512" y="148"/>
                      <a:pt x="604" y="156"/>
                      <a:pt x="604" y="156"/>
                    </a:cubicBezTo>
                    <a:cubicBezTo>
                      <a:pt x="640" y="168"/>
                      <a:pt x="616" y="244"/>
                      <a:pt x="588" y="248"/>
                    </a:cubicBezTo>
                    <a:cubicBezTo>
                      <a:pt x="564" y="252"/>
                      <a:pt x="540" y="252"/>
                      <a:pt x="516" y="252"/>
                    </a:cubicBezTo>
                    <a:cubicBezTo>
                      <a:pt x="500" y="256"/>
                      <a:pt x="472" y="264"/>
                      <a:pt x="472" y="264"/>
                    </a:cubicBezTo>
                    <a:cubicBezTo>
                      <a:pt x="444" y="284"/>
                      <a:pt x="424" y="280"/>
                      <a:pt x="388" y="284"/>
                    </a:cubicBezTo>
                    <a:cubicBezTo>
                      <a:pt x="368" y="292"/>
                      <a:pt x="344" y="300"/>
                      <a:pt x="324" y="312"/>
                    </a:cubicBezTo>
                    <a:cubicBezTo>
                      <a:pt x="316" y="339"/>
                      <a:pt x="312" y="383"/>
                      <a:pt x="280" y="395"/>
                    </a:cubicBezTo>
                    <a:cubicBezTo>
                      <a:pt x="264" y="415"/>
                      <a:pt x="232" y="443"/>
                      <a:pt x="208" y="451"/>
                    </a:cubicBezTo>
                    <a:cubicBezTo>
                      <a:pt x="196" y="471"/>
                      <a:pt x="180" y="507"/>
                      <a:pt x="160" y="519"/>
                    </a:cubicBezTo>
                    <a:cubicBezTo>
                      <a:pt x="152" y="535"/>
                      <a:pt x="104" y="583"/>
                      <a:pt x="84" y="591"/>
                    </a:cubicBezTo>
                    <a:cubicBezTo>
                      <a:pt x="80" y="615"/>
                      <a:pt x="68" y="623"/>
                      <a:pt x="56" y="599"/>
                    </a:cubicBezTo>
                    <a:cubicBezTo>
                      <a:pt x="64" y="579"/>
                      <a:pt x="80" y="531"/>
                      <a:pt x="100" y="519"/>
                    </a:cubicBezTo>
                    <a:cubicBezTo>
                      <a:pt x="108" y="499"/>
                      <a:pt x="120" y="503"/>
                      <a:pt x="124" y="487"/>
                    </a:cubicBezTo>
                    <a:cubicBezTo>
                      <a:pt x="116" y="447"/>
                      <a:pt x="96" y="483"/>
                      <a:pt x="72" y="491"/>
                    </a:cubicBezTo>
                    <a:cubicBezTo>
                      <a:pt x="40" y="487"/>
                      <a:pt x="28" y="479"/>
                      <a:pt x="0" y="475"/>
                    </a:cubicBezTo>
                    <a:cubicBezTo>
                      <a:pt x="12" y="463"/>
                      <a:pt x="16" y="451"/>
                      <a:pt x="28" y="439"/>
                    </a:cubicBezTo>
                    <a:cubicBezTo>
                      <a:pt x="32" y="423"/>
                      <a:pt x="44" y="400"/>
                      <a:pt x="48" y="384"/>
                    </a:cubicBezTo>
                    <a:cubicBezTo>
                      <a:pt x="44" y="364"/>
                      <a:pt x="46" y="362"/>
                      <a:pt x="38" y="342"/>
                    </a:cubicBezTo>
                    <a:cubicBezTo>
                      <a:pt x="42" y="303"/>
                      <a:pt x="59" y="275"/>
                      <a:pt x="81" y="254"/>
                    </a:cubicBezTo>
                    <a:cubicBezTo>
                      <a:pt x="83" y="232"/>
                      <a:pt x="55" y="222"/>
                      <a:pt x="42" y="209"/>
                    </a:cubicBezTo>
                    <a:cubicBezTo>
                      <a:pt x="38" y="194"/>
                      <a:pt x="42" y="183"/>
                      <a:pt x="4" y="176"/>
                    </a:cubicBezTo>
                    <a:cubicBezTo>
                      <a:pt x="8" y="160"/>
                      <a:pt x="16" y="152"/>
                      <a:pt x="28" y="144"/>
                    </a:cubicBezTo>
                    <a:cubicBezTo>
                      <a:pt x="36" y="128"/>
                      <a:pt x="40" y="100"/>
                      <a:pt x="48" y="88"/>
                    </a:cubicBezTo>
                    <a:cubicBezTo>
                      <a:pt x="52" y="80"/>
                      <a:pt x="64" y="84"/>
                      <a:pt x="72" y="80"/>
                    </a:cubicBezTo>
                    <a:cubicBezTo>
                      <a:pt x="100" y="60"/>
                      <a:pt x="128" y="44"/>
                      <a:pt x="156" y="24"/>
                    </a:cubicBezTo>
                    <a:cubicBezTo>
                      <a:pt x="176" y="28"/>
                      <a:pt x="216" y="40"/>
                      <a:pt x="216" y="40"/>
                    </a:cubicBezTo>
                    <a:cubicBezTo>
                      <a:pt x="236" y="56"/>
                      <a:pt x="272" y="36"/>
                      <a:pt x="296" y="36"/>
                    </a:cubicBezTo>
                    <a:cubicBezTo>
                      <a:pt x="300" y="32"/>
                      <a:pt x="340" y="0"/>
                      <a:pt x="340" y="2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</p:grpSp>
        <p:sp>
          <p:nvSpPr>
            <p:cNvPr id="283" name="Freeform 94"/>
            <p:cNvSpPr>
              <a:spLocks noChangeAspect="1"/>
            </p:cNvSpPr>
            <p:nvPr/>
          </p:nvSpPr>
          <p:spPr bwMode="auto">
            <a:xfrm>
              <a:off x="2842" y="3300"/>
              <a:ext cx="211" cy="192"/>
            </a:xfrm>
            <a:custGeom>
              <a:avLst/>
              <a:gdLst>
                <a:gd name="T0" fmla="*/ 0 w 837"/>
                <a:gd name="T1" fmla="*/ 0 h 756"/>
                <a:gd name="T2" fmla="*/ 0 w 837"/>
                <a:gd name="T3" fmla="*/ 0 h 756"/>
                <a:gd name="T4" fmla="*/ 0 w 837"/>
                <a:gd name="T5" fmla="*/ 0 h 756"/>
                <a:gd name="T6" fmla="*/ 0 w 837"/>
                <a:gd name="T7" fmla="*/ 0 h 756"/>
                <a:gd name="T8" fmla="*/ 0 w 837"/>
                <a:gd name="T9" fmla="*/ 0 h 756"/>
                <a:gd name="T10" fmla="*/ 0 w 837"/>
                <a:gd name="T11" fmla="*/ 0 h 756"/>
                <a:gd name="T12" fmla="*/ 0 w 837"/>
                <a:gd name="T13" fmla="*/ 0 h 756"/>
                <a:gd name="T14" fmla="*/ 0 w 837"/>
                <a:gd name="T15" fmla="*/ 0 h 756"/>
                <a:gd name="T16" fmla="*/ 0 w 837"/>
                <a:gd name="T17" fmla="*/ 0 h 756"/>
                <a:gd name="T18" fmla="*/ 0 w 837"/>
                <a:gd name="T19" fmla="*/ 0 h 756"/>
                <a:gd name="T20" fmla="*/ 0 w 837"/>
                <a:gd name="T21" fmla="*/ 0 h 756"/>
                <a:gd name="T22" fmla="*/ 0 w 837"/>
                <a:gd name="T23" fmla="*/ 0 h 756"/>
                <a:gd name="T24" fmla="*/ 0 w 837"/>
                <a:gd name="T25" fmla="*/ 0 h 756"/>
                <a:gd name="T26" fmla="*/ 0 w 837"/>
                <a:gd name="T27" fmla="*/ 0 h 756"/>
                <a:gd name="T28" fmla="*/ 0 w 837"/>
                <a:gd name="T29" fmla="*/ 0 h 756"/>
                <a:gd name="T30" fmla="*/ 0 w 837"/>
                <a:gd name="T31" fmla="*/ 0 h 756"/>
                <a:gd name="T32" fmla="*/ 0 w 837"/>
                <a:gd name="T33" fmla="*/ 0 h 756"/>
                <a:gd name="T34" fmla="*/ 0 w 837"/>
                <a:gd name="T35" fmla="*/ 0 h 756"/>
                <a:gd name="T36" fmla="*/ 0 w 837"/>
                <a:gd name="T37" fmla="*/ 0 h 756"/>
                <a:gd name="T38" fmla="*/ 0 w 837"/>
                <a:gd name="T39" fmla="*/ 0 h 756"/>
                <a:gd name="T40" fmla="*/ 0 w 837"/>
                <a:gd name="T41" fmla="*/ 0 h 756"/>
                <a:gd name="T42" fmla="*/ 0 w 837"/>
                <a:gd name="T43" fmla="*/ 0 h 756"/>
                <a:gd name="T44" fmla="*/ 0 w 837"/>
                <a:gd name="T45" fmla="*/ 0 h 756"/>
                <a:gd name="T46" fmla="*/ 0 w 837"/>
                <a:gd name="T47" fmla="*/ 0 h 756"/>
                <a:gd name="T48" fmla="*/ 0 w 837"/>
                <a:gd name="T49" fmla="*/ 0 h 756"/>
                <a:gd name="T50" fmla="*/ 0 w 837"/>
                <a:gd name="T51" fmla="*/ 0 h 756"/>
                <a:gd name="T52" fmla="*/ 0 w 837"/>
                <a:gd name="T53" fmla="*/ 0 h 756"/>
                <a:gd name="T54" fmla="*/ 0 w 837"/>
                <a:gd name="T55" fmla="*/ 0 h 756"/>
                <a:gd name="T56" fmla="*/ 0 w 837"/>
                <a:gd name="T57" fmla="*/ 0 h 756"/>
                <a:gd name="T58" fmla="*/ 0 w 837"/>
                <a:gd name="T59" fmla="*/ 0 h 756"/>
                <a:gd name="T60" fmla="*/ 0 w 837"/>
                <a:gd name="T61" fmla="*/ 0 h 756"/>
                <a:gd name="T62" fmla="*/ 0 w 837"/>
                <a:gd name="T63" fmla="*/ 0 h 756"/>
                <a:gd name="T64" fmla="*/ 0 w 837"/>
                <a:gd name="T65" fmla="*/ 0 h 756"/>
                <a:gd name="T66" fmla="*/ 0 w 837"/>
                <a:gd name="T67" fmla="*/ 0 h 756"/>
                <a:gd name="T68" fmla="*/ 0 w 837"/>
                <a:gd name="T69" fmla="*/ 0 h 756"/>
                <a:gd name="T70" fmla="*/ 0 w 837"/>
                <a:gd name="T71" fmla="*/ 0 h 756"/>
                <a:gd name="T72" fmla="*/ 0 w 837"/>
                <a:gd name="T73" fmla="*/ 0 h 756"/>
                <a:gd name="T74" fmla="*/ 0 w 837"/>
                <a:gd name="T75" fmla="*/ 0 h 756"/>
                <a:gd name="T76" fmla="*/ 0 w 837"/>
                <a:gd name="T77" fmla="*/ 0 h 756"/>
                <a:gd name="T78" fmla="*/ 0 w 837"/>
                <a:gd name="T79" fmla="*/ 0 h 756"/>
                <a:gd name="T80" fmla="*/ 0 w 837"/>
                <a:gd name="T81" fmla="*/ 0 h 756"/>
                <a:gd name="T82" fmla="*/ 0 w 837"/>
                <a:gd name="T83" fmla="*/ 0 h 75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837"/>
                <a:gd name="T127" fmla="*/ 0 h 756"/>
                <a:gd name="T128" fmla="*/ 837 w 837"/>
                <a:gd name="T129" fmla="*/ 756 h 75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837" h="756">
                  <a:moveTo>
                    <a:pt x="710" y="24"/>
                  </a:moveTo>
                  <a:cubicBezTo>
                    <a:pt x="702" y="44"/>
                    <a:pt x="726" y="65"/>
                    <a:pt x="672" y="77"/>
                  </a:cubicBezTo>
                  <a:cubicBezTo>
                    <a:pt x="622" y="80"/>
                    <a:pt x="630" y="57"/>
                    <a:pt x="618" y="21"/>
                  </a:cubicBezTo>
                  <a:cubicBezTo>
                    <a:pt x="609" y="14"/>
                    <a:pt x="530" y="12"/>
                    <a:pt x="530" y="12"/>
                  </a:cubicBezTo>
                  <a:cubicBezTo>
                    <a:pt x="494" y="4"/>
                    <a:pt x="466" y="24"/>
                    <a:pt x="409" y="27"/>
                  </a:cubicBezTo>
                  <a:cubicBezTo>
                    <a:pt x="370" y="29"/>
                    <a:pt x="358" y="35"/>
                    <a:pt x="321" y="36"/>
                  </a:cubicBezTo>
                  <a:cubicBezTo>
                    <a:pt x="313" y="36"/>
                    <a:pt x="261" y="20"/>
                    <a:pt x="261" y="20"/>
                  </a:cubicBezTo>
                  <a:cubicBezTo>
                    <a:pt x="241" y="0"/>
                    <a:pt x="177" y="14"/>
                    <a:pt x="171" y="35"/>
                  </a:cubicBezTo>
                  <a:cubicBezTo>
                    <a:pt x="163" y="51"/>
                    <a:pt x="132" y="63"/>
                    <a:pt x="132" y="63"/>
                  </a:cubicBezTo>
                  <a:cubicBezTo>
                    <a:pt x="115" y="69"/>
                    <a:pt x="114" y="73"/>
                    <a:pt x="94" y="69"/>
                  </a:cubicBezTo>
                  <a:cubicBezTo>
                    <a:pt x="84" y="60"/>
                    <a:pt x="87" y="60"/>
                    <a:pt x="71" y="56"/>
                  </a:cubicBezTo>
                  <a:cubicBezTo>
                    <a:pt x="67" y="40"/>
                    <a:pt x="39" y="30"/>
                    <a:pt x="13" y="23"/>
                  </a:cubicBezTo>
                  <a:cubicBezTo>
                    <a:pt x="3" y="50"/>
                    <a:pt x="16" y="11"/>
                    <a:pt x="0" y="84"/>
                  </a:cubicBezTo>
                  <a:cubicBezTo>
                    <a:pt x="1" y="104"/>
                    <a:pt x="5" y="138"/>
                    <a:pt x="16" y="156"/>
                  </a:cubicBezTo>
                  <a:cubicBezTo>
                    <a:pt x="27" y="174"/>
                    <a:pt x="31" y="158"/>
                    <a:pt x="63" y="192"/>
                  </a:cubicBezTo>
                  <a:cubicBezTo>
                    <a:pt x="95" y="212"/>
                    <a:pt x="99" y="246"/>
                    <a:pt x="115" y="267"/>
                  </a:cubicBezTo>
                  <a:cubicBezTo>
                    <a:pt x="127" y="287"/>
                    <a:pt x="141" y="314"/>
                    <a:pt x="154" y="335"/>
                  </a:cubicBezTo>
                  <a:cubicBezTo>
                    <a:pt x="162" y="357"/>
                    <a:pt x="203" y="399"/>
                    <a:pt x="227" y="407"/>
                  </a:cubicBezTo>
                  <a:cubicBezTo>
                    <a:pt x="239" y="423"/>
                    <a:pt x="241" y="443"/>
                    <a:pt x="275" y="447"/>
                  </a:cubicBezTo>
                  <a:cubicBezTo>
                    <a:pt x="291" y="450"/>
                    <a:pt x="299" y="463"/>
                    <a:pt x="299" y="463"/>
                  </a:cubicBezTo>
                  <a:cubicBezTo>
                    <a:pt x="307" y="479"/>
                    <a:pt x="302" y="496"/>
                    <a:pt x="334" y="504"/>
                  </a:cubicBezTo>
                  <a:cubicBezTo>
                    <a:pt x="358" y="520"/>
                    <a:pt x="360" y="525"/>
                    <a:pt x="364" y="540"/>
                  </a:cubicBezTo>
                  <a:cubicBezTo>
                    <a:pt x="384" y="560"/>
                    <a:pt x="398" y="590"/>
                    <a:pt x="421" y="606"/>
                  </a:cubicBezTo>
                  <a:cubicBezTo>
                    <a:pt x="436" y="618"/>
                    <a:pt x="454" y="603"/>
                    <a:pt x="478" y="652"/>
                  </a:cubicBezTo>
                  <a:cubicBezTo>
                    <a:pt x="511" y="671"/>
                    <a:pt x="509" y="689"/>
                    <a:pt x="528" y="701"/>
                  </a:cubicBezTo>
                  <a:cubicBezTo>
                    <a:pt x="547" y="713"/>
                    <a:pt x="574" y="717"/>
                    <a:pt x="591" y="726"/>
                  </a:cubicBezTo>
                  <a:cubicBezTo>
                    <a:pt x="606" y="729"/>
                    <a:pt x="631" y="756"/>
                    <a:pt x="631" y="756"/>
                  </a:cubicBezTo>
                  <a:cubicBezTo>
                    <a:pt x="642" y="743"/>
                    <a:pt x="649" y="689"/>
                    <a:pt x="625" y="675"/>
                  </a:cubicBezTo>
                  <a:cubicBezTo>
                    <a:pt x="622" y="648"/>
                    <a:pt x="622" y="638"/>
                    <a:pt x="646" y="630"/>
                  </a:cubicBezTo>
                  <a:cubicBezTo>
                    <a:pt x="667" y="605"/>
                    <a:pt x="666" y="597"/>
                    <a:pt x="666" y="567"/>
                  </a:cubicBezTo>
                  <a:cubicBezTo>
                    <a:pt x="673" y="551"/>
                    <a:pt x="687" y="518"/>
                    <a:pt x="741" y="522"/>
                  </a:cubicBezTo>
                  <a:cubicBezTo>
                    <a:pt x="745" y="509"/>
                    <a:pt x="732" y="496"/>
                    <a:pt x="735" y="483"/>
                  </a:cubicBezTo>
                  <a:cubicBezTo>
                    <a:pt x="738" y="470"/>
                    <a:pt x="750" y="449"/>
                    <a:pt x="757" y="441"/>
                  </a:cubicBezTo>
                  <a:cubicBezTo>
                    <a:pt x="772" y="434"/>
                    <a:pt x="814" y="451"/>
                    <a:pt x="826" y="443"/>
                  </a:cubicBezTo>
                  <a:cubicBezTo>
                    <a:pt x="834" y="419"/>
                    <a:pt x="834" y="414"/>
                    <a:pt x="826" y="390"/>
                  </a:cubicBezTo>
                  <a:cubicBezTo>
                    <a:pt x="811" y="375"/>
                    <a:pt x="766" y="343"/>
                    <a:pt x="768" y="329"/>
                  </a:cubicBezTo>
                  <a:cubicBezTo>
                    <a:pt x="799" y="327"/>
                    <a:pt x="814" y="324"/>
                    <a:pt x="831" y="308"/>
                  </a:cubicBezTo>
                  <a:cubicBezTo>
                    <a:pt x="837" y="279"/>
                    <a:pt x="806" y="276"/>
                    <a:pt x="790" y="272"/>
                  </a:cubicBezTo>
                  <a:cubicBezTo>
                    <a:pt x="774" y="256"/>
                    <a:pt x="768" y="263"/>
                    <a:pt x="759" y="240"/>
                  </a:cubicBezTo>
                  <a:cubicBezTo>
                    <a:pt x="745" y="222"/>
                    <a:pt x="736" y="216"/>
                    <a:pt x="732" y="200"/>
                  </a:cubicBezTo>
                  <a:cubicBezTo>
                    <a:pt x="721" y="165"/>
                    <a:pt x="735" y="123"/>
                    <a:pt x="735" y="95"/>
                  </a:cubicBezTo>
                  <a:cubicBezTo>
                    <a:pt x="747" y="59"/>
                    <a:pt x="714" y="40"/>
                    <a:pt x="710" y="24"/>
                  </a:cubicBez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  <p:sp>
          <p:nvSpPr>
            <p:cNvPr id="284" name="Freeform 95"/>
            <p:cNvSpPr>
              <a:spLocks noChangeAspect="1"/>
            </p:cNvSpPr>
            <p:nvPr/>
          </p:nvSpPr>
          <p:spPr bwMode="auto">
            <a:xfrm>
              <a:off x="2998" y="3217"/>
              <a:ext cx="244" cy="317"/>
            </a:xfrm>
            <a:custGeom>
              <a:avLst/>
              <a:gdLst>
                <a:gd name="T0" fmla="*/ 0 w 968"/>
                <a:gd name="T1" fmla="*/ 0 h 1251"/>
                <a:gd name="T2" fmla="*/ 0 w 968"/>
                <a:gd name="T3" fmla="*/ 0 h 1251"/>
                <a:gd name="T4" fmla="*/ 0 w 968"/>
                <a:gd name="T5" fmla="*/ 0 h 1251"/>
                <a:gd name="T6" fmla="*/ 0 w 968"/>
                <a:gd name="T7" fmla="*/ 0 h 1251"/>
                <a:gd name="T8" fmla="*/ 0 w 968"/>
                <a:gd name="T9" fmla="*/ 0 h 1251"/>
                <a:gd name="T10" fmla="*/ 0 w 968"/>
                <a:gd name="T11" fmla="*/ 0 h 1251"/>
                <a:gd name="T12" fmla="*/ 0 w 968"/>
                <a:gd name="T13" fmla="*/ 0 h 1251"/>
                <a:gd name="T14" fmla="*/ 0 w 968"/>
                <a:gd name="T15" fmla="*/ 0 h 1251"/>
                <a:gd name="T16" fmla="*/ 0 w 968"/>
                <a:gd name="T17" fmla="*/ 0 h 1251"/>
                <a:gd name="T18" fmla="*/ 0 w 968"/>
                <a:gd name="T19" fmla="*/ 0 h 1251"/>
                <a:gd name="T20" fmla="*/ 0 w 968"/>
                <a:gd name="T21" fmla="*/ 0 h 1251"/>
                <a:gd name="T22" fmla="*/ 0 w 968"/>
                <a:gd name="T23" fmla="*/ 0 h 1251"/>
                <a:gd name="T24" fmla="*/ 0 w 968"/>
                <a:gd name="T25" fmla="*/ 0 h 1251"/>
                <a:gd name="T26" fmla="*/ 0 w 968"/>
                <a:gd name="T27" fmla="*/ 0 h 1251"/>
                <a:gd name="T28" fmla="*/ 0 w 968"/>
                <a:gd name="T29" fmla="*/ 0 h 1251"/>
                <a:gd name="T30" fmla="*/ 0 w 968"/>
                <a:gd name="T31" fmla="*/ 0 h 1251"/>
                <a:gd name="T32" fmla="*/ 0 w 968"/>
                <a:gd name="T33" fmla="*/ 0 h 1251"/>
                <a:gd name="T34" fmla="*/ 0 w 968"/>
                <a:gd name="T35" fmla="*/ 0 h 1251"/>
                <a:gd name="T36" fmla="*/ 0 w 968"/>
                <a:gd name="T37" fmla="*/ 0 h 1251"/>
                <a:gd name="T38" fmla="*/ 0 w 968"/>
                <a:gd name="T39" fmla="*/ 0 h 1251"/>
                <a:gd name="T40" fmla="*/ 0 w 968"/>
                <a:gd name="T41" fmla="*/ 0 h 1251"/>
                <a:gd name="T42" fmla="*/ 0 w 968"/>
                <a:gd name="T43" fmla="*/ 0 h 1251"/>
                <a:gd name="T44" fmla="*/ 0 w 968"/>
                <a:gd name="T45" fmla="*/ 0 h 1251"/>
                <a:gd name="T46" fmla="*/ 0 w 968"/>
                <a:gd name="T47" fmla="*/ 0 h 1251"/>
                <a:gd name="T48" fmla="*/ 0 w 968"/>
                <a:gd name="T49" fmla="*/ 0 h 1251"/>
                <a:gd name="T50" fmla="*/ 0 w 968"/>
                <a:gd name="T51" fmla="*/ 0 h 1251"/>
                <a:gd name="T52" fmla="*/ 0 w 968"/>
                <a:gd name="T53" fmla="*/ 0 h 1251"/>
                <a:gd name="T54" fmla="*/ 0 w 968"/>
                <a:gd name="T55" fmla="*/ 0 h 1251"/>
                <a:gd name="T56" fmla="*/ 0 w 968"/>
                <a:gd name="T57" fmla="*/ 0 h 1251"/>
                <a:gd name="T58" fmla="*/ 0 w 968"/>
                <a:gd name="T59" fmla="*/ 0 h 1251"/>
                <a:gd name="T60" fmla="*/ 0 w 968"/>
                <a:gd name="T61" fmla="*/ 0 h 1251"/>
                <a:gd name="T62" fmla="*/ 0 w 968"/>
                <a:gd name="T63" fmla="*/ 0 h 1251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968"/>
                <a:gd name="T97" fmla="*/ 0 h 1251"/>
                <a:gd name="T98" fmla="*/ 968 w 968"/>
                <a:gd name="T99" fmla="*/ 1251 h 1251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968" h="1251">
                  <a:moveTo>
                    <a:pt x="256" y="1251"/>
                  </a:moveTo>
                  <a:cubicBezTo>
                    <a:pt x="252" y="1223"/>
                    <a:pt x="252" y="1179"/>
                    <a:pt x="224" y="1159"/>
                  </a:cubicBezTo>
                  <a:cubicBezTo>
                    <a:pt x="232" y="1123"/>
                    <a:pt x="268" y="1039"/>
                    <a:pt x="304" y="1023"/>
                  </a:cubicBezTo>
                  <a:cubicBezTo>
                    <a:pt x="316" y="1043"/>
                    <a:pt x="320" y="1055"/>
                    <a:pt x="340" y="1063"/>
                  </a:cubicBezTo>
                  <a:cubicBezTo>
                    <a:pt x="372" y="1051"/>
                    <a:pt x="368" y="1059"/>
                    <a:pt x="400" y="1071"/>
                  </a:cubicBezTo>
                  <a:cubicBezTo>
                    <a:pt x="404" y="1087"/>
                    <a:pt x="412" y="1091"/>
                    <a:pt x="428" y="1095"/>
                  </a:cubicBezTo>
                  <a:cubicBezTo>
                    <a:pt x="448" y="1115"/>
                    <a:pt x="464" y="1107"/>
                    <a:pt x="488" y="1115"/>
                  </a:cubicBezTo>
                  <a:cubicBezTo>
                    <a:pt x="496" y="1131"/>
                    <a:pt x="508" y="1163"/>
                    <a:pt x="508" y="1163"/>
                  </a:cubicBezTo>
                  <a:cubicBezTo>
                    <a:pt x="512" y="1227"/>
                    <a:pt x="512" y="1211"/>
                    <a:pt x="544" y="1191"/>
                  </a:cubicBezTo>
                  <a:cubicBezTo>
                    <a:pt x="568" y="1123"/>
                    <a:pt x="584" y="1119"/>
                    <a:pt x="656" y="1107"/>
                  </a:cubicBezTo>
                  <a:cubicBezTo>
                    <a:pt x="672" y="1087"/>
                    <a:pt x="692" y="1091"/>
                    <a:pt x="712" y="1079"/>
                  </a:cubicBezTo>
                  <a:cubicBezTo>
                    <a:pt x="756" y="1051"/>
                    <a:pt x="832" y="1039"/>
                    <a:pt x="884" y="1031"/>
                  </a:cubicBezTo>
                  <a:cubicBezTo>
                    <a:pt x="908" y="995"/>
                    <a:pt x="888" y="955"/>
                    <a:pt x="896" y="915"/>
                  </a:cubicBezTo>
                  <a:cubicBezTo>
                    <a:pt x="892" y="895"/>
                    <a:pt x="884" y="883"/>
                    <a:pt x="896" y="867"/>
                  </a:cubicBezTo>
                  <a:cubicBezTo>
                    <a:pt x="904" y="855"/>
                    <a:pt x="932" y="839"/>
                    <a:pt x="932" y="839"/>
                  </a:cubicBezTo>
                  <a:cubicBezTo>
                    <a:pt x="940" y="827"/>
                    <a:pt x="952" y="819"/>
                    <a:pt x="960" y="807"/>
                  </a:cubicBezTo>
                  <a:cubicBezTo>
                    <a:pt x="964" y="799"/>
                    <a:pt x="968" y="783"/>
                    <a:pt x="968" y="783"/>
                  </a:cubicBezTo>
                  <a:cubicBezTo>
                    <a:pt x="964" y="759"/>
                    <a:pt x="968" y="751"/>
                    <a:pt x="944" y="743"/>
                  </a:cubicBezTo>
                  <a:cubicBezTo>
                    <a:pt x="908" y="715"/>
                    <a:pt x="912" y="711"/>
                    <a:pt x="860" y="707"/>
                  </a:cubicBezTo>
                  <a:cubicBezTo>
                    <a:pt x="840" y="695"/>
                    <a:pt x="848" y="659"/>
                    <a:pt x="836" y="639"/>
                  </a:cubicBezTo>
                  <a:cubicBezTo>
                    <a:pt x="828" y="604"/>
                    <a:pt x="800" y="560"/>
                    <a:pt x="836" y="536"/>
                  </a:cubicBezTo>
                  <a:cubicBezTo>
                    <a:pt x="844" y="496"/>
                    <a:pt x="892" y="448"/>
                    <a:pt x="840" y="440"/>
                  </a:cubicBezTo>
                  <a:cubicBezTo>
                    <a:pt x="856" y="416"/>
                    <a:pt x="828" y="360"/>
                    <a:pt x="796" y="348"/>
                  </a:cubicBezTo>
                  <a:cubicBezTo>
                    <a:pt x="776" y="352"/>
                    <a:pt x="756" y="360"/>
                    <a:pt x="740" y="372"/>
                  </a:cubicBezTo>
                  <a:cubicBezTo>
                    <a:pt x="724" y="416"/>
                    <a:pt x="680" y="372"/>
                    <a:pt x="628" y="368"/>
                  </a:cubicBezTo>
                  <a:cubicBezTo>
                    <a:pt x="600" y="368"/>
                    <a:pt x="576" y="384"/>
                    <a:pt x="560" y="360"/>
                  </a:cubicBezTo>
                  <a:cubicBezTo>
                    <a:pt x="548" y="336"/>
                    <a:pt x="560" y="276"/>
                    <a:pt x="552" y="248"/>
                  </a:cubicBezTo>
                  <a:cubicBezTo>
                    <a:pt x="536" y="216"/>
                    <a:pt x="476" y="224"/>
                    <a:pt x="464" y="216"/>
                  </a:cubicBezTo>
                  <a:cubicBezTo>
                    <a:pt x="456" y="192"/>
                    <a:pt x="432" y="164"/>
                    <a:pt x="412" y="152"/>
                  </a:cubicBezTo>
                  <a:cubicBezTo>
                    <a:pt x="404" y="132"/>
                    <a:pt x="388" y="104"/>
                    <a:pt x="368" y="96"/>
                  </a:cubicBezTo>
                  <a:cubicBezTo>
                    <a:pt x="360" y="84"/>
                    <a:pt x="348" y="68"/>
                    <a:pt x="336" y="60"/>
                  </a:cubicBezTo>
                  <a:cubicBezTo>
                    <a:pt x="324" y="52"/>
                    <a:pt x="296" y="48"/>
                    <a:pt x="296" y="48"/>
                  </a:cubicBezTo>
                  <a:cubicBezTo>
                    <a:pt x="284" y="32"/>
                    <a:pt x="272" y="12"/>
                    <a:pt x="256" y="4"/>
                  </a:cubicBezTo>
                  <a:cubicBezTo>
                    <a:pt x="202" y="0"/>
                    <a:pt x="177" y="5"/>
                    <a:pt x="133" y="1"/>
                  </a:cubicBezTo>
                  <a:cubicBezTo>
                    <a:pt x="109" y="12"/>
                    <a:pt x="97" y="33"/>
                    <a:pt x="75" y="55"/>
                  </a:cubicBezTo>
                  <a:cubicBezTo>
                    <a:pt x="62" y="65"/>
                    <a:pt x="60" y="51"/>
                    <a:pt x="52" y="52"/>
                  </a:cubicBezTo>
                  <a:cubicBezTo>
                    <a:pt x="45" y="53"/>
                    <a:pt x="42" y="56"/>
                    <a:pt x="34" y="64"/>
                  </a:cubicBezTo>
                  <a:cubicBezTo>
                    <a:pt x="30" y="84"/>
                    <a:pt x="5" y="79"/>
                    <a:pt x="4" y="99"/>
                  </a:cubicBezTo>
                  <a:cubicBezTo>
                    <a:pt x="3" y="119"/>
                    <a:pt x="10" y="159"/>
                    <a:pt x="28" y="184"/>
                  </a:cubicBezTo>
                  <a:cubicBezTo>
                    <a:pt x="32" y="200"/>
                    <a:pt x="34" y="201"/>
                    <a:pt x="32" y="220"/>
                  </a:cubicBezTo>
                  <a:cubicBezTo>
                    <a:pt x="36" y="229"/>
                    <a:pt x="57" y="222"/>
                    <a:pt x="54" y="241"/>
                  </a:cubicBezTo>
                  <a:cubicBezTo>
                    <a:pt x="84" y="243"/>
                    <a:pt x="87" y="259"/>
                    <a:pt x="100" y="267"/>
                  </a:cubicBezTo>
                  <a:cubicBezTo>
                    <a:pt x="113" y="275"/>
                    <a:pt x="132" y="283"/>
                    <a:pt x="130" y="292"/>
                  </a:cubicBezTo>
                  <a:cubicBezTo>
                    <a:pt x="108" y="315"/>
                    <a:pt x="112" y="304"/>
                    <a:pt x="88" y="320"/>
                  </a:cubicBezTo>
                  <a:cubicBezTo>
                    <a:pt x="80" y="340"/>
                    <a:pt x="76" y="356"/>
                    <a:pt x="100" y="364"/>
                  </a:cubicBezTo>
                  <a:cubicBezTo>
                    <a:pt x="104" y="376"/>
                    <a:pt x="120" y="400"/>
                    <a:pt x="120" y="400"/>
                  </a:cubicBezTo>
                  <a:cubicBezTo>
                    <a:pt x="116" y="444"/>
                    <a:pt x="92" y="536"/>
                    <a:pt x="136" y="564"/>
                  </a:cubicBezTo>
                  <a:cubicBezTo>
                    <a:pt x="144" y="592"/>
                    <a:pt x="180" y="604"/>
                    <a:pt x="208" y="612"/>
                  </a:cubicBezTo>
                  <a:cubicBezTo>
                    <a:pt x="224" y="655"/>
                    <a:pt x="180" y="651"/>
                    <a:pt x="148" y="655"/>
                  </a:cubicBezTo>
                  <a:cubicBezTo>
                    <a:pt x="152" y="675"/>
                    <a:pt x="180" y="695"/>
                    <a:pt x="200" y="707"/>
                  </a:cubicBezTo>
                  <a:cubicBezTo>
                    <a:pt x="212" y="727"/>
                    <a:pt x="223" y="778"/>
                    <a:pt x="196" y="771"/>
                  </a:cubicBezTo>
                  <a:cubicBezTo>
                    <a:pt x="120" y="755"/>
                    <a:pt x="144" y="767"/>
                    <a:pt x="116" y="807"/>
                  </a:cubicBezTo>
                  <a:cubicBezTo>
                    <a:pt x="124" y="843"/>
                    <a:pt x="128" y="855"/>
                    <a:pt x="88" y="851"/>
                  </a:cubicBezTo>
                  <a:cubicBezTo>
                    <a:pt x="72" y="855"/>
                    <a:pt x="68" y="871"/>
                    <a:pt x="52" y="879"/>
                  </a:cubicBezTo>
                  <a:cubicBezTo>
                    <a:pt x="48" y="895"/>
                    <a:pt x="44" y="907"/>
                    <a:pt x="48" y="923"/>
                  </a:cubicBezTo>
                  <a:cubicBezTo>
                    <a:pt x="44" y="943"/>
                    <a:pt x="8" y="975"/>
                    <a:pt x="8" y="975"/>
                  </a:cubicBezTo>
                  <a:cubicBezTo>
                    <a:pt x="4" y="999"/>
                    <a:pt x="0" y="1003"/>
                    <a:pt x="20" y="1015"/>
                  </a:cubicBezTo>
                  <a:cubicBezTo>
                    <a:pt x="24" y="1043"/>
                    <a:pt x="24" y="1067"/>
                    <a:pt x="8" y="1091"/>
                  </a:cubicBezTo>
                  <a:cubicBezTo>
                    <a:pt x="16" y="1107"/>
                    <a:pt x="28" y="1111"/>
                    <a:pt x="44" y="1115"/>
                  </a:cubicBezTo>
                  <a:cubicBezTo>
                    <a:pt x="56" y="1131"/>
                    <a:pt x="72" y="1131"/>
                    <a:pt x="92" y="1139"/>
                  </a:cubicBezTo>
                  <a:cubicBezTo>
                    <a:pt x="96" y="1139"/>
                    <a:pt x="104" y="1143"/>
                    <a:pt x="104" y="1143"/>
                  </a:cubicBezTo>
                  <a:cubicBezTo>
                    <a:pt x="140" y="1179"/>
                    <a:pt x="164" y="1199"/>
                    <a:pt x="212" y="1215"/>
                  </a:cubicBezTo>
                  <a:cubicBezTo>
                    <a:pt x="216" y="1223"/>
                    <a:pt x="232" y="1239"/>
                    <a:pt x="240" y="1247"/>
                  </a:cubicBezTo>
                  <a:cubicBezTo>
                    <a:pt x="244" y="1251"/>
                    <a:pt x="256" y="1251"/>
                    <a:pt x="256" y="1251"/>
                  </a:cubicBez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  <p:sp>
          <p:nvSpPr>
            <p:cNvPr id="285" name="Freeform 96"/>
            <p:cNvSpPr>
              <a:spLocks noChangeAspect="1"/>
            </p:cNvSpPr>
            <p:nvPr/>
          </p:nvSpPr>
          <p:spPr bwMode="auto">
            <a:xfrm>
              <a:off x="2716" y="3184"/>
              <a:ext cx="152" cy="121"/>
            </a:xfrm>
            <a:custGeom>
              <a:avLst/>
              <a:gdLst>
                <a:gd name="T0" fmla="*/ 0 w 598"/>
                <a:gd name="T1" fmla="*/ 0 h 474"/>
                <a:gd name="T2" fmla="*/ 0 w 598"/>
                <a:gd name="T3" fmla="*/ 0 h 474"/>
                <a:gd name="T4" fmla="*/ 0 w 598"/>
                <a:gd name="T5" fmla="*/ 0 h 474"/>
                <a:gd name="T6" fmla="*/ 0 w 598"/>
                <a:gd name="T7" fmla="*/ 0 h 474"/>
                <a:gd name="T8" fmla="*/ 0 w 598"/>
                <a:gd name="T9" fmla="*/ 0 h 474"/>
                <a:gd name="T10" fmla="*/ 0 w 598"/>
                <a:gd name="T11" fmla="*/ 0 h 474"/>
                <a:gd name="T12" fmla="*/ 0 w 598"/>
                <a:gd name="T13" fmla="*/ 0 h 474"/>
                <a:gd name="T14" fmla="*/ 0 w 598"/>
                <a:gd name="T15" fmla="*/ 0 h 474"/>
                <a:gd name="T16" fmla="*/ 0 w 598"/>
                <a:gd name="T17" fmla="*/ 0 h 474"/>
                <a:gd name="T18" fmla="*/ 0 w 598"/>
                <a:gd name="T19" fmla="*/ 0 h 474"/>
                <a:gd name="T20" fmla="*/ 0 w 598"/>
                <a:gd name="T21" fmla="*/ 0 h 474"/>
                <a:gd name="T22" fmla="*/ 0 w 598"/>
                <a:gd name="T23" fmla="*/ 0 h 474"/>
                <a:gd name="T24" fmla="*/ 0 w 598"/>
                <a:gd name="T25" fmla="*/ 0 h 474"/>
                <a:gd name="T26" fmla="*/ 0 w 598"/>
                <a:gd name="T27" fmla="*/ 0 h 474"/>
                <a:gd name="T28" fmla="*/ 0 w 598"/>
                <a:gd name="T29" fmla="*/ 0 h 474"/>
                <a:gd name="T30" fmla="*/ 0 w 598"/>
                <a:gd name="T31" fmla="*/ 0 h 474"/>
                <a:gd name="T32" fmla="*/ 0 w 598"/>
                <a:gd name="T33" fmla="*/ 0 h 474"/>
                <a:gd name="T34" fmla="*/ 0 w 598"/>
                <a:gd name="T35" fmla="*/ 0 h 474"/>
                <a:gd name="T36" fmla="*/ 0 w 598"/>
                <a:gd name="T37" fmla="*/ 0 h 474"/>
                <a:gd name="T38" fmla="*/ 0 w 598"/>
                <a:gd name="T39" fmla="*/ 0 h 474"/>
                <a:gd name="T40" fmla="*/ 0 w 598"/>
                <a:gd name="T41" fmla="*/ 0 h 474"/>
                <a:gd name="T42" fmla="*/ 0 w 598"/>
                <a:gd name="T43" fmla="*/ 0 h 474"/>
                <a:gd name="T44" fmla="*/ 0 w 598"/>
                <a:gd name="T45" fmla="*/ 0 h 474"/>
                <a:gd name="T46" fmla="*/ 0 w 598"/>
                <a:gd name="T47" fmla="*/ 0 h 474"/>
                <a:gd name="T48" fmla="*/ 0 w 598"/>
                <a:gd name="T49" fmla="*/ 0 h 474"/>
                <a:gd name="T50" fmla="*/ 0 w 598"/>
                <a:gd name="T51" fmla="*/ 0 h 474"/>
                <a:gd name="T52" fmla="*/ 0 w 598"/>
                <a:gd name="T53" fmla="*/ 0 h 474"/>
                <a:gd name="T54" fmla="*/ 0 w 598"/>
                <a:gd name="T55" fmla="*/ 0 h 474"/>
                <a:gd name="T56" fmla="*/ 0 w 598"/>
                <a:gd name="T57" fmla="*/ 0 h 47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598"/>
                <a:gd name="T88" fmla="*/ 0 h 474"/>
                <a:gd name="T89" fmla="*/ 598 w 598"/>
                <a:gd name="T90" fmla="*/ 474 h 474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598" h="474">
                  <a:moveTo>
                    <a:pt x="183" y="162"/>
                  </a:moveTo>
                  <a:cubicBezTo>
                    <a:pt x="257" y="150"/>
                    <a:pt x="217" y="163"/>
                    <a:pt x="265" y="139"/>
                  </a:cubicBezTo>
                  <a:cubicBezTo>
                    <a:pt x="285" y="115"/>
                    <a:pt x="317" y="122"/>
                    <a:pt x="337" y="99"/>
                  </a:cubicBezTo>
                  <a:cubicBezTo>
                    <a:pt x="378" y="95"/>
                    <a:pt x="413" y="101"/>
                    <a:pt x="428" y="66"/>
                  </a:cubicBezTo>
                  <a:cubicBezTo>
                    <a:pt x="449" y="60"/>
                    <a:pt x="481" y="63"/>
                    <a:pt x="505" y="51"/>
                  </a:cubicBezTo>
                  <a:cubicBezTo>
                    <a:pt x="513" y="35"/>
                    <a:pt x="535" y="16"/>
                    <a:pt x="543" y="0"/>
                  </a:cubicBezTo>
                  <a:cubicBezTo>
                    <a:pt x="560" y="18"/>
                    <a:pt x="576" y="51"/>
                    <a:pt x="591" y="74"/>
                  </a:cubicBezTo>
                  <a:cubicBezTo>
                    <a:pt x="595" y="82"/>
                    <a:pt x="598" y="88"/>
                    <a:pt x="590" y="96"/>
                  </a:cubicBezTo>
                  <a:cubicBezTo>
                    <a:pt x="573" y="102"/>
                    <a:pt x="565" y="123"/>
                    <a:pt x="565" y="123"/>
                  </a:cubicBezTo>
                  <a:cubicBezTo>
                    <a:pt x="551" y="153"/>
                    <a:pt x="529" y="163"/>
                    <a:pt x="529" y="163"/>
                  </a:cubicBezTo>
                  <a:cubicBezTo>
                    <a:pt x="512" y="179"/>
                    <a:pt x="494" y="189"/>
                    <a:pt x="468" y="188"/>
                  </a:cubicBezTo>
                  <a:cubicBezTo>
                    <a:pt x="450" y="218"/>
                    <a:pt x="466" y="268"/>
                    <a:pt x="474" y="288"/>
                  </a:cubicBezTo>
                  <a:cubicBezTo>
                    <a:pt x="462" y="314"/>
                    <a:pt x="412" y="321"/>
                    <a:pt x="399" y="345"/>
                  </a:cubicBezTo>
                  <a:cubicBezTo>
                    <a:pt x="391" y="369"/>
                    <a:pt x="431" y="422"/>
                    <a:pt x="395" y="432"/>
                  </a:cubicBezTo>
                  <a:cubicBezTo>
                    <a:pt x="383" y="450"/>
                    <a:pt x="366" y="449"/>
                    <a:pt x="366" y="449"/>
                  </a:cubicBezTo>
                  <a:cubicBezTo>
                    <a:pt x="336" y="453"/>
                    <a:pt x="338" y="422"/>
                    <a:pt x="338" y="422"/>
                  </a:cubicBezTo>
                  <a:cubicBezTo>
                    <a:pt x="326" y="426"/>
                    <a:pt x="278" y="439"/>
                    <a:pt x="266" y="431"/>
                  </a:cubicBezTo>
                  <a:cubicBezTo>
                    <a:pt x="269" y="404"/>
                    <a:pt x="264" y="398"/>
                    <a:pt x="255" y="375"/>
                  </a:cubicBezTo>
                  <a:cubicBezTo>
                    <a:pt x="251" y="398"/>
                    <a:pt x="236" y="410"/>
                    <a:pt x="228" y="423"/>
                  </a:cubicBezTo>
                  <a:cubicBezTo>
                    <a:pt x="220" y="436"/>
                    <a:pt x="216" y="449"/>
                    <a:pt x="205" y="451"/>
                  </a:cubicBezTo>
                  <a:cubicBezTo>
                    <a:pt x="165" y="447"/>
                    <a:pt x="170" y="450"/>
                    <a:pt x="161" y="437"/>
                  </a:cubicBezTo>
                  <a:cubicBezTo>
                    <a:pt x="96" y="441"/>
                    <a:pt x="88" y="466"/>
                    <a:pt x="60" y="474"/>
                  </a:cubicBezTo>
                  <a:cubicBezTo>
                    <a:pt x="60" y="473"/>
                    <a:pt x="36" y="468"/>
                    <a:pt x="36" y="468"/>
                  </a:cubicBezTo>
                  <a:cubicBezTo>
                    <a:pt x="17" y="450"/>
                    <a:pt x="33" y="379"/>
                    <a:pt x="29" y="351"/>
                  </a:cubicBezTo>
                  <a:cubicBezTo>
                    <a:pt x="45" y="318"/>
                    <a:pt x="47" y="296"/>
                    <a:pt x="11" y="288"/>
                  </a:cubicBezTo>
                  <a:cubicBezTo>
                    <a:pt x="15" y="269"/>
                    <a:pt x="23" y="280"/>
                    <a:pt x="35" y="252"/>
                  </a:cubicBezTo>
                  <a:cubicBezTo>
                    <a:pt x="19" y="236"/>
                    <a:pt x="16" y="239"/>
                    <a:pt x="0" y="227"/>
                  </a:cubicBezTo>
                  <a:cubicBezTo>
                    <a:pt x="16" y="203"/>
                    <a:pt x="41" y="162"/>
                    <a:pt x="29" y="139"/>
                  </a:cubicBezTo>
                  <a:cubicBezTo>
                    <a:pt x="61" y="131"/>
                    <a:pt x="147" y="161"/>
                    <a:pt x="183" y="162"/>
                  </a:cubicBez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  <p:sp>
          <p:nvSpPr>
            <p:cNvPr id="286" name="Freeform 97"/>
            <p:cNvSpPr>
              <a:spLocks noChangeAspect="1"/>
            </p:cNvSpPr>
            <p:nvPr/>
          </p:nvSpPr>
          <p:spPr bwMode="auto">
            <a:xfrm>
              <a:off x="2853" y="3035"/>
              <a:ext cx="322" cy="222"/>
            </a:xfrm>
            <a:custGeom>
              <a:avLst/>
              <a:gdLst>
                <a:gd name="T0" fmla="*/ 0 w 1273"/>
                <a:gd name="T1" fmla="*/ 0 h 878"/>
                <a:gd name="T2" fmla="*/ 0 w 1273"/>
                <a:gd name="T3" fmla="*/ 0 h 878"/>
                <a:gd name="T4" fmla="*/ 0 w 1273"/>
                <a:gd name="T5" fmla="*/ 0 h 878"/>
                <a:gd name="T6" fmla="*/ 0 w 1273"/>
                <a:gd name="T7" fmla="*/ 0 h 878"/>
                <a:gd name="T8" fmla="*/ 0 w 1273"/>
                <a:gd name="T9" fmla="*/ 0 h 878"/>
                <a:gd name="T10" fmla="*/ 0 w 1273"/>
                <a:gd name="T11" fmla="*/ 0 h 878"/>
                <a:gd name="T12" fmla="*/ 0 w 1273"/>
                <a:gd name="T13" fmla="*/ 0 h 878"/>
                <a:gd name="T14" fmla="*/ 0 w 1273"/>
                <a:gd name="T15" fmla="*/ 0 h 878"/>
                <a:gd name="T16" fmla="*/ 0 w 1273"/>
                <a:gd name="T17" fmla="*/ 0 h 878"/>
                <a:gd name="T18" fmla="*/ 0 w 1273"/>
                <a:gd name="T19" fmla="*/ 0 h 878"/>
                <a:gd name="T20" fmla="*/ 0 w 1273"/>
                <a:gd name="T21" fmla="*/ 0 h 878"/>
                <a:gd name="T22" fmla="*/ 0 w 1273"/>
                <a:gd name="T23" fmla="*/ 0 h 878"/>
                <a:gd name="T24" fmla="*/ 0 w 1273"/>
                <a:gd name="T25" fmla="*/ 0 h 878"/>
                <a:gd name="T26" fmla="*/ 0 w 1273"/>
                <a:gd name="T27" fmla="*/ 0 h 878"/>
                <a:gd name="T28" fmla="*/ 0 w 1273"/>
                <a:gd name="T29" fmla="*/ 0 h 878"/>
                <a:gd name="T30" fmla="*/ 0 w 1273"/>
                <a:gd name="T31" fmla="*/ 0 h 878"/>
                <a:gd name="T32" fmla="*/ 0 w 1273"/>
                <a:gd name="T33" fmla="*/ 0 h 878"/>
                <a:gd name="T34" fmla="*/ 0 w 1273"/>
                <a:gd name="T35" fmla="*/ 0 h 878"/>
                <a:gd name="T36" fmla="*/ 0 w 1273"/>
                <a:gd name="T37" fmla="*/ 0 h 878"/>
                <a:gd name="T38" fmla="*/ 0 w 1273"/>
                <a:gd name="T39" fmla="*/ 0 h 878"/>
                <a:gd name="T40" fmla="*/ 0 w 1273"/>
                <a:gd name="T41" fmla="*/ 0 h 878"/>
                <a:gd name="T42" fmla="*/ 0 w 1273"/>
                <a:gd name="T43" fmla="*/ 0 h 878"/>
                <a:gd name="T44" fmla="*/ 0 w 1273"/>
                <a:gd name="T45" fmla="*/ 0 h 878"/>
                <a:gd name="T46" fmla="*/ 0 w 1273"/>
                <a:gd name="T47" fmla="*/ 0 h 878"/>
                <a:gd name="T48" fmla="*/ 0 w 1273"/>
                <a:gd name="T49" fmla="*/ 0 h 878"/>
                <a:gd name="T50" fmla="*/ 0 w 1273"/>
                <a:gd name="T51" fmla="*/ 0 h 878"/>
                <a:gd name="T52" fmla="*/ 0 w 1273"/>
                <a:gd name="T53" fmla="*/ 0 h 878"/>
                <a:gd name="T54" fmla="*/ 0 w 1273"/>
                <a:gd name="T55" fmla="*/ 0 h 878"/>
                <a:gd name="T56" fmla="*/ 0 w 1273"/>
                <a:gd name="T57" fmla="*/ 0 h 878"/>
                <a:gd name="T58" fmla="*/ 0 w 1273"/>
                <a:gd name="T59" fmla="*/ 0 h 878"/>
                <a:gd name="T60" fmla="*/ 0 w 1273"/>
                <a:gd name="T61" fmla="*/ 0 h 878"/>
                <a:gd name="T62" fmla="*/ 0 w 1273"/>
                <a:gd name="T63" fmla="*/ 0 h 878"/>
                <a:gd name="T64" fmla="*/ 0 w 1273"/>
                <a:gd name="T65" fmla="*/ 0 h 878"/>
                <a:gd name="T66" fmla="*/ 0 w 1273"/>
                <a:gd name="T67" fmla="*/ 0 h 878"/>
                <a:gd name="T68" fmla="*/ 0 w 1273"/>
                <a:gd name="T69" fmla="*/ 0 h 878"/>
                <a:gd name="T70" fmla="*/ 0 w 1273"/>
                <a:gd name="T71" fmla="*/ 0 h 878"/>
                <a:gd name="T72" fmla="*/ 0 w 1273"/>
                <a:gd name="T73" fmla="*/ 0 h 878"/>
                <a:gd name="T74" fmla="*/ 0 w 1273"/>
                <a:gd name="T75" fmla="*/ 0 h 878"/>
                <a:gd name="T76" fmla="*/ 0 w 1273"/>
                <a:gd name="T77" fmla="*/ 0 h 878"/>
                <a:gd name="T78" fmla="*/ 0 w 1273"/>
                <a:gd name="T79" fmla="*/ 0 h 878"/>
                <a:gd name="T80" fmla="*/ 0 w 1273"/>
                <a:gd name="T81" fmla="*/ 0 h 878"/>
                <a:gd name="T82" fmla="*/ 0 w 1273"/>
                <a:gd name="T83" fmla="*/ 0 h 878"/>
                <a:gd name="T84" fmla="*/ 0 w 1273"/>
                <a:gd name="T85" fmla="*/ 0 h 878"/>
                <a:gd name="T86" fmla="*/ 0 w 1273"/>
                <a:gd name="T87" fmla="*/ 0 h 878"/>
                <a:gd name="T88" fmla="*/ 0 w 1273"/>
                <a:gd name="T89" fmla="*/ 0 h 878"/>
                <a:gd name="T90" fmla="*/ 0 w 1273"/>
                <a:gd name="T91" fmla="*/ 0 h 878"/>
                <a:gd name="T92" fmla="*/ 0 w 1273"/>
                <a:gd name="T93" fmla="*/ 0 h 878"/>
                <a:gd name="T94" fmla="*/ 0 w 1273"/>
                <a:gd name="T95" fmla="*/ 0 h 878"/>
                <a:gd name="T96" fmla="*/ 0 w 1273"/>
                <a:gd name="T97" fmla="*/ 0 h 878"/>
                <a:gd name="T98" fmla="*/ 0 w 1273"/>
                <a:gd name="T99" fmla="*/ 0 h 878"/>
                <a:gd name="T100" fmla="*/ 0 w 1273"/>
                <a:gd name="T101" fmla="*/ 0 h 878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273"/>
                <a:gd name="T154" fmla="*/ 0 h 878"/>
                <a:gd name="T155" fmla="*/ 1273 w 1273"/>
                <a:gd name="T156" fmla="*/ 878 h 878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273" h="878">
                  <a:moveTo>
                    <a:pt x="833" y="727"/>
                  </a:moveTo>
                  <a:cubicBezTo>
                    <a:pt x="861" y="723"/>
                    <a:pt x="881" y="719"/>
                    <a:pt x="905" y="703"/>
                  </a:cubicBezTo>
                  <a:cubicBezTo>
                    <a:pt x="917" y="687"/>
                    <a:pt x="937" y="683"/>
                    <a:pt x="957" y="675"/>
                  </a:cubicBezTo>
                  <a:cubicBezTo>
                    <a:pt x="969" y="668"/>
                    <a:pt x="966" y="674"/>
                    <a:pt x="977" y="659"/>
                  </a:cubicBezTo>
                  <a:cubicBezTo>
                    <a:pt x="993" y="639"/>
                    <a:pt x="997" y="603"/>
                    <a:pt x="1021" y="587"/>
                  </a:cubicBezTo>
                  <a:cubicBezTo>
                    <a:pt x="1025" y="571"/>
                    <a:pt x="1033" y="551"/>
                    <a:pt x="1037" y="535"/>
                  </a:cubicBezTo>
                  <a:cubicBezTo>
                    <a:pt x="1041" y="527"/>
                    <a:pt x="1045" y="511"/>
                    <a:pt x="1045" y="511"/>
                  </a:cubicBezTo>
                  <a:cubicBezTo>
                    <a:pt x="1049" y="483"/>
                    <a:pt x="1053" y="459"/>
                    <a:pt x="1073" y="439"/>
                  </a:cubicBezTo>
                  <a:cubicBezTo>
                    <a:pt x="1077" y="423"/>
                    <a:pt x="1081" y="403"/>
                    <a:pt x="1093" y="387"/>
                  </a:cubicBezTo>
                  <a:cubicBezTo>
                    <a:pt x="1101" y="343"/>
                    <a:pt x="1129" y="215"/>
                    <a:pt x="1169" y="187"/>
                  </a:cubicBezTo>
                  <a:cubicBezTo>
                    <a:pt x="1201" y="172"/>
                    <a:pt x="1207" y="178"/>
                    <a:pt x="1216" y="162"/>
                  </a:cubicBezTo>
                  <a:cubicBezTo>
                    <a:pt x="1249" y="148"/>
                    <a:pt x="1257" y="144"/>
                    <a:pt x="1273" y="131"/>
                  </a:cubicBezTo>
                  <a:cubicBezTo>
                    <a:pt x="1269" y="31"/>
                    <a:pt x="1225" y="59"/>
                    <a:pt x="1145" y="51"/>
                  </a:cubicBezTo>
                  <a:cubicBezTo>
                    <a:pt x="1129" y="35"/>
                    <a:pt x="1136" y="24"/>
                    <a:pt x="1116" y="16"/>
                  </a:cubicBezTo>
                  <a:cubicBezTo>
                    <a:pt x="1101" y="16"/>
                    <a:pt x="1074" y="29"/>
                    <a:pt x="1053" y="27"/>
                  </a:cubicBezTo>
                  <a:cubicBezTo>
                    <a:pt x="1032" y="25"/>
                    <a:pt x="1013" y="4"/>
                    <a:pt x="988" y="1"/>
                  </a:cubicBezTo>
                  <a:cubicBezTo>
                    <a:pt x="954" y="0"/>
                    <a:pt x="931" y="8"/>
                    <a:pt x="903" y="9"/>
                  </a:cubicBezTo>
                  <a:cubicBezTo>
                    <a:pt x="875" y="10"/>
                    <a:pt x="844" y="1"/>
                    <a:pt x="822" y="10"/>
                  </a:cubicBezTo>
                  <a:cubicBezTo>
                    <a:pt x="802" y="22"/>
                    <a:pt x="788" y="47"/>
                    <a:pt x="772" y="63"/>
                  </a:cubicBezTo>
                  <a:cubicBezTo>
                    <a:pt x="768" y="95"/>
                    <a:pt x="771" y="136"/>
                    <a:pt x="732" y="129"/>
                  </a:cubicBezTo>
                  <a:cubicBezTo>
                    <a:pt x="716" y="129"/>
                    <a:pt x="701" y="139"/>
                    <a:pt x="685" y="135"/>
                  </a:cubicBezTo>
                  <a:cubicBezTo>
                    <a:pt x="673" y="131"/>
                    <a:pt x="649" y="123"/>
                    <a:pt x="649" y="123"/>
                  </a:cubicBezTo>
                  <a:cubicBezTo>
                    <a:pt x="610" y="180"/>
                    <a:pt x="615" y="172"/>
                    <a:pt x="529" y="175"/>
                  </a:cubicBezTo>
                  <a:cubicBezTo>
                    <a:pt x="499" y="181"/>
                    <a:pt x="499" y="208"/>
                    <a:pt x="506" y="227"/>
                  </a:cubicBezTo>
                  <a:cubicBezTo>
                    <a:pt x="504" y="333"/>
                    <a:pt x="441" y="282"/>
                    <a:pt x="271" y="309"/>
                  </a:cubicBezTo>
                  <a:cubicBezTo>
                    <a:pt x="264" y="300"/>
                    <a:pt x="254" y="296"/>
                    <a:pt x="246" y="289"/>
                  </a:cubicBezTo>
                  <a:cubicBezTo>
                    <a:pt x="238" y="282"/>
                    <a:pt x="255" y="277"/>
                    <a:pt x="222" y="267"/>
                  </a:cubicBezTo>
                  <a:cubicBezTo>
                    <a:pt x="205" y="252"/>
                    <a:pt x="182" y="251"/>
                    <a:pt x="182" y="251"/>
                  </a:cubicBezTo>
                  <a:cubicBezTo>
                    <a:pt x="171" y="248"/>
                    <a:pt x="145" y="232"/>
                    <a:pt x="135" y="232"/>
                  </a:cubicBezTo>
                  <a:cubicBezTo>
                    <a:pt x="128" y="247"/>
                    <a:pt x="181" y="270"/>
                    <a:pt x="142" y="342"/>
                  </a:cubicBezTo>
                  <a:cubicBezTo>
                    <a:pt x="90" y="346"/>
                    <a:pt x="60" y="346"/>
                    <a:pt x="25" y="348"/>
                  </a:cubicBezTo>
                  <a:cubicBezTo>
                    <a:pt x="0" y="351"/>
                    <a:pt x="40" y="355"/>
                    <a:pt x="48" y="360"/>
                  </a:cubicBezTo>
                  <a:cubicBezTo>
                    <a:pt x="58" y="370"/>
                    <a:pt x="76" y="375"/>
                    <a:pt x="88" y="412"/>
                  </a:cubicBezTo>
                  <a:cubicBezTo>
                    <a:pt x="66" y="418"/>
                    <a:pt x="64" y="454"/>
                    <a:pt x="52" y="462"/>
                  </a:cubicBezTo>
                  <a:cubicBezTo>
                    <a:pt x="70" y="544"/>
                    <a:pt x="58" y="570"/>
                    <a:pt x="7" y="589"/>
                  </a:cubicBezTo>
                  <a:cubicBezTo>
                    <a:pt x="19" y="609"/>
                    <a:pt x="27" y="619"/>
                    <a:pt x="38" y="639"/>
                  </a:cubicBezTo>
                  <a:cubicBezTo>
                    <a:pt x="42" y="651"/>
                    <a:pt x="57" y="672"/>
                    <a:pt x="55" y="687"/>
                  </a:cubicBezTo>
                  <a:cubicBezTo>
                    <a:pt x="70" y="693"/>
                    <a:pt x="78" y="703"/>
                    <a:pt x="78" y="703"/>
                  </a:cubicBezTo>
                  <a:cubicBezTo>
                    <a:pt x="99" y="708"/>
                    <a:pt x="103" y="721"/>
                    <a:pt x="112" y="735"/>
                  </a:cubicBezTo>
                  <a:cubicBezTo>
                    <a:pt x="130" y="742"/>
                    <a:pt x="158" y="751"/>
                    <a:pt x="182" y="759"/>
                  </a:cubicBezTo>
                  <a:cubicBezTo>
                    <a:pt x="203" y="773"/>
                    <a:pt x="235" y="784"/>
                    <a:pt x="237" y="804"/>
                  </a:cubicBezTo>
                  <a:cubicBezTo>
                    <a:pt x="264" y="807"/>
                    <a:pt x="271" y="820"/>
                    <a:pt x="283" y="829"/>
                  </a:cubicBezTo>
                  <a:cubicBezTo>
                    <a:pt x="305" y="845"/>
                    <a:pt x="289" y="853"/>
                    <a:pt x="310" y="859"/>
                  </a:cubicBezTo>
                  <a:cubicBezTo>
                    <a:pt x="331" y="865"/>
                    <a:pt x="384" y="866"/>
                    <a:pt x="411" y="868"/>
                  </a:cubicBezTo>
                  <a:cubicBezTo>
                    <a:pt x="447" y="873"/>
                    <a:pt x="453" y="878"/>
                    <a:pt x="471" y="874"/>
                  </a:cubicBezTo>
                  <a:cubicBezTo>
                    <a:pt x="475" y="870"/>
                    <a:pt x="512" y="856"/>
                    <a:pt x="516" y="852"/>
                  </a:cubicBezTo>
                  <a:cubicBezTo>
                    <a:pt x="524" y="844"/>
                    <a:pt x="529" y="843"/>
                    <a:pt x="542" y="835"/>
                  </a:cubicBezTo>
                  <a:cubicBezTo>
                    <a:pt x="555" y="827"/>
                    <a:pt x="578" y="811"/>
                    <a:pt x="594" y="803"/>
                  </a:cubicBezTo>
                  <a:cubicBezTo>
                    <a:pt x="614" y="775"/>
                    <a:pt x="614" y="783"/>
                    <a:pt x="645" y="779"/>
                  </a:cubicBezTo>
                  <a:cubicBezTo>
                    <a:pt x="665" y="759"/>
                    <a:pt x="681" y="731"/>
                    <a:pt x="709" y="723"/>
                  </a:cubicBezTo>
                  <a:cubicBezTo>
                    <a:pt x="749" y="727"/>
                    <a:pt x="789" y="723"/>
                    <a:pt x="833" y="727"/>
                  </a:cubicBez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  <p:sp>
          <p:nvSpPr>
            <p:cNvPr id="287" name="Freeform 98"/>
            <p:cNvSpPr>
              <a:spLocks noChangeAspect="1"/>
            </p:cNvSpPr>
            <p:nvPr/>
          </p:nvSpPr>
          <p:spPr bwMode="auto">
            <a:xfrm>
              <a:off x="2721" y="2595"/>
              <a:ext cx="473" cy="402"/>
            </a:xfrm>
            <a:custGeom>
              <a:avLst/>
              <a:gdLst>
                <a:gd name="T0" fmla="*/ 0 w 1874"/>
                <a:gd name="T1" fmla="*/ 0 h 1593"/>
                <a:gd name="T2" fmla="*/ 0 w 1874"/>
                <a:gd name="T3" fmla="*/ 0 h 1593"/>
                <a:gd name="T4" fmla="*/ 0 w 1874"/>
                <a:gd name="T5" fmla="*/ 0 h 1593"/>
                <a:gd name="T6" fmla="*/ 0 w 1874"/>
                <a:gd name="T7" fmla="*/ 0 h 1593"/>
                <a:gd name="T8" fmla="*/ 0 w 1874"/>
                <a:gd name="T9" fmla="*/ 0 h 1593"/>
                <a:gd name="T10" fmla="*/ 0 w 1874"/>
                <a:gd name="T11" fmla="*/ 0 h 1593"/>
                <a:gd name="T12" fmla="*/ 0 w 1874"/>
                <a:gd name="T13" fmla="*/ 0 h 1593"/>
                <a:gd name="T14" fmla="*/ 0 w 1874"/>
                <a:gd name="T15" fmla="*/ 0 h 1593"/>
                <a:gd name="T16" fmla="*/ 0 w 1874"/>
                <a:gd name="T17" fmla="*/ 0 h 1593"/>
                <a:gd name="T18" fmla="*/ 0 w 1874"/>
                <a:gd name="T19" fmla="*/ 0 h 1593"/>
                <a:gd name="T20" fmla="*/ 0 w 1874"/>
                <a:gd name="T21" fmla="*/ 0 h 1593"/>
                <a:gd name="T22" fmla="*/ 0 w 1874"/>
                <a:gd name="T23" fmla="*/ 0 h 1593"/>
                <a:gd name="T24" fmla="*/ 0 w 1874"/>
                <a:gd name="T25" fmla="*/ 0 h 1593"/>
                <a:gd name="T26" fmla="*/ 0 w 1874"/>
                <a:gd name="T27" fmla="*/ 0 h 1593"/>
                <a:gd name="T28" fmla="*/ 0 w 1874"/>
                <a:gd name="T29" fmla="*/ 0 h 1593"/>
                <a:gd name="T30" fmla="*/ 0 w 1874"/>
                <a:gd name="T31" fmla="*/ 0 h 1593"/>
                <a:gd name="T32" fmla="*/ 0 w 1874"/>
                <a:gd name="T33" fmla="*/ 0 h 1593"/>
                <a:gd name="T34" fmla="*/ 0 w 1874"/>
                <a:gd name="T35" fmla="*/ 0 h 1593"/>
                <a:gd name="T36" fmla="*/ 0 w 1874"/>
                <a:gd name="T37" fmla="*/ 0 h 1593"/>
                <a:gd name="T38" fmla="*/ 0 w 1874"/>
                <a:gd name="T39" fmla="*/ 0 h 1593"/>
                <a:gd name="T40" fmla="*/ 0 w 1874"/>
                <a:gd name="T41" fmla="*/ 0 h 1593"/>
                <a:gd name="T42" fmla="*/ 0 w 1874"/>
                <a:gd name="T43" fmla="*/ 0 h 1593"/>
                <a:gd name="T44" fmla="*/ 0 w 1874"/>
                <a:gd name="T45" fmla="*/ 0 h 1593"/>
                <a:gd name="T46" fmla="*/ 0 w 1874"/>
                <a:gd name="T47" fmla="*/ 0 h 1593"/>
                <a:gd name="T48" fmla="*/ 0 w 1874"/>
                <a:gd name="T49" fmla="*/ 0 h 1593"/>
                <a:gd name="T50" fmla="*/ 0 w 1874"/>
                <a:gd name="T51" fmla="*/ 0 h 1593"/>
                <a:gd name="T52" fmla="*/ 0 w 1874"/>
                <a:gd name="T53" fmla="*/ 0 h 1593"/>
                <a:gd name="T54" fmla="*/ 0 w 1874"/>
                <a:gd name="T55" fmla="*/ 0 h 1593"/>
                <a:gd name="T56" fmla="*/ 0 w 1874"/>
                <a:gd name="T57" fmla="*/ 0 h 1593"/>
                <a:gd name="T58" fmla="*/ 0 w 1874"/>
                <a:gd name="T59" fmla="*/ 0 h 1593"/>
                <a:gd name="T60" fmla="*/ 0 w 1874"/>
                <a:gd name="T61" fmla="*/ 0 h 1593"/>
                <a:gd name="T62" fmla="*/ 0 w 1874"/>
                <a:gd name="T63" fmla="*/ 0 h 1593"/>
                <a:gd name="T64" fmla="*/ 0 w 1874"/>
                <a:gd name="T65" fmla="*/ 0 h 1593"/>
                <a:gd name="T66" fmla="*/ 0 w 1874"/>
                <a:gd name="T67" fmla="*/ 0 h 1593"/>
                <a:gd name="T68" fmla="*/ 0 w 1874"/>
                <a:gd name="T69" fmla="*/ 0 h 1593"/>
                <a:gd name="T70" fmla="*/ 0 w 1874"/>
                <a:gd name="T71" fmla="*/ 0 h 1593"/>
                <a:gd name="T72" fmla="*/ 0 w 1874"/>
                <a:gd name="T73" fmla="*/ 0 h 1593"/>
                <a:gd name="T74" fmla="*/ 0 w 1874"/>
                <a:gd name="T75" fmla="*/ 0 h 1593"/>
                <a:gd name="T76" fmla="*/ 0 w 1874"/>
                <a:gd name="T77" fmla="*/ 0 h 1593"/>
                <a:gd name="T78" fmla="*/ 0 w 1874"/>
                <a:gd name="T79" fmla="*/ 0 h 1593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874"/>
                <a:gd name="T121" fmla="*/ 0 h 1593"/>
                <a:gd name="T122" fmla="*/ 1874 w 1874"/>
                <a:gd name="T123" fmla="*/ 1593 h 1593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874" h="1593">
                  <a:moveTo>
                    <a:pt x="927" y="76"/>
                  </a:moveTo>
                  <a:cubicBezTo>
                    <a:pt x="911" y="80"/>
                    <a:pt x="911" y="92"/>
                    <a:pt x="891" y="96"/>
                  </a:cubicBezTo>
                  <a:cubicBezTo>
                    <a:pt x="883" y="100"/>
                    <a:pt x="867" y="104"/>
                    <a:pt x="867" y="104"/>
                  </a:cubicBezTo>
                  <a:cubicBezTo>
                    <a:pt x="843" y="140"/>
                    <a:pt x="799" y="112"/>
                    <a:pt x="767" y="100"/>
                  </a:cubicBezTo>
                  <a:cubicBezTo>
                    <a:pt x="759" y="80"/>
                    <a:pt x="751" y="44"/>
                    <a:pt x="735" y="28"/>
                  </a:cubicBezTo>
                  <a:cubicBezTo>
                    <a:pt x="723" y="16"/>
                    <a:pt x="687" y="0"/>
                    <a:pt x="687" y="0"/>
                  </a:cubicBezTo>
                  <a:cubicBezTo>
                    <a:pt x="543" y="0"/>
                    <a:pt x="595" y="16"/>
                    <a:pt x="507" y="44"/>
                  </a:cubicBezTo>
                  <a:cubicBezTo>
                    <a:pt x="499" y="68"/>
                    <a:pt x="451" y="108"/>
                    <a:pt x="423" y="112"/>
                  </a:cubicBezTo>
                  <a:cubicBezTo>
                    <a:pt x="403" y="116"/>
                    <a:pt x="363" y="128"/>
                    <a:pt x="363" y="128"/>
                  </a:cubicBezTo>
                  <a:cubicBezTo>
                    <a:pt x="355" y="144"/>
                    <a:pt x="323" y="168"/>
                    <a:pt x="323" y="168"/>
                  </a:cubicBezTo>
                  <a:cubicBezTo>
                    <a:pt x="307" y="192"/>
                    <a:pt x="295" y="192"/>
                    <a:pt x="267" y="200"/>
                  </a:cubicBezTo>
                  <a:cubicBezTo>
                    <a:pt x="255" y="216"/>
                    <a:pt x="247" y="212"/>
                    <a:pt x="231" y="224"/>
                  </a:cubicBezTo>
                  <a:cubicBezTo>
                    <a:pt x="219" y="260"/>
                    <a:pt x="175" y="260"/>
                    <a:pt x="143" y="264"/>
                  </a:cubicBezTo>
                  <a:cubicBezTo>
                    <a:pt x="115" y="272"/>
                    <a:pt x="123" y="276"/>
                    <a:pt x="99" y="292"/>
                  </a:cubicBezTo>
                  <a:cubicBezTo>
                    <a:pt x="91" y="308"/>
                    <a:pt x="67" y="328"/>
                    <a:pt x="51" y="332"/>
                  </a:cubicBezTo>
                  <a:cubicBezTo>
                    <a:pt x="47" y="348"/>
                    <a:pt x="35" y="380"/>
                    <a:pt x="35" y="380"/>
                  </a:cubicBezTo>
                  <a:cubicBezTo>
                    <a:pt x="43" y="404"/>
                    <a:pt x="56" y="405"/>
                    <a:pt x="60" y="433"/>
                  </a:cubicBezTo>
                  <a:cubicBezTo>
                    <a:pt x="60" y="453"/>
                    <a:pt x="49" y="557"/>
                    <a:pt x="36" y="595"/>
                  </a:cubicBezTo>
                  <a:cubicBezTo>
                    <a:pt x="0" y="608"/>
                    <a:pt x="22" y="637"/>
                    <a:pt x="59" y="648"/>
                  </a:cubicBezTo>
                  <a:cubicBezTo>
                    <a:pt x="75" y="668"/>
                    <a:pt x="108" y="679"/>
                    <a:pt x="123" y="716"/>
                  </a:cubicBezTo>
                  <a:cubicBezTo>
                    <a:pt x="120" y="736"/>
                    <a:pt x="104" y="764"/>
                    <a:pt x="100" y="788"/>
                  </a:cubicBezTo>
                  <a:cubicBezTo>
                    <a:pt x="114" y="815"/>
                    <a:pt x="122" y="825"/>
                    <a:pt x="130" y="853"/>
                  </a:cubicBezTo>
                  <a:cubicBezTo>
                    <a:pt x="126" y="885"/>
                    <a:pt x="131" y="890"/>
                    <a:pt x="123" y="914"/>
                  </a:cubicBezTo>
                  <a:cubicBezTo>
                    <a:pt x="132" y="935"/>
                    <a:pt x="121" y="948"/>
                    <a:pt x="129" y="968"/>
                  </a:cubicBezTo>
                  <a:cubicBezTo>
                    <a:pt x="133" y="1016"/>
                    <a:pt x="143" y="1012"/>
                    <a:pt x="191" y="1016"/>
                  </a:cubicBezTo>
                  <a:cubicBezTo>
                    <a:pt x="199" y="1020"/>
                    <a:pt x="216" y="1011"/>
                    <a:pt x="216" y="1019"/>
                  </a:cubicBezTo>
                  <a:cubicBezTo>
                    <a:pt x="216" y="1027"/>
                    <a:pt x="220" y="1037"/>
                    <a:pt x="207" y="1048"/>
                  </a:cubicBezTo>
                  <a:cubicBezTo>
                    <a:pt x="195" y="1057"/>
                    <a:pt x="190" y="1070"/>
                    <a:pt x="190" y="1070"/>
                  </a:cubicBezTo>
                  <a:cubicBezTo>
                    <a:pt x="194" y="1106"/>
                    <a:pt x="196" y="1100"/>
                    <a:pt x="213" y="1114"/>
                  </a:cubicBezTo>
                  <a:cubicBezTo>
                    <a:pt x="221" y="1126"/>
                    <a:pt x="214" y="1157"/>
                    <a:pt x="220" y="1166"/>
                  </a:cubicBezTo>
                  <a:cubicBezTo>
                    <a:pt x="226" y="1175"/>
                    <a:pt x="231" y="1162"/>
                    <a:pt x="252" y="1171"/>
                  </a:cubicBezTo>
                  <a:cubicBezTo>
                    <a:pt x="273" y="1180"/>
                    <a:pt x="304" y="1216"/>
                    <a:pt x="349" y="1223"/>
                  </a:cubicBezTo>
                  <a:cubicBezTo>
                    <a:pt x="385" y="1233"/>
                    <a:pt x="450" y="1215"/>
                    <a:pt x="471" y="1232"/>
                  </a:cubicBezTo>
                  <a:cubicBezTo>
                    <a:pt x="499" y="1276"/>
                    <a:pt x="431" y="1300"/>
                    <a:pt x="475" y="1328"/>
                  </a:cubicBezTo>
                  <a:cubicBezTo>
                    <a:pt x="489" y="1355"/>
                    <a:pt x="505" y="1352"/>
                    <a:pt x="528" y="1390"/>
                  </a:cubicBezTo>
                  <a:cubicBezTo>
                    <a:pt x="540" y="1396"/>
                    <a:pt x="552" y="1386"/>
                    <a:pt x="558" y="1375"/>
                  </a:cubicBezTo>
                  <a:cubicBezTo>
                    <a:pt x="564" y="1364"/>
                    <a:pt x="594" y="1355"/>
                    <a:pt x="567" y="1324"/>
                  </a:cubicBezTo>
                  <a:cubicBezTo>
                    <a:pt x="589" y="1310"/>
                    <a:pt x="592" y="1313"/>
                    <a:pt x="607" y="1312"/>
                  </a:cubicBezTo>
                  <a:cubicBezTo>
                    <a:pt x="635" y="1316"/>
                    <a:pt x="635" y="1330"/>
                    <a:pt x="663" y="1334"/>
                  </a:cubicBezTo>
                  <a:cubicBezTo>
                    <a:pt x="671" y="1338"/>
                    <a:pt x="689" y="1320"/>
                    <a:pt x="697" y="1324"/>
                  </a:cubicBezTo>
                  <a:cubicBezTo>
                    <a:pt x="709" y="1321"/>
                    <a:pt x="724" y="1336"/>
                    <a:pt x="724" y="1336"/>
                  </a:cubicBezTo>
                  <a:cubicBezTo>
                    <a:pt x="732" y="1344"/>
                    <a:pt x="696" y="1363"/>
                    <a:pt x="718" y="1391"/>
                  </a:cubicBezTo>
                  <a:cubicBezTo>
                    <a:pt x="763" y="1405"/>
                    <a:pt x="828" y="1397"/>
                    <a:pt x="875" y="1408"/>
                  </a:cubicBezTo>
                  <a:cubicBezTo>
                    <a:pt x="903" y="1448"/>
                    <a:pt x="910" y="1469"/>
                    <a:pt x="943" y="1486"/>
                  </a:cubicBezTo>
                  <a:cubicBezTo>
                    <a:pt x="951" y="1502"/>
                    <a:pt x="958" y="1508"/>
                    <a:pt x="974" y="1516"/>
                  </a:cubicBezTo>
                  <a:cubicBezTo>
                    <a:pt x="978" y="1532"/>
                    <a:pt x="1000" y="1540"/>
                    <a:pt x="1014" y="1549"/>
                  </a:cubicBezTo>
                  <a:cubicBezTo>
                    <a:pt x="1048" y="1522"/>
                    <a:pt x="1035" y="1523"/>
                    <a:pt x="1059" y="1487"/>
                  </a:cubicBezTo>
                  <a:cubicBezTo>
                    <a:pt x="1072" y="1487"/>
                    <a:pt x="1080" y="1511"/>
                    <a:pt x="1118" y="1536"/>
                  </a:cubicBezTo>
                  <a:cubicBezTo>
                    <a:pt x="1140" y="1552"/>
                    <a:pt x="1145" y="1569"/>
                    <a:pt x="1165" y="1577"/>
                  </a:cubicBezTo>
                  <a:cubicBezTo>
                    <a:pt x="1181" y="1593"/>
                    <a:pt x="1168" y="1577"/>
                    <a:pt x="1206" y="1580"/>
                  </a:cubicBezTo>
                  <a:cubicBezTo>
                    <a:pt x="1218" y="1547"/>
                    <a:pt x="1215" y="1522"/>
                    <a:pt x="1308" y="1516"/>
                  </a:cubicBezTo>
                  <a:cubicBezTo>
                    <a:pt x="1328" y="1520"/>
                    <a:pt x="1351" y="1535"/>
                    <a:pt x="1351" y="1535"/>
                  </a:cubicBezTo>
                  <a:cubicBezTo>
                    <a:pt x="1366" y="1516"/>
                    <a:pt x="1396" y="1502"/>
                    <a:pt x="1478" y="1480"/>
                  </a:cubicBezTo>
                  <a:cubicBezTo>
                    <a:pt x="1502" y="1484"/>
                    <a:pt x="1519" y="1487"/>
                    <a:pt x="1543" y="1495"/>
                  </a:cubicBezTo>
                  <a:cubicBezTo>
                    <a:pt x="1579" y="1513"/>
                    <a:pt x="1626" y="1519"/>
                    <a:pt x="1682" y="1540"/>
                  </a:cubicBezTo>
                  <a:cubicBezTo>
                    <a:pt x="1694" y="1540"/>
                    <a:pt x="1710" y="1548"/>
                    <a:pt x="1714" y="1536"/>
                  </a:cubicBezTo>
                  <a:cubicBezTo>
                    <a:pt x="1718" y="1520"/>
                    <a:pt x="1694" y="1456"/>
                    <a:pt x="1682" y="1436"/>
                  </a:cubicBezTo>
                  <a:cubicBezTo>
                    <a:pt x="1674" y="1396"/>
                    <a:pt x="1674" y="1380"/>
                    <a:pt x="1706" y="1360"/>
                  </a:cubicBezTo>
                  <a:cubicBezTo>
                    <a:pt x="1714" y="1348"/>
                    <a:pt x="1722" y="1324"/>
                    <a:pt x="1722" y="1324"/>
                  </a:cubicBezTo>
                  <a:cubicBezTo>
                    <a:pt x="1726" y="1284"/>
                    <a:pt x="1726" y="1236"/>
                    <a:pt x="1770" y="1220"/>
                  </a:cubicBezTo>
                  <a:cubicBezTo>
                    <a:pt x="1802" y="1172"/>
                    <a:pt x="1842" y="1144"/>
                    <a:pt x="1874" y="1096"/>
                  </a:cubicBezTo>
                  <a:cubicBezTo>
                    <a:pt x="1874" y="1032"/>
                    <a:pt x="1874" y="1016"/>
                    <a:pt x="1862" y="980"/>
                  </a:cubicBezTo>
                  <a:cubicBezTo>
                    <a:pt x="1870" y="952"/>
                    <a:pt x="1846" y="944"/>
                    <a:pt x="1822" y="940"/>
                  </a:cubicBezTo>
                  <a:cubicBezTo>
                    <a:pt x="1814" y="916"/>
                    <a:pt x="1810" y="912"/>
                    <a:pt x="1790" y="896"/>
                  </a:cubicBezTo>
                  <a:cubicBezTo>
                    <a:pt x="1778" y="888"/>
                    <a:pt x="1754" y="872"/>
                    <a:pt x="1754" y="872"/>
                  </a:cubicBezTo>
                  <a:cubicBezTo>
                    <a:pt x="1742" y="812"/>
                    <a:pt x="1722" y="780"/>
                    <a:pt x="1714" y="744"/>
                  </a:cubicBezTo>
                  <a:cubicBezTo>
                    <a:pt x="1726" y="644"/>
                    <a:pt x="1726" y="632"/>
                    <a:pt x="1630" y="624"/>
                  </a:cubicBezTo>
                  <a:cubicBezTo>
                    <a:pt x="1630" y="600"/>
                    <a:pt x="1610" y="564"/>
                    <a:pt x="1634" y="548"/>
                  </a:cubicBezTo>
                  <a:cubicBezTo>
                    <a:pt x="1654" y="520"/>
                    <a:pt x="1666" y="496"/>
                    <a:pt x="1702" y="484"/>
                  </a:cubicBezTo>
                  <a:cubicBezTo>
                    <a:pt x="1710" y="476"/>
                    <a:pt x="1722" y="448"/>
                    <a:pt x="1722" y="448"/>
                  </a:cubicBezTo>
                  <a:cubicBezTo>
                    <a:pt x="1722" y="440"/>
                    <a:pt x="1722" y="412"/>
                    <a:pt x="1714" y="400"/>
                  </a:cubicBezTo>
                  <a:cubicBezTo>
                    <a:pt x="1710" y="392"/>
                    <a:pt x="1698" y="376"/>
                    <a:pt x="1698" y="376"/>
                  </a:cubicBezTo>
                  <a:cubicBezTo>
                    <a:pt x="1694" y="368"/>
                    <a:pt x="1690" y="356"/>
                    <a:pt x="1674" y="328"/>
                  </a:cubicBezTo>
                  <a:cubicBezTo>
                    <a:pt x="1662" y="300"/>
                    <a:pt x="1634" y="252"/>
                    <a:pt x="1618" y="216"/>
                  </a:cubicBezTo>
                  <a:cubicBezTo>
                    <a:pt x="1602" y="192"/>
                    <a:pt x="1614" y="108"/>
                    <a:pt x="1586" y="100"/>
                  </a:cubicBezTo>
                  <a:cubicBezTo>
                    <a:pt x="1582" y="76"/>
                    <a:pt x="1554" y="52"/>
                    <a:pt x="1530" y="44"/>
                  </a:cubicBezTo>
                  <a:cubicBezTo>
                    <a:pt x="1510" y="20"/>
                    <a:pt x="1502" y="24"/>
                    <a:pt x="1466" y="20"/>
                  </a:cubicBezTo>
                  <a:cubicBezTo>
                    <a:pt x="1446" y="16"/>
                    <a:pt x="1414" y="16"/>
                    <a:pt x="1394" y="20"/>
                  </a:cubicBezTo>
                  <a:cubicBezTo>
                    <a:pt x="1354" y="40"/>
                    <a:pt x="1318" y="52"/>
                    <a:pt x="1286" y="56"/>
                  </a:cubicBezTo>
                  <a:cubicBezTo>
                    <a:pt x="1234" y="64"/>
                    <a:pt x="1150" y="76"/>
                    <a:pt x="1090" y="80"/>
                  </a:cubicBezTo>
                  <a:cubicBezTo>
                    <a:pt x="1030" y="84"/>
                    <a:pt x="994" y="80"/>
                    <a:pt x="927" y="76"/>
                  </a:cubicBez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  <p:sp>
          <p:nvSpPr>
            <p:cNvPr id="288" name="Freeform 99"/>
            <p:cNvSpPr>
              <a:spLocks noChangeAspect="1"/>
            </p:cNvSpPr>
            <p:nvPr/>
          </p:nvSpPr>
          <p:spPr bwMode="auto">
            <a:xfrm>
              <a:off x="2645" y="2889"/>
              <a:ext cx="321" cy="178"/>
            </a:xfrm>
            <a:custGeom>
              <a:avLst/>
              <a:gdLst>
                <a:gd name="T0" fmla="*/ 0 w 1271"/>
                <a:gd name="T1" fmla="*/ 0 h 703"/>
                <a:gd name="T2" fmla="*/ 0 w 1271"/>
                <a:gd name="T3" fmla="*/ 0 h 703"/>
                <a:gd name="T4" fmla="*/ 0 w 1271"/>
                <a:gd name="T5" fmla="*/ 0 h 703"/>
                <a:gd name="T6" fmla="*/ 0 w 1271"/>
                <a:gd name="T7" fmla="*/ 0 h 703"/>
                <a:gd name="T8" fmla="*/ 0 w 1271"/>
                <a:gd name="T9" fmla="*/ 0 h 703"/>
                <a:gd name="T10" fmla="*/ 0 w 1271"/>
                <a:gd name="T11" fmla="*/ 0 h 703"/>
                <a:gd name="T12" fmla="*/ 0 w 1271"/>
                <a:gd name="T13" fmla="*/ 0 h 703"/>
                <a:gd name="T14" fmla="*/ 0 w 1271"/>
                <a:gd name="T15" fmla="*/ 0 h 703"/>
                <a:gd name="T16" fmla="*/ 0 w 1271"/>
                <a:gd name="T17" fmla="*/ 0 h 703"/>
                <a:gd name="T18" fmla="*/ 0 w 1271"/>
                <a:gd name="T19" fmla="*/ 0 h 703"/>
                <a:gd name="T20" fmla="*/ 0 w 1271"/>
                <a:gd name="T21" fmla="*/ 0 h 703"/>
                <a:gd name="T22" fmla="*/ 0 w 1271"/>
                <a:gd name="T23" fmla="*/ 0 h 703"/>
                <a:gd name="T24" fmla="*/ 0 w 1271"/>
                <a:gd name="T25" fmla="*/ 0 h 703"/>
                <a:gd name="T26" fmla="*/ 0 w 1271"/>
                <a:gd name="T27" fmla="*/ 0 h 703"/>
                <a:gd name="T28" fmla="*/ 0 w 1271"/>
                <a:gd name="T29" fmla="*/ 0 h 703"/>
                <a:gd name="T30" fmla="*/ 0 w 1271"/>
                <a:gd name="T31" fmla="*/ 0 h 703"/>
                <a:gd name="T32" fmla="*/ 0 w 1271"/>
                <a:gd name="T33" fmla="*/ 0 h 703"/>
                <a:gd name="T34" fmla="*/ 0 w 1271"/>
                <a:gd name="T35" fmla="*/ 0 h 703"/>
                <a:gd name="T36" fmla="*/ 0 w 1271"/>
                <a:gd name="T37" fmla="*/ 0 h 703"/>
                <a:gd name="T38" fmla="*/ 0 w 1271"/>
                <a:gd name="T39" fmla="*/ 0 h 703"/>
                <a:gd name="T40" fmla="*/ 0 w 1271"/>
                <a:gd name="T41" fmla="*/ 0 h 703"/>
                <a:gd name="T42" fmla="*/ 0 w 1271"/>
                <a:gd name="T43" fmla="*/ 0 h 703"/>
                <a:gd name="T44" fmla="*/ 0 w 1271"/>
                <a:gd name="T45" fmla="*/ 0 h 703"/>
                <a:gd name="T46" fmla="*/ 0 w 1271"/>
                <a:gd name="T47" fmla="*/ 0 h 703"/>
                <a:gd name="T48" fmla="*/ 0 w 1271"/>
                <a:gd name="T49" fmla="*/ 0 h 703"/>
                <a:gd name="T50" fmla="*/ 0 w 1271"/>
                <a:gd name="T51" fmla="*/ 0 h 703"/>
                <a:gd name="T52" fmla="*/ 0 w 1271"/>
                <a:gd name="T53" fmla="*/ 0 h 703"/>
                <a:gd name="T54" fmla="*/ 0 w 1271"/>
                <a:gd name="T55" fmla="*/ 0 h 703"/>
                <a:gd name="T56" fmla="*/ 0 w 1271"/>
                <a:gd name="T57" fmla="*/ 0 h 703"/>
                <a:gd name="T58" fmla="*/ 0 w 1271"/>
                <a:gd name="T59" fmla="*/ 0 h 703"/>
                <a:gd name="T60" fmla="*/ 0 w 1271"/>
                <a:gd name="T61" fmla="*/ 0 h 703"/>
                <a:gd name="T62" fmla="*/ 0 w 1271"/>
                <a:gd name="T63" fmla="*/ 0 h 703"/>
                <a:gd name="T64" fmla="*/ 0 w 1271"/>
                <a:gd name="T65" fmla="*/ 0 h 703"/>
                <a:gd name="T66" fmla="*/ 0 w 1271"/>
                <a:gd name="T67" fmla="*/ 0 h 703"/>
                <a:gd name="T68" fmla="*/ 0 w 1271"/>
                <a:gd name="T69" fmla="*/ 0 h 703"/>
                <a:gd name="T70" fmla="*/ 0 w 1271"/>
                <a:gd name="T71" fmla="*/ 0 h 703"/>
                <a:gd name="T72" fmla="*/ 0 w 1271"/>
                <a:gd name="T73" fmla="*/ 0 h 703"/>
                <a:gd name="T74" fmla="*/ 0 w 1271"/>
                <a:gd name="T75" fmla="*/ 0 h 703"/>
                <a:gd name="T76" fmla="*/ 0 w 1271"/>
                <a:gd name="T77" fmla="*/ 0 h 703"/>
                <a:gd name="T78" fmla="*/ 0 w 1271"/>
                <a:gd name="T79" fmla="*/ 0 h 703"/>
                <a:gd name="T80" fmla="*/ 0 w 1271"/>
                <a:gd name="T81" fmla="*/ 0 h 703"/>
                <a:gd name="T82" fmla="*/ 0 w 1271"/>
                <a:gd name="T83" fmla="*/ 0 h 703"/>
                <a:gd name="T84" fmla="*/ 0 w 1271"/>
                <a:gd name="T85" fmla="*/ 0 h 703"/>
                <a:gd name="T86" fmla="*/ 0 w 1271"/>
                <a:gd name="T87" fmla="*/ 0 h 703"/>
                <a:gd name="T88" fmla="*/ 0 w 1271"/>
                <a:gd name="T89" fmla="*/ 0 h 703"/>
                <a:gd name="T90" fmla="*/ 0 w 1271"/>
                <a:gd name="T91" fmla="*/ 0 h 703"/>
                <a:gd name="T92" fmla="*/ 0 w 1271"/>
                <a:gd name="T93" fmla="*/ 0 h 703"/>
                <a:gd name="T94" fmla="*/ 0 w 1271"/>
                <a:gd name="T95" fmla="*/ 0 h 703"/>
                <a:gd name="T96" fmla="*/ 0 w 1271"/>
                <a:gd name="T97" fmla="*/ 0 h 703"/>
                <a:gd name="T98" fmla="*/ 0 w 1271"/>
                <a:gd name="T99" fmla="*/ 0 h 703"/>
                <a:gd name="T100" fmla="*/ 0 w 1271"/>
                <a:gd name="T101" fmla="*/ 0 h 703"/>
                <a:gd name="T102" fmla="*/ 0 w 1271"/>
                <a:gd name="T103" fmla="*/ 0 h 703"/>
                <a:gd name="T104" fmla="*/ 0 w 1271"/>
                <a:gd name="T105" fmla="*/ 0 h 703"/>
                <a:gd name="T106" fmla="*/ 0 w 1271"/>
                <a:gd name="T107" fmla="*/ 0 h 703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271"/>
                <a:gd name="T163" fmla="*/ 0 h 703"/>
                <a:gd name="T164" fmla="*/ 1271 w 1271"/>
                <a:gd name="T165" fmla="*/ 703 h 703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271" h="703">
                  <a:moveTo>
                    <a:pt x="939" y="620"/>
                  </a:moveTo>
                  <a:cubicBezTo>
                    <a:pt x="947" y="613"/>
                    <a:pt x="939" y="597"/>
                    <a:pt x="954" y="592"/>
                  </a:cubicBezTo>
                  <a:cubicBezTo>
                    <a:pt x="969" y="587"/>
                    <a:pt x="1007" y="598"/>
                    <a:pt x="1032" y="589"/>
                  </a:cubicBezTo>
                  <a:cubicBezTo>
                    <a:pt x="1064" y="581"/>
                    <a:pt x="1084" y="547"/>
                    <a:pt x="1104" y="539"/>
                  </a:cubicBezTo>
                  <a:cubicBezTo>
                    <a:pt x="1111" y="526"/>
                    <a:pt x="1103" y="521"/>
                    <a:pt x="1114" y="503"/>
                  </a:cubicBezTo>
                  <a:cubicBezTo>
                    <a:pt x="1135" y="490"/>
                    <a:pt x="1143" y="452"/>
                    <a:pt x="1171" y="431"/>
                  </a:cubicBezTo>
                  <a:cubicBezTo>
                    <a:pt x="1183" y="391"/>
                    <a:pt x="1206" y="371"/>
                    <a:pt x="1239" y="359"/>
                  </a:cubicBezTo>
                  <a:cubicBezTo>
                    <a:pt x="1270" y="340"/>
                    <a:pt x="1271" y="360"/>
                    <a:pt x="1251" y="340"/>
                  </a:cubicBezTo>
                  <a:cubicBezTo>
                    <a:pt x="1243" y="320"/>
                    <a:pt x="1235" y="312"/>
                    <a:pt x="1215" y="304"/>
                  </a:cubicBezTo>
                  <a:cubicBezTo>
                    <a:pt x="1207" y="288"/>
                    <a:pt x="1191" y="256"/>
                    <a:pt x="1175" y="248"/>
                  </a:cubicBezTo>
                  <a:cubicBezTo>
                    <a:pt x="1135" y="224"/>
                    <a:pt x="1083" y="248"/>
                    <a:pt x="1019" y="228"/>
                  </a:cubicBezTo>
                  <a:cubicBezTo>
                    <a:pt x="1015" y="220"/>
                    <a:pt x="1003" y="208"/>
                    <a:pt x="1007" y="200"/>
                  </a:cubicBezTo>
                  <a:cubicBezTo>
                    <a:pt x="1011" y="192"/>
                    <a:pt x="1023" y="176"/>
                    <a:pt x="1023" y="176"/>
                  </a:cubicBezTo>
                  <a:cubicBezTo>
                    <a:pt x="1015" y="144"/>
                    <a:pt x="987" y="164"/>
                    <a:pt x="963" y="172"/>
                  </a:cubicBezTo>
                  <a:cubicBezTo>
                    <a:pt x="947" y="164"/>
                    <a:pt x="931" y="160"/>
                    <a:pt x="915" y="148"/>
                  </a:cubicBezTo>
                  <a:cubicBezTo>
                    <a:pt x="899" y="148"/>
                    <a:pt x="875" y="152"/>
                    <a:pt x="867" y="160"/>
                  </a:cubicBezTo>
                  <a:cubicBezTo>
                    <a:pt x="887" y="188"/>
                    <a:pt x="875" y="196"/>
                    <a:pt x="855" y="208"/>
                  </a:cubicBezTo>
                  <a:cubicBezTo>
                    <a:pt x="851" y="224"/>
                    <a:pt x="843" y="228"/>
                    <a:pt x="827" y="224"/>
                  </a:cubicBezTo>
                  <a:cubicBezTo>
                    <a:pt x="815" y="208"/>
                    <a:pt x="799" y="188"/>
                    <a:pt x="779" y="176"/>
                  </a:cubicBezTo>
                  <a:cubicBezTo>
                    <a:pt x="775" y="164"/>
                    <a:pt x="759" y="140"/>
                    <a:pt x="759" y="140"/>
                  </a:cubicBezTo>
                  <a:cubicBezTo>
                    <a:pt x="803" y="40"/>
                    <a:pt x="751" y="68"/>
                    <a:pt x="679" y="64"/>
                  </a:cubicBezTo>
                  <a:cubicBezTo>
                    <a:pt x="651" y="56"/>
                    <a:pt x="611" y="52"/>
                    <a:pt x="587" y="32"/>
                  </a:cubicBezTo>
                  <a:cubicBezTo>
                    <a:pt x="575" y="24"/>
                    <a:pt x="551" y="4"/>
                    <a:pt x="551" y="4"/>
                  </a:cubicBezTo>
                  <a:cubicBezTo>
                    <a:pt x="540" y="0"/>
                    <a:pt x="534" y="6"/>
                    <a:pt x="522" y="10"/>
                  </a:cubicBezTo>
                  <a:cubicBezTo>
                    <a:pt x="510" y="14"/>
                    <a:pt x="491" y="25"/>
                    <a:pt x="479" y="28"/>
                  </a:cubicBezTo>
                  <a:cubicBezTo>
                    <a:pt x="475" y="32"/>
                    <a:pt x="447" y="31"/>
                    <a:pt x="447" y="31"/>
                  </a:cubicBezTo>
                  <a:cubicBezTo>
                    <a:pt x="427" y="23"/>
                    <a:pt x="408" y="25"/>
                    <a:pt x="388" y="17"/>
                  </a:cubicBezTo>
                  <a:cubicBezTo>
                    <a:pt x="364" y="43"/>
                    <a:pt x="369" y="29"/>
                    <a:pt x="339" y="76"/>
                  </a:cubicBezTo>
                  <a:cubicBezTo>
                    <a:pt x="285" y="88"/>
                    <a:pt x="301" y="89"/>
                    <a:pt x="289" y="100"/>
                  </a:cubicBezTo>
                  <a:cubicBezTo>
                    <a:pt x="263" y="111"/>
                    <a:pt x="222" y="125"/>
                    <a:pt x="183" y="142"/>
                  </a:cubicBezTo>
                  <a:cubicBezTo>
                    <a:pt x="153" y="158"/>
                    <a:pt x="123" y="182"/>
                    <a:pt x="102" y="193"/>
                  </a:cubicBezTo>
                  <a:cubicBezTo>
                    <a:pt x="81" y="204"/>
                    <a:pt x="70" y="194"/>
                    <a:pt x="58" y="211"/>
                  </a:cubicBezTo>
                  <a:cubicBezTo>
                    <a:pt x="18" y="223"/>
                    <a:pt x="13" y="221"/>
                    <a:pt x="0" y="250"/>
                  </a:cubicBezTo>
                  <a:cubicBezTo>
                    <a:pt x="4" y="286"/>
                    <a:pt x="10" y="283"/>
                    <a:pt x="34" y="299"/>
                  </a:cubicBezTo>
                  <a:cubicBezTo>
                    <a:pt x="60" y="314"/>
                    <a:pt x="55" y="328"/>
                    <a:pt x="63" y="352"/>
                  </a:cubicBezTo>
                  <a:cubicBezTo>
                    <a:pt x="59" y="380"/>
                    <a:pt x="60" y="407"/>
                    <a:pt x="83" y="428"/>
                  </a:cubicBezTo>
                  <a:cubicBezTo>
                    <a:pt x="99" y="454"/>
                    <a:pt x="126" y="473"/>
                    <a:pt x="142" y="485"/>
                  </a:cubicBezTo>
                  <a:cubicBezTo>
                    <a:pt x="162" y="513"/>
                    <a:pt x="178" y="529"/>
                    <a:pt x="207" y="541"/>
                  </a:cubicBezTo>
                  <a:cubicBezTo>
                    <a:pt x="223" y="553"/>
                    <a:pt x="212" y="554"/>
                    <a:pt x="228" y="566"/>
                  </a:cubicBezTo>
                  <a:cubicBezTo>
                    <a:pt x="236" y="573"/>
                    <a:pt x="244" y="580"/>
                    <a:pt x="253" y="593"/>
                  </a:cubicBezTo>
                  <a:cubicBezTo>
                    <a:pt x="265" y="598"/>
                    <a:pt x="285" y="590"/>
                    <a:pt x="301" y="604"/>
                  </a:cubicBezTo>
                  <a:cubicBezTo>
                    <a:pt x="325" y="628"/>
                    <a:pt x="325" y="673"/>
                    <a:pt x="346" y="688"/>
                  </a:cubicBezTo>
                  <a:cubicBezTo>
                    <a:pt x="373" y="680"/>
                    <a:pt x="391" y="696"/>
                    <a:pt x="411" y="700"/>
                  </a:cubicBezTo>
                  <a:cubicBezTo>
                    <a:pt x="439" y="703"/>
                    <a:pt x="453" y="691"/>
                    <a:pt x="486" y="695"/>
                  </a:cubicBezTo>
                  <a:cubicBezTo>
                    <a:pt x="494" y="691"/>
                    <a:pt x="508" y="685"/>
                    <a:pt x="508" y="685"/>
                  </a:cubicBezTo>
                  <a:cubicBezTo>
                    <a:pt x="513" y="659"/>
                    <a:pt x="514" y="619"/>
                    <a:pt x="534" y="599"/>
                  </a:cubicBezTo>
                  <a:cubicBezTo>
                    <a:pt x="534" y="587"/>
                    <a:pt x="552" y="578"/>
                    <a:pt x="564" y="574"/>
                  </a:cubicBezTo>
                  <a:cubicBezTo>
                    <a:pt x="580" y="566"/>
                    <a:pt x="600" y="576"/>
                    <a:pt x="616" y="580"/>
                  </a:cubicBezTo>
                  <a:cubicBezTo>
                    <a:pt x="640" y="584"/>
                    <a:pt x="655" y="588"/>
                    <a:pt x="679" y="588"/>
                  </a:cubicBezTo>
                  <a:cubicBezTo>
                    <a:pt x="708" y="593"/>
                    <a:pt x="735" y="593"/>
                    <a:pt x="731" y="608"/>
                  </a:cubicBezTo>
                  <a:cubicBezTo>
                    <a:pt x="747" y="612"/>
                    <a:pt x="759" y="628"/>
                    <a:pt x="783" y="632"/>
                  </a:cubicBezTo>
                  <a:cubicBezTo>
                    <a:pt x="803" y="636"/>
                    <a:pt x="832" y="635"/>
                    <a:pt x="855" y="636"/>
                  </a:cubicBezTo>
                  <a:cubicBezTo>
                    <a:pt x="880" y="640"/>
                    <a:pt x="891" y="641"/>
                    <a:pt x="919" y="637"/>
                  </a:cubicBezTo>
                  <a:cubicBezTo>
                    <a:pt x="935" y="629"/>
                    <a:pt x="931" y="620"/>
                    <a:pt x="939" y="620"/>
                  </a:cubicBez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  <p:sp>
          <p:nvSpPr>
            <p:cNvPr id="289" name="Freeform 100"/>
            <p:cNvSpPr>
              <a:spLocks noChangeAspect="1"/>
            </p:cNvSpPr>
            <p:nvPr/>
          </p:nvSpPr>
          <p:spPr bwMode="auto">
            <a:xfrm>
              <a:off x="2520" y="3034"/>
              <a:ext cx="373" cy="192"/>
            </a:xfrm>
            <a:custGeom>
              <a:avLst/>
              <a:gdLst>
                <a:gd name="T0" fmla="*/ 0 w 1474"/>
                <a:gd name="T1" fmla="*/ 0 h 764"/>
                <a:gd name="T2" fmla="*/ 0 w 1474"/>
                <a:gd name="T3" fmla="*/ 0 h 764"/>
                <a:gd name="T4" fmla="*/ 0 w 1474"/>
                <a:gd name="T5" fmla="*/ 0 h 764"/>
                <a:gd name="T6" fmla="*/ 0 w 1474"/>
                <a:gd name="T7" fmla="*/ 0 h 764"/>
                <a:gd name="T8" fmla="*/ 0 w 1474"/>
                <a:gd name="T9" fmla="*/ 0 h 764"/>
                <a:gd name="T10" fmla="*/ 0 w 1474"/>
                <a:gd name="T11" fmla="*/ 0 h 764"/>
                <a:gd name="T12" fmla="*/ 0 w 1474"/>
                <a:gd name="T13" fmla="*/ 0 h 764"/>
                <a:gd name="T14" fmla="*/ 0 w 1474"/>
                <a:gd name="T15" fmla="*/ 0 h 764"/>
                <a:gd name="T16" fmla="*/ 0 w 1474"/>
                <a:gd name="T17" fmla="*/ 0 h 764"/>
                <a:gd name="T18" fmla="*/ 0 w 1474"/>
                <a:gd name="T19" fmla="*/ 0 h 764"/>
                <a:gd name="T20" fmla="*/ 0 w 1474"/>
                <a:gd name="T21" fmla="*/ 0 h 764"/>
                <a:gd name="T22" fmla="*/ 0 w 1474"/>
                <a:gd name="T23" fmla="*/ 0 h 764"/>
                <a:gd name="T24" fmla="*/ 0 w 1474"/>
                <a:gd name="T25" fmla="*/ 0 h 764"/>
                <a:gd name="T26" fmla="*/ 0 w 1474"/>
                <a:gd name="T27" fmla="*/ 0 h 764"/>
                <a:gd name="T28" fmla="*/ 0 w 1474"/>
                <a:gd name="T29" fmla="*/ 0 h 764"/>
                <a:gd name="T30" fmla="*/ 0 w 1474"/>
                <a:gd name="T31" fmla="*/ 0 h 764"/>
                <a:gd name="T32" fmla="*/ 0 w 1474"/>
                <a:gd name="T33" fmla="*/ 0 h 764"/>
                <a:gd name="T34" fmla="*/ 0 w 1474"/>
                <a:gd name="T35" fmla="*/ 0 h 764"/>
                <a:gd name="T36" fmla="*/ 0 w 1474"/>
                <a:gd name="T37" fmla="*/ 0 h 764"/>
                <a:gd name="T38" fmla="*/ 0 w 1474"/>
                <a:gd name="T39" fmla="*/ 0 h 764"/>
                <a:gd name="T40" fmla="*/ 0 w 1474"/>
                <a:gd name="T41" fmla="*/ 0 h 764"/>
                <a:gd name="T42" fmla="*/ 0 w 1474"/>
                <a:gd name="T43" fmla="*/ 0 h 764"/>
                <a:gd name="T44" fmla="*/ 0 w 1474"/>
                <a:gd name="T45" fmla="*/ 0 h 764"/>
                <a:gd name="T46" fmla="*/ 0 w 1474"/>
                <a:gd name="T47" fmla="*/ 0 h 764"/>
                <a:gd name="T48" fmla="*/ 0 w 1474"/>
                <a:gd name="T49" fmla="*/ 0 h 764"/>
                <a:gd name="T50" fmla="*/ 0 w 1474"/>
                <a:gd name="T51" fmla="*/ 0 h 764"/>
                <a:gd name="T52" fmla="*/ 0 w 1474"/>
                <a:gd name="T53" fmla="*/ 0 h 764"/>
                <a:gd name="T54" fmla="*/ 0 w 1474"/>
                <a:gd name="T55" fmla="*/ 0 h 764"/>
                <a:gd name="T56" fmla="*/ 0 w 1474"/>
                <a:gd name="T57" fmla="*/ 0 h 764"/>
                <a:gd name="T58" fmla="*/ 0 w 1474"/>
                <a:gd name="T59" fmla="*/ 0 h 764"/>
                <a:gd name="T60" fmla="*/ 0 w 1474"/>
                <a:gd name="T61" fmla="*/ 0 h 764"/>
                <a:gd name="T62" fmla="*/ 0 w 1474"/>
                <a:gd name="T63" fmla="*/ 0 h 764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474"/>
                <a:gd name="T97" fmla="*/ 0 h 764"/>
                <a:gd name="T98" fmla="*/ 1474 w 1474"/>
                <a:gd name="T99" fmla="*/ 764 h 764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474" h="764">
                  <a:moveTo>
                    <a:pt x="26" y="452"/>
                  </a:moveTo>
                  <a:cubicBezTo>
                    <a:pt x="39" y="438"/>
                    <a:pt x="59" y="467"/>
                    <a:pt x="72" y="471"/>
                  </a:cubicBezTo>
                  <a:cubicBezTo>
                    <a:pt x="85" y="475"/>
                    <a:pt x="98" y="472"/>
                    <a:pt x="107" y="477"/>
                  </a:cubicBezTo>
                  <a:cubicBezTo>
                    <a:pt x="115" y="489"/>
                    <a:pt x="125" y="501"/>
                    <a:pt x="125" y="501"/>
                  </a:cubicBezTo>
                  <a:cubicBezTo>
                    <a:pt x="129" y="517"/>
                    <a:pt x="142" y="510"/>
                    <a:pt x="150" y="522"/>
                  </a:cubicBezTo>
                  <a:cubicBezTo>
                    <a:pt x="201" y="522"/>
                    <a:pt x="192" y="498"/>
                    <a:pt x="200" y="474"/>
                  </a:cubicBezTo>
                  <a:cubicBezTo>
                    <a:pt x="212" y="466"/>
                    <a:pt x="214" y="468"/>
                    <a:pt x="230" y="464"/>
                  </a:cubicBezTo>
                  <a:cubicBezTo>
                    <a:pt x="262" y="476"/>
                    <a:pt x="294" y="500"/>
                    <a:pt x="321" y="497"/>
                  </a:cubicBezTo>
                  <a:cubicBezTo>
                    <a:pt x="345" y="489"/>
                    <a:pt x="354" y="483"/>
                    <a:pt x="374" y="479"/>
                  </a:cubicBezTo>
                  <a:cubicBezTo>
                    <a:pt x="383" y="462"/>
                    <a:pt x="396" y="440"/>
                    <a:pt x="420" y="428"/>
                  </a:cubicBezTo>
                  <a:cubicBezTo>
                    <a:pt x="444" y="416"/>
                    <a:pt x="493" y="408"/>
                    <a:pt x="519" y="407"/>
                  </a:cubicBezTo>
                  <a:cubicBezTo>
                    <a:pt x="545" y="406"/>
                    <a:pt x="537" y="402"/>
                    <a:pt x="574" y="420"/>
                  </a:cubicBezTo>
                  <a:cubicBezTo>
                    <a:pt x="594" y="410"/>
                    <a:pt x="591" y="407"/>
                    <a:pt x="602" y="407"/>
                  </a:cubicBezTo>
                  <a:cubicBezTo>
                    <a:pt x="613" y="407"/>
                    <a:pt x="625" y="412"/>
                    <a:pt x="639" y="420"/>
                  </a:cubicBezTo>
                  <a:cubicBezTo>
                    <a:pt x="656" y="425"/>
                    <a:pt x="674" y="450"/>
                    <a:pt x="684" y="455"/>
                  </a:cubicBezTo>
                  <a:cubicBezTo>
                    <a:pt x="694" y="460"/>
                    <a:pt x="696" y="455"/>
                    <a:pt x="699" y="450"/>
                  </a:cubicBezTo>
                  <a:cubicBezTo>
                    <a:pt x="695" y="438"/>
                    <a:pt x="709" y="438"/>
                    <a:pt x="701" y="426"/>
                  </a:cubicBezTo>
                  <a:cubicBezTo>
                    <a:pt x="696" y="408"/>
                    <a:pt x="671" y="401"/>
                    <a:pt x="671" y="401"/>
                  </a:cubicBezTo>
                  <a:cubicBezTo>
                    <a:pt x="678" y="315"/>
                    <a:pt x="647" y="294"/>
                    <a:pt x="623" y="270"/>
                  </a:cubicBezTo>
                  <a:cubicBezTo>
                    <a:pt x="659" y="263"/>
                    <a:pt x="662" y="244"/>
                    <a:pt x="680" y="234"/>
                  </a:cubicBezTo>
                  <a:cubicBezTo>
                    <a:pt x="698" y="224"/>
                    <a:pt x="715" y="223"/>
                    <a:pt x="729" y="209"/>
                  </a:cubicBezTo>
                  <a:cubicBezTo>
                    <a:pt x="743" y="188"/>
                    <a:pt x="740" y="168"/>
                    <a:pt x="761" y="149"/>
                  </a:cubicBezTo>
                  <a:cubicBezTo>
                    <a:pt x="774" y="136"/>
                    <a:pt x="799" y="137"/>
                    <a:pt x="810" y="132"/>
                  </a:cubicBezTo>
                  <a:cubicBezTo>
                    <a:pt x="821" y="127"/>
                    <a:pt x="812" y="117"/>
                    <a:pt x="827" y="116"/>
                  </a:cubicBezTo>
                  <a:cubicBezTo>
                    <a:pt x="843" y="108"/>
                    <a:pt x="874" y="116"/>
                    <a:pt x="898" y="128"/>
                  </a:cubicBezTo>
                  <a:cubicBezTo>
                    <a:pt x="922" y="124"/>
                    <a:pt x="950" y="124"/>
                    <a:pt x="974" y="120"/>
                  </a:cubicBezTo>
                  <a:cubicBezTo>
                    <a:pt x="982" y="120"/>
                    <a:pt x="998" y="112"/>
                    <a:pt x="998" y="112"/>
                  </a:cubicBezTo>
                  <a:cubicBezTo>
                    <a:pt x="1010" y="60"/>
                    <a:pt x="1010" y="28"/>
                    <a:pt x="1054" y="0"/>
                  </a:cubicBezTo>
                  <a:cubicBezTo>
                    <a:pt x="1110" y="8"/>
                    <a:pt x="1162" y="20"/>
                    <a:pt x="1218" y="24"/>
                  </a:cubicBezTo>
                  <a:cubicBezTo>
                    <a:pt x="1258" y="84"/>
                    <a:pt x="1342" y="60"/>
                    <a:pt x="1410" y="64"/>
                  </a:cubicBezTo>
                  <a:cubicBezTo>
                    <a:pt x="1443" y="74"/>
                    <a:pt x="1426" y="35"/>
                    <a:pt x="1433" y="50"/>
                  </a:cubicBezTo>
                  <a:cubicBezTo>
                    <a:pt x="1435" y="59"/>
                    <a:pt x="1419" y="98"/>
                    <a:pt x="1421" y="116"/>
                  </a:cubicBezTo>
                  <a:cubicBezTo>
                    <a:pt x="1423" y="134"/>
                    <a:pt x="1434" y="130"/>
                    <a:pt x="1443" y="158"/>
                  </a:cubicBezTo>
                  <a:cubicBezTo>
                    <a:pt x="1427" y="210"/>
                    <a:pt x="1446" y="240"/>
                    <a:pt x="1474" y="284"/>
                  </a:cubicBezTo>
                  <a:cubicBezTo>
                    <a:pt x="1462" y="356"/>
                    <a:pt x="1470" y="348"/>
                    <a:pt x="1394" y="352"/>
                  </a:cubicBezTo>
                  <a:cubicBezTo>
                    <a:pt x="1374" y="344"/>
                    <a:pt x="1358" y="352"/>
                    <a:pt x="1338" y="356"/>
                  </a:cubicBezTo>
                  <a:cubicBezTo>
                    <a:pt x="1358" y="360"/>
                    <a:pt x="1374" y="372"/>
                    <a:pt x="1390" y="384"/>
                  </a:cubicBezTo>
                  <a:cubicBezTo>
                    <a:pt x="1402" y="424"/>
                    <a:pt x="1414" y="416"/>
                    <a:pt x="1390" y="424"/>
                  </a:cubicBezTo>
                  <a:cubicBezTo>
                    <a:pt x="1386" y="440"/>
                    <a:pt x="1378" y="452"/>
                    <a:pt x="1370" y="468"/>
                  </a:cubicBezTo>
                  <a:cubicBezTo>
                    <a:pt x="1378" y="528"/>
                    <a:pt x="1390" y="572"/>
                    <a:pt x="1322" y="588"/>
                  </a:cubicBezTo>
                  <a:cubicBezTo>
                    <a:pt x="1310" y="620"/>
                    <a:pt x="1322" y="608"/>
                    <a:pt x="1298" y="624"/>
                  </a:cubicBezTo>
                  <a:cubicBezTo>
                    <a:pt x="1286" y="660"/>
                    <a:pt x="1262" y="652"/>
                    <a:pt x="1222" y="660"/>
                  </a:cubicBezTo>
                  <a:cubicBezTo>
                    <a:pt x="1214" y="660"/>
                    <a:pt x="1202" y="664"/>
                    <a:pt x="1202" y="664"/>
                  </a:cubicBezTo>
                  <a:cubicBezTo>
                    <a:pt x="1198" y="684"/>
                    <a:pt x="1194" y="684"/>
                    <a:pt x="1174" y="692"/>
                  </a:cubicBezTo>
                  <a:cubicBezTo>
                    <a:pt x="1146" y="688"/>
                    <a:pt x="1134" y="696"/>
                    <a:pt x="1106" y="704"/>
                  </a:cubicBezTo>
                  <a:cubicBezTo>
                    <a:pt x="1094" y="720"/>
                    <a:pt x="1086" y="712"/>
                    <a:pt x="1066" y="720"/>
                  </a:cubicBezTo>
                  <a:cubicBezTo>
                    <a:pt x="1050" y="736"/>
                    <a:pt x="1018" y="748"/>
                    <a:pt x="998" y="756"/>
                  </a:cubicBezTo>
                  <a:cubicBezTo>
                    <a:pt x="926" y="764"/>
                    <a:pt x="895" y="741"/>
                    <a:pt x="807" y="737"/>
                  </a:cubicBezTo>
                  <a:cubicBezTo>
                    <a:pt x="763" y="721"/>
                    <a:pt x="672" y="723"/>
                    <a:pt x="626" y="712"/>
                  </a:cubicBezTo>
                  <a:cubicBezTo>
                    <a:pt x="606" y="704"/>
                    <a:pt x="598" y="696"/>
                    <a:pt x="578" y="688"/>
                  </a:cubicBezTo>
                  <a:cubicBezTo>
                    <a:pt x="574" y="688"/>
                    <a:pt x="564" y="677"/>
                    <a:pt x="564" y="677"/>
                  </a:cubicBezTo>
                  <a:cubicBezTo>
                    <a:pt x="549" y="657"/>
                    <a:pt x="548" y="632"/>
                    <a:pt x="530" y="620"/>
                  </a:cubicBezTo>
                  <a:cubicBezTo>
                    <a:pt x="519" y="605"/>
                    <a:pt x="522" y="604"/>
                    <a:pt x="500" y="594"/>
                  </a:cubicBezTo>
                  <a:cubicBezTo>
                    <a:pt x="476" y="595"/>
                    <a:pt x="438" y="608"/>
                    <a:pt x="438" y="608"/>
                  </a:cubicBezTo>
                  <a:cubicBezTo>
                    <a:pt x="399" y="614"/>
                    <a:pt x="377" y="620"/>
                    <a:pt x="334" y="616"/>
                  </a:cubicBezTo>
                  <a:cubicBezTo>
                    <a:pt x="326" y="630"/>
                    <a:pt x="333" y="621"/>
                    <a:pt x="310" y="656"/>
                  </a:cubicBezTo>
                  <a:cubicBezTo>
                    <a:pt x="306" y="664"/>
                    <a:pt x="303" y="668"/>
                    <a:pt x="303" y="668"/>
                  </a:cubicBezTo>
                  <a:cubicBezTo>
                    <a:pt x="240" y="663"/>
                    <a:pt x="235" y="654"/>
                    <a:pt x="214" y="650"/>
                  </a:cubicBezTo>
                  <a:cubicBezTo>
                    <a:pt x="193" y="646"/>
                    <a:pt x="190" y="647"/>
                    <a:pt x="178" y="644"/>
                  </a:cubicBezTo>
                  <a:cubicBezTo>
                    <a:pt x="173" y="626"/>
                    <a:pt x="166" y="616"/>
                    <a:pt x="142" y="632"/>
                  </a:cubicBezTo>
                  <a:cubicBezTo>
                    <a:pt x="134" y="648"/>
                    <a:pt x="107" y="650"/>
                    <a:pt x="93" y="659"/>
                  </a:cubicBezTo>
                  <a:cubicBezTo>
                    <a:pt x="81" y="650"/>
                    <a:pt x="79" y="647"/>
                    <a:pt x="71" y="627"/>
                  </a:cubicBezTo>
                  <a:cubicBezTo>
                    <a:pt x="67" y="611"/>
                    <a:pt x="38" y="596"/>
                    <a:pt x="26" y="588"/>
                  </a:cubicBezTo>
                  <a:cubicBezTo>
                    <a:pt x="11" y="582"/>
                    <a:pt x="4" y="568"/>
                    <a:pt x="0" y="552"/>
                  </a:cubicBezTo>
                  <a:cubicBezTo>
                    <a:pt x="16" y="508"/>
                    <a:pt x="38" y="521"/>
                    <a:pt x="26" y="452"/>
                  </a:cubicBez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  <p:sp>
          <p:nvSpPr>
            <p:cNvPr id="290" name="Freeform 101"/>
            <p:cNvSpPr>
              <a:spLocks noChangeAspect="1"/>
            </p:cNvSpPr>
            <p:nvPr/>
          </p:nvSpPr>
          <p:spPr bwMode="auto">
            <a:xfrm>
              <a:off x="2339" y="3127"/>
              <a:ext cx="234" cy="153"/>
            </a:xfrm>
            <a:custGeom>
              <a:avLst/>
              <a:gdLst>
                <a:gd name="T0" fmla="*/ 0 w 925"/>
                <a:gd name="T1" fmla="*/ 0 h 605"/>
                <a:gd name="T2" fmla="*/ 0 w 925"/>
                <a:gd name="T3" fmla="*/ 0 h 605"/>
                <a:gd name="T4" fmla="*/ 0 w 925"/>
                <a:gd name="T5" fmla="*/ 0 h 605"/>
                <a:gd name="T6" fmla="*/ 0 w 925"/>
                <a:gd name="T7" fmla="*/ 0 h 605"/>
                <a:gd name="T8" fmla="*/ 0 w 925"/>
                <a:gd name="T9" fmla="*/ 0 h 605"/>
                <a:gd name="T10" fmla="*/ 0 w 925"/>
                <a:gd name="T11" fmla="*/ 0 h 605"/>
                <a:gd name="T12" fmla="*/ 0 w 925"/>
                <a:gd name="T13" fmla="*/ 0 h 605"/>
                <a:gd name="T14" fmla="*/ 0 w 925"/>
                <a:gd name="T15" fmla="*/ 0 h 605"/>
                <a:gd name="T16" fmla="*/ 0 w 925"/>
                <a:gd name="T17" fmla="*/ 0 h 605"/>
                <a:gd name="T18" fmla="*/ 0 w 925"/>
                <a:gd name="T19" fmla="*/ 0 h 605"/>
                <a:gd name="T20" fmla="*/ 0 w 925"/>
                <a:gd name="T21" fmla="*/ 0 h 605"/>
                <a:gd name="T22" fmla="*/ 0 w 925"/>
                <a:gd name="T23" fmla="*/ 0 h 605"/>
                <a:gd name="T24" fmla="*/ 0 w 925"/>
                <a:gd name="T25" fmla="*/ 0 h 605"/>
                <a:gd name="T26" fmla="*/ 0 w 925"/>
                <a:gd name="T27" fmla="*/ 0 h 605"/>
                <a:gd name="T28" fmla="*/ 0 w 925"/>
                <a:gd name="T29" fmla="*/ 0 h 605"/>
                <a:gd name="T30" fmla="*/ 0 w 925"/>
                <a:gd name="T31" fmla="*/ 0 h 605"/>
                <a:gd name="T32" fmla="*/ 0 w 925"/>
                <a:gd name="T33" fmla="*/ 0 h 605"/>
                <a:gd name="T34" fmla="*/ 0 w 925"/>
                <a:gd name="T35" fmla="*/ 0 h 605"/>
                <a:gd name="T36" fmla="*/ 0 w 925"/>
                <a:gd name="T37" fmla="*/ 0 h 605"/>
                <a:gd name="T38" fmla="*/ 0 w 925"/>
                <a:gd name="T39" fmla="*/ 0 h 605"/>
                <a:gd name="T40" fmla="*/ 0 w 925"/>
                <a:gd name="T41" fmla="*/ 0 h 605"/>
                <a:gd name="T42" fmla="*/ 0 w 925"/>
                <a:gd name="T43" fmla="*/ 0 h 605"/>
                <a:gd name="T44" fmla="*/ 0 w 925"/>
                <a:gd name="T45" fmla="*/ 0 h 605"/>
                <a:gd name="T46" fmla="*/ 0 w 925"/>
                <a:gd name="T47" fmla="*/ 0 h 605"/>
                <a:gd name="T48" fmla="*/ 0 w 925"/>
                <a:gd name="T49" fmla="*/ 0 h 605"/>
                <a:gd name="T50" fmla="*/ 0 w 925"/>
                <a:gd name="T51" fmla="*/ 0 h 605"/>
                <a:gd name="T52" fmla="*/ 0 w 925"/>
                <a:gd name="T53" fmla="*/ 0 h 605"/>
                <a:gd name="T54" fmla="*/ 0 w 925"/>
                <a:gd name="T55" fmla="*/ 0 h 605"/>
                <a:gd name="T56" fmla="*/ 0 w 925"/>
                <a:gd name="T57" fmla="*/ 0 h 605"/>
                <a:gd name="T58" fmla="*/ 0 w 925"/>
                <a:gd name="T59" fmla="*/ 0 h 605"/>
                <a:gd name="T60" fmla="*/ 0 w 925"/>
                <a:gd name="T61" fmla="*/ 0 h 605"/>
                <a:gd name="T62" fmla="*/ 0 w 925"/>
                <a:gd name="T63" fmla="*/ 0 h 605"/>
                <a:gd name="T64" fmla="*/ 0 w 925"/>
                <a:gd name="T65" fmla="*/ 0 h 605"/>
                <a:gd name="T66" fmla="*/ 0 w 925"/>
                <a:gd name="T67" fmla="*/ 0 h 605"/>
                <a:gd name="T68" fmla="*/ 0 w 925"/>
                <a:gd name="T69" fmla="*/ 0 h 605"/>
                <a:gd name="T70" fmla="*/ 0 w 925"/>
                <a:gd name="T71" fmla="*/ 0 h 605"/>
                <a:gd name="T72" fmla="*/ 0 w 925"/>
                <a:gd name="T73" fmla="*/ 0 h 605"/>
                <a:gd name="T74" fmla="*/ 0 w 925"/>
                <a:gd name="T75" fmla="*/ 0 h 605"/>
                <a:gd name="T76" fmla="*/ 0 w 925"/>
                <a:gd name="T77" fmla="*/ 0 h 605"/>
                <a:gd name="T78" fmla="*/ 0 w 925"/>
                <a:gd name="T79" fmla="*/ 0 h 605"/>
                <a:gd name="T80" fmla="*/ 0 w 925"/>
                <a:gd name="T81" fmla="*/ 0 h 605"/>
                <a:gd name="T82" fmla="*/ 0 w 925"/>
                <a:gd name="T83" fmla="*/ 0 h 605"/>
                <a:gd name="T84" fmla="*/ 0 w 925"/>
                <a:gd name="T85" fmla="*/ 0 h 605"/>
                <a:gd name="T86" fmla="*/ 0 w 925"/>
                <a:gd name="T87" fmla="*/ 0 h 605"/>
                <a:gd name="T88" fmla="*/ 0 w 925"/>
                <a:gd name="T89" fmla="*/ 0 h 605"/>
                <a:gd name="T90" fmla="*/ 0 w 925"/>
                <a:gd name="T91" fmla="*/ 0 h 605"/>
                <a:gd name="T92" fmla="*/ 0 w 925"/>
                <a:gd name="T93" fmla="*/ 0 h 605"/>
                <a:gd name="T94" fmla="*/ 0 w 925"/>
                <a:gd name="T95" fmla="*/ 0 h 605"/>
                <a:gd name="T96" fmla="*/ 0 w 925"/>
                <a:gd name="T97" fmla="*/ 0 h 605"/>
                <a:gd name="T98" fmla="*/ 0 w 925"/>
                <a:gd name="T99" fmla="*/ 0 h 605"/>
                <a:gd name="T100" fmla="*/ 0 w 925"/>
                <a:gd name="T101" fmla="*/ 0 h 605"/>
                <a:gd name="T102" fmla="*/ 0 w 925"/>
                <a:gd name="T103" fmla="*/ 0 h 605"/>
                <a:gd name="T104" fmla="*/ 0 w 925"/>
                <a:gd name="T105" fmla="*/ 0 h 605"/>
                <a:gd name="T106" fmla="*/ 0 w 925"/>
                <a:gd name="T107" fmla="*/ 0 h 605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925"/>
                <a:gd name="T163" fmla="*/ 0 h 605"/>
                <a:gd name="T164" fmla="*/ 925 w 925"/>
                <a:gd name="T165" fmla="*/ 605 h 605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925" h="605">
                  <a:moveTo>
                    <a:pt x="328" y="78"/>
                  </a:moveTo>
                  <a:cubicBezTo>
                    <a:pt x="372" y="86"/>
                    <a:pt x="378" y="74"/>
                    <a:pt x="428" y="82"/>
                  </a:cubicBezTo>
                  <a:cubicBezTo>
                    <a:pt x="460" y="74"/>
                    <a:pt x="481" y="81"/>
                    <a:pt x="513" y="69"/>
                  </a:cubicBezTo>
                  <a:cubicBezTo>
                    <a:pt x="517" y="61"/>
                    <a:pt x="543" y="52"/>
                    <a:pt x="535" y="48"/>
                  </a:cubicBezTo>
                  <a:cubicBezTo>
                    <a:pt x="523" y="44"/>
                    <a:pt x="500" y="30"/>
                    <a:pt x="500" y="30"/>
                  </a:cubicBezTo>
                  <a:cubicBezTo>
                    <a:pt x="480" y="2"/>
                    <a:pt x="505" y="0"/>
                    <a:pt x="528" y="10"/>
                  </a:cubicBezTo>
                  <a:cubicBezTo>
                    <a:pt x="544" y="14"/>
                    <a:pt x="555" y="18"/>
                    <a:pt x="567" y="26"/>
                  </a:cubicBezTo>
                  <a:cubicBezTo>
                    <a:pt x="568" y="50"/>
                    <a:pt x="592" y="59"/>
                    <a:pt x="596" y="62"/>
                  </a:cubicBezTo>
                  <a:cubicBezTo>
                    <a:pt x="606" y="66"/>
                    <a:pt x="618" y="44"/>
                    <a:pt x="633" y="42"/>
                  </a:cubicBezTo>
                  <a:cubicBezTo>
                    <a:pt x="648" y="40"/>
                    <a:pt x="655" y="53"/>
                    <a:pt x="685" y="50"/>
                  </a:cubicBezTo>
                  <a:cubicBezTo>
                    <a:pt x="709" y="58"/>
                    <a:pt x="724" y="72"/>
                    <a:pt x="744" y="80"/>
                  </a:cubicBezTo>
                  <a:cubicBezTo>
                    <a:pt x="756" y="113"/>
                    <a:pt x="740" y="154"/>
                    <a:pt x="720" y="182"/>
                  </a:cubicBezTo>
                  <a:cubicBezTo>
                    <a:pt x="728" y="210"/>
                    <a:pt x="724" y="218"/>
                    <a:pt x="752" y="226"/>
                  </a:cubicBezTo>
                  <a:cubicBezTo>
                    <a:pt x="780" y="246"/>
                    <a:pt x="768" y="234"/>
                    <a:pt x="788" y="254"/>
                  </a:cubicBezTo>
                  <a:cubicBezTo>
                    <a:pt x="792" y="270"/>
                    <a:pt x="800" y="282"/>
                    <a:pt x="808" y="294"/>
                  </a:cubicBezTo>
                  <a:cubicBezTo>
                    <a:pt x="828" y="290"/>
                    <a:pt x="860" y="266"/>
                    <a:pt x="880" y="258"/>
                  </a:cubicBezTo>
                  <a:cubicBezTo>
                    <a:pt x="896" y="253"/>
                    <a:pt x="891" y="277"/>
                    <a:pt x="898" y="281"/>
                  </a:cubicBezTo>
                  <a:cubicBezTo>
                    <a:pt x="905" y="285"/>
                    <a:pt x="923" y="279"/>
                    <a:pt x="924" y="282"/>
                  </a:cubicBezTo>
                  <a:cubicBezTo>
                    <a:pt x="925" y="285"/>
                    <a:pt x="909" y="289"/>
                    <a:pt x="903" y="300"/>
                  </a:cubicBezTo>
                  <a:cubicBezTo>
                    <a:pt x="897" y="311"/>
                    <a:pt x="899" y="338"/>
                    <a:pt x="888" y="350"/>
                  </a:cubicBezTo>
                  <a:cubicBezTo>
                    <a:pt x="871" y="384"/>
                    <a:pt x="869" y="373"/>
                    <a:pt x="838" y="374"/>
                  </a:cubicBezTo>
                  <a:cubicBezTo>
                    <a:pt x="837" y="393"/>
                    <a:pt x="834" y="392"/>
                    <a:pt x="823" y="419"/>
                  </a:cubicBezTo>
                  <a:cubicBezTo>
                    <a:pt x="816" y="430"/>
                    <a:pt x="806" y="426"/>
                    <a:pt x="792" y="434"/>
                  </a:cubicBezTo>
                  <a:cubicBezTo>
                    <a:pt x="754" y="450"/>
                    <a:pt x="766" y="447"/>
                    <a:pt x="744" y="470"/>
                  </a:cubicBezTo>
                  <a:cubicBezTo>
                    <a:pt x="739" y="452"/>
                    <a:pt x="747" y="440"/>
                    <a:pt x="709" y="435"/>
                  </a:cubicBezTo>
                  <a:cubicBezTo>
                    <a:pt x="705" y="415"/>
                    <a:pt x="693" y="417"/>
                    <a:pt x="693" y="417"/>
                  </a:cubicBezTo>
                  <a:cubicBezTo>
                    <a:pt x="663" y="422"/>
                    <a:pt x="669" y="433"/>
                    <a:pt x="655" y="453"/>
                  </a:cubicBezTo>
                  <a:cubicBezTo>
                    <a:pt x="641" y="473"/>
                    <a:pt x="622" y="509"/>
                    <a:pt x="610" y="534"/>
                  </a:cubicBezTo>
                  <a:cubicBezTo>
                    <a:pt x="598" y="557"/>
                    <a:pt x="604" y="545"/>
                    <a:pt x="583" y="605"/>
                  </a:cubicBezTo>
                  <a:cubicBezTo>
                    <a:pt x="567" y="576"/>
                    <a:pt x="559" y="543"/>
                    <a:pt x="555" y="515"/>
                  </a:cubicBezTo>
                  <a:cubicBezTo>
                    <a:pt x="543" y="485"/>
                    <a:pt x="538" y="494"/>
                    <a:pt x="528" y="495"/>
                  </a:cubicBezTo>
                  <a:cubicBezTo>
                    <a:pt x="523" y="489"/>
                    <a:pt x="530" y="485"/>
                    <a:pt x="525" y="476"/>
                  </a:cubicBezTo>
                  <a:cubicBezTo>
                    <a:pt x="513" y="456"/>
                    <a:pt x="522" y="453"/>
                    <a:pt x="496" y="438"/>
                  </a:cubicBezTo>
                  <a:cubicBezTo>
                    <a:pt x="488" y="434"/>
                    <a:pt x="472" y="454"/>
                    <a:pt x="464" y="458"/>
                  </a:cubicBezTo>
                  <a:cubicBezTo>
                    <a:pt x="452" y="466"/>
                    <a:pt x="436" y="473"/>
                    <a:pt x="432" y="498"/>
                  </a:cubicBezTo>
                  <a:cubicBezTo>
                    <a:pt x="424" y="510"/>
                    <a:pt x="423" y="536"/>
                    <a:pt x="411" y="540"/>
                  </a:cubicBezTo>
                  <a:cubicBezTo>
                    <a:pt x="403" y="544"/>
                    <a:pt x="360" y="546"/>
                    <a:pt x="360" y="546"/>
                  </a:cubicBezTo>
                  <a:cubicBezTo>
                    <a:pt x="324" y="542"/>
                    <a:pt x="326" y="544"/>
                    <a:pt x="286" y="548"/>
                  </a:cubicBezTo>
                  <a:cubicBezTo>
                    <a:pt x="267" y="557"/>
                    <a:pt x="264" y="562"/>
                    <a:pt x="248" y="566"/>
                  </a:cubicBezTo>
                  <a:cubicBezTo>
                    <a:pt x="235" y="566"/>
                    <a:pt x="208" y="557"/>
                    <a:pt x="198" y="552"/>
                  </a:cubicBezTo>
                  <a:cubicBezTo>
                    <a:pt x="188" y="547"/>
                    <a:pt x="193" y="547"/>
                    <a:pt x="188" y="534"/>
                  </a:cubicBezTo>
                  <a:cubicBezTo>
                    <a:pt x="175" y="494"/>
                    <a:pt x="172" y="506"/>
                    <a:pt x="168" y="473"/>
                  </a:cubicBezTo>
                  <a:cubicBezTo>
                    <a:pt x="157" y="447"/>
                    <a:pt x="178" y="441"/>
                    <a:pt x="128" y="422"/>
                  </a:cubicBezTo>
                  <a:cubicBezTo>
                    <a:pt x="93" y="428"/>
                    <a:pt x="81" y="432"/>
                    <a:pt x="44" y="438"/>
                  </a:cubicBezTo>
                  <a:cubicBezTo>
                    <a:pt x="30" y="450"/>
                    <a:pt x="16" y="468"/>
                    <a:pt x="0" y="494"/>
                  </a:cubicBezTo>
                  <a:cubicBezTo>
                    <a:pt x="1" y="435"/>
                    <a:pt x="15" y="440"/>
                    <a:pt x="24" y="414"/>
                  </a:cubicBezTo>
                  <a:cubicBezTo>
                    <a:pt x="46" y="389"/>
                    <a:pt x="24" y="370"/>
                    <a:pt x="36" y="351"/>
                  </a:cubicBezTo>
                  <a:cubicBezTo>
                    <a:pt x="48" y="332"/>
                    <a:pt x="66" y="313"/>
                    <a:pt x="94" y="299"/>
                  </a:cubicBezTo>
                  <a:cubicBezTo>
                    <a:pt x="111" y="278"/>
                    <a:pt x="116" y="269"/>
                    <a:pt x="136" y="245"/>
                  </a:cubicBezTo>
                  <a:cubicBezTo>
                    <a:pt x="150" y="209"/>
                    <a:pt x="168" y="198"/>
                    <a:pt x="184" y="174"/>
                  </a:cubicBezTo>
                  <a:cubicBezTo>
                    <a:pt x="188" y="162"/>
                    <a:pt x="194" y="146"/>
                    <a:pt x="198" y="134"/>
                  </a:cubicBezTo>
                  <a:cubicBezTo>
                    <a:pt x="217" y="95"/>
                    <a:pt x="196" y="119"/>
                    <a:pt x="225" y="81"/>
                  </a:cubicBezTo>
                  <a:cubicBezTo>
                    <a:pt x="229" y="89"/>
                    <a:pt x="268" y="83"/>
                    <a:pt x="276" y="87"/>
                  </a:cubicBezTo>
                  <a:cubicBezTo>
                    <a:pt x="288" y="87"/>
                    <a:pt x="327" y="101"/>
                    <a:pt x="328" y="78"/>
                  </a:cubicBez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  <p:grpSp>
          <p:nvGrpSpPr>
            <p:cNvPr id="291" name="Group 102"/>
            <p:cNvGrpSpPr>
              <a:grpSpLocks/>
            </p:cNvGrpSpPr>
            <p:nvPr/>
          </p:nvGrpSpPr>
          <p:grpSpPr bwMode="auto">
            <a:xfrm>
              <a:off x="1828" y="2873"/>
              <a:ext cx="695" cy="729"/>
              <a:chOff x="-144" y="5643"/>
              <a:chExt cx="2751" cy="2887"/>
            </a:xfrm>
            <a:grpFill/>
          </p:grpSpPr>
          <p:sp>
            <p:nvSpPr>
              <p:cNvPr id="313" name="Freeform 103"/>
              <p:cNvSpPr>
                <a:spLocks noChangeAspect="1"/>
              </p:cNvSpPr>
              <p:nvPr/>
            </p:nvSpPr>
            <p:spPr bwMode="auto">
              <a:xfrm>
                <a:off x="372" y="6943"/>
                <a:ext cx="68" cy="203"/>
              </a:xfrm>
              <a:custGeom>
                <a:avLst/>
                <a:gdLst>
                  <a:gd name="T0" fmla="*/ 2147483647 w 17"/>
                  <a:gd name="T1" fmla="*/ 2147483647 h 51"/>
                  <a:gd name="T2" fmla="*/ 2147483647 w 17"/>
                  <a:gd name="T3" fmla="*/ 2147483647 h 51"/>
                  <a:gd name="T4" fmla="*/ 2147483647 w 17"/>
                  <a:gd name="T5" fmla="*/ 2147483647 h 51"/>
                  <a:gd name="T6" fmla="*/ 2147483647 w 17"/>
                  <a:gd name="T7" fmla="*/ 2147483647 h 51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7"/>
                  <a:gd name="T13" fmla="*/ 0 h 51"/>
                  <a:gd name="T14" fmla="*/ 17 w 17"/>
                  <a:gd name="T15" fmla="*/ 51 h 51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7" h="51">
                    <a:moveTo>
                      <a:pt x="5" y="11"/>
                    </a:moveTo>
                    <a:cubicBezTo>
                      <a:pt x="8" y="14"/>
                      <a:pt x="9" y="17"/>
                      <a:pt x="11" y="20"/>
                    </a:cubicBezTo>
                    <a:cubicBezTo>
                      <a:pt x="12" y="26"/>
                      <a:pt x="17" y="51"/>
                      <a:pt x="9" y="40"/>
                    </a:cubicBezTo>
                    <a:cubicBezTo>
                      <a:pt x="8" y="35"/>
                      <a:pt x="0" y="0"/>
                      <a:pt x="5" y="11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14" name="Freeform 104"/>
              <p:cNvSpPr>
                <a:spLocks noChangeAspect="1"/>
              </p:cNvSpPr>
              <p:nvPr/>
            </p:nvSpPr>
            <p:spPr bwMode="auto">
              <a:xfrm>
                <a:off x="364" y="6911"/>
                <a:ext cx="76" cy="52"/>
              </a:xfrm>
              <a:custGeom>
                <a:avLst/>
                <a:gdLst>
                  <a:gd name="T0" fmla="*/ 0 w 19"/>
                  <a:gd name="T1" fmla="*/ 0 h 13"/>
                  <a:gd name="T2" fmla="*/ 2147483647 w 19"/>
                  <a:gd name="T3" fmla="*/ 2147483647 h 13"/>
                  <a:gd name="T4" fmla="*/ 0 w 19"/>
                  <a:gd name="T5" fmla="*/ 0 h 13"/>
                  <a:gd name="T6" fmla="*/ 0 60000 65536"/>
                  <a:gd name="T7" fmla="*/ 0 60000 65536"/>
                  <a:gd name="T8" fmla="*/ 0 60000 65536"/>
                  <a:gd name="T9" fmla="*/ 0 w 19"/>
                  <a:gd name="T10" fmla="*/ 0 h 13"/>
                  <a:gd name="T11" fmla="*/ 19 w 19"/>
                  <a:gd name="T12" fmla="*/ 13 h 13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9" h="13">
                    <a:moveTo>
                      <a:pt x="0" y="0"/>
                    </a:moveTo>
                    <a:cubicBezTo>
                      <a:pt x="7" y="3"/>
                      <a:pt x="10" y="11"/>
                      <a:pt x="16" y="13"/>
                    </a:cubicBezTo>
                    <a:cubicBezTo>
                      <a:pt x="19" y="2"/>
                      <a:pt x="9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15" name="Freeform 105"/>
              <p:cNvSpPr>
                <a:spLocks noChangeAspect="1"/>
              </p:cNvSpPr>
              <p:nvPr/>
            </p:nvSpPr>
            <p:spPr bwMode="auto">
              <a:xfrm>
                <a:off x="2347" y="8050"/>
                <a:ext cx="260" cy="480"/>
              </a:xfrm>
              <a:custGeom>
                <a:avLst/>
                <a:gdLst>
                  <a:gd name="T0" fmla="*/ 2147483647 w 65"/>
                  <a:gd name="T1" fmla="*/ 2147483647 h 120"/>
                  <a:gd name="T2" fmla="*/ 2147483647 w 65"/>
                  <a:gd name="T3" fmla="*/ 0 h 120"/>
                  <a:gd name="T4" fmla="*/ 2147483647 w 65"/>
                  <a:gd name="T5" fmla="*/ 2147483647 h 120"/>
                  <a:gd name="T6" fmla="*/ 2147483647 w 65"/>
                  <a:gd name="T7" fmla="*/ 2147483647 h 120"/>
                  <a:gd name="T8" fmla="*/ 2147483647 w 65"/>
                  <a:gd name="T9" fmla="*/ 2147483647 h 120"/>
                  <a:gd name="T10" fmla="*/ 2147483647 w 65"/>
                  <a:gd name="T11" fmla="*/ 2147483647 h 120"/>
                  <a:gd name="T12" fmla="*/ 2147483647 w 65"/>
                  <a:gd name="T13" fmla="*/ 2147483647 h 120"/>
                  <a:gd name="T14" fmla="*/ 2147483647 w 65"/>
                  <a:gd name="T15" fmla="*/ 2147483647 h 120"/>
                  <a:gd name="T16" fmla="*/ 2147483647 w 65"/>
                  <a:gd name="T17" fmla="*/ 2147483647 h 120"/>
                  <a:gd name="T18" fmla="*/ 2147483647 w 65"/>
                  <a:gd name="T19" fmla="*/ 2147483647 h 120"/>
                  <a:gd name="T20" fmla="*/ 2147483647 w 65"/>
                  <a:gd name="T21" fmla="*/ 2147483647 h 120"/>
                  <a:gd name="T22" fmla="*/ 2147483647 w 65"/>
                  <a:gd name="T23" fmla="*/ 2147483647 h 120"/>
                  <a:gd name="T24" fmla="*/ 2147483647 w 65"/>
                  <a:gd name="T25" fmla="*/ 2147483647 h 120"/>
                  <a:gd name="T26" fmla="*/ 2147483647 w 65"/>
                  <a:gd name="T27" fmla="*/ 2147483647 h 120"/>
                  <a:gd name="T28" fmla="*/ 2147483647 w 65"/>
                  <a:gd name="T29" fmla="*/ 2147483647 h 120"/>
                  <a:gd name="T30" fmla="*/ 2147483647 w 65"/>
                  <a:gd name="T31" fmla="*/ 2147483647 h 120"/>
                  <a:gd name="T32" fmla="*/ 2147483647 w 65"/>
                  <a:gd name="T33" fmla="*/ 2147483647 h 120"/>
                  <a:gd name="T34" fmla="*/ 2147483647 w 65"/>
                  <a:gd name="T35" fmla="*/ 2147483647 h 120"/>
                  <a:gd name="T36" fmla="*/ 2147483647 w 65"/>
                  <a:gd name="T37" fmla="*/ 2147483647 h 120"/>
                  <a:gd name="T38" fmla="*/ 2147483647 w 65"/>
                  <a:gd name="T39" fmla="*/ 2147483647 h 120"/>
                  <a:gd name="T40" fmla="*/ 2147483647 w 65"/>
                  <a:gd name="T41" fmla="*/ 2147483647 h 120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65"/>
                  <a:gd name="T64" fmla="*/ 0 h 120"/>
                  <a:gd name="T65" fmla="*/ 65 w 65"/>
                  <a:gd name="T66" fmla="*/ 120 h 120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65" h="120">
                    <a:moveTo>
                      <a:pt x="49" y="27"/>
                    </a:moveTo>
                    <a:cubicBezTo>
                      <a:pt x="53" y="16"/>
                      <a:pt x="45" y="4"/>
                      <a:pt x="57" y="0"/>
                    </a:cubicBezTo>
                    <a:cubicBezTo>
                      <a:pt x="59" y="6"/>
                      <a:pt x="56" y="19"/>
                      <a:pt x="56" y="25"/>
                    </a:cubicBezTo>
                    <a:cubicBezTo>
                      <a:pt x="57" y="31"/>
                      <a:pt x="56" y="33"/>
                      <a:pt x="61" y="36"/>
                    </a:cubicBezTo>
                    <a:cubicBezTo>
                      <a:pt x="63" y="48"/>
                      <a:pt x="65" y="61"/>
                      <a:pt x="60" y="72"/>
                    </a:cubicBezTo>
                    <a:cubicBezTo>
                      <a:pt x="58" y="76"/>
                      <a:pt x="56" y="81"/>
                      <a:pt x="55" y="85"/>
                    </a:cubicBezTo>
                    <a:cubicBezTo>
                      <a:pt x="55" y="86"/>
                      <a:pt x="54" y="88"/>
                      <a:pt x="54" y="88"/>
                    </a:cubicBezTo>
                    <a:cubicBezTo>
                      <a:pt x="55" y="94"/>
                      <a:pt x="56" y="98"/>
                      <a:pt x="51" y="103"/>
                    </a:cubicBezTo>
                    <a:cubicBezTo>
                      <a:pt x="49" y="109"/>
                      <a:pt x="47" y="115"/>
                      <a:pt x="44" y="120"/>
                    </a:cubicBezTo>
                    <a:cubicBezTo>
                      <a:pt x="36" y="119"/>
                      <a:pt x="32" y="111"/>
                      <a:pt x="24" y="106"/>
                    </a:cubicBezTo>
                    <a:cubicBezTo>
                      <a:pt x="23" y="105"/>
                      <a:pt x="22" y="104"/>
                      <a:pt x="22" y="103"/>
                    </a:cubicBezTo>
                    <a:cubicBezTo>
                      <a:pt x="22" y="102"/>
                      <a:pt x="23" y="100"/>
                      <a:pt x="24" y="99"/>
                    </a:cubicBezTo>
                    <a:cubicBezTo>
                      <a:pt x="27" y="91"/>
                      <a:pt x="27" y="93"/>
                      <a:pt x="19" y="94"/>
                    </a:cubicBezTo>
                    <a:cubicBezTo>
                      <a:pt x="9" y="92"/>
                      <a:pt x="17" y="84"/>
                      <a:pt x="19" y="78"/>
                    </a:cubicBezTo>
                    <a:cubicBezTo>
                      <a:pt x="17" y="77"/>
                      <a:pt x="14" y="81"/>
                      <a:pt x="13" y="79"/>
                    </a:cubicBezTo>
                    <a:cubicBezTo>
                      <a:pt x="11" y="75"/>
                      <a:pt x="18" y="67"/>
                      <a:pt x="18" y="67"/>
                    </a:cubicBezTo>
                    <a:cubicBezTo>
                      <a:pt x="6" y="63"/>
                      <a:pt x="0" y="66"/>
                      <a:pt x="10" y="52"/>
                    </a:cubicBezTo>
                    <a:cubicBezTo>
                      <a:pt x="8" y="42"/>
                      <a:pt x="9" y="40"/>
                      <a:pt x="18" y="34"/>
                    </a:cubicBezTo>
                    <a:cubicBezTo>
                      <a:pt x="20" y="31"/>
                      <a:pt x="33" y="24"/>
                      <a:pt x="37" y="23"/>
                    </a:cubicBezTo>
                    <a:cubicBezTo>
                      <a:pt x="41" y="23"/>
                      <a:pt x="45" y="23"/>
                      <a:pt x="49" y="24"/>
                    </a:cubicBezTo>
                    <a:cubicBezTo>
                      <a:pt x="50" y="24"/>
                      <a:pt x="50" y="27"/>
                      <a:pt x="49" y="27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16" name="Freeform 106"/>
              <p:cNvSpPr>
                <a:spLocks noChangeAspect="1"/>
              </p:cNvSpPr>
              <p:nvPr/>
            </p:nvSpPr>
            <p:spPr bwMode="auto">
              <a:xfrm>
                <a:off x="-144" y="5643"/>
                <a:ext cx="2501" cy="2523"/>
              </a:xfrm>
              <a:custGeom>
                <a:avLst/>
                <a:gdLst>
                  <a:gd name="T0" fmla="*/ 1303 w 2501"/>
                  <a:gd name="T1" fmla="*/ 28 h 2523"/>
                  <a:gd name="T2" fmla="*/ 1044 w 2501"/>
                  <a:gd name="T3" fmla="*/ 308 h 2523"/>
                  <a:gd name="T4" fmla="*/ 920 w 2501"/>
                  <a:gd name="T5" fmla="*/ 436 h 2523"/>
                  <a:gd name="T6" fmla="*/ 728 w 2501"/>
                  <a:gd name="T7" fmla="*/ 380 h 2523"/>
                  <a:gd name="T8" fmla="*/ 588 w 2501"/>
                  <a:gd name="T9" fmla="*/ 344 h 2523"/>
                  <a:gd name="T10" fmla="*/ 560 w 2501"/>
                  <a:gd name="T11" fmla="*/ 584 h 2523"/>
                  <a:gd name="T12" fmla="*/ 164 w 2501"/>
                  <a:gd name="T13" fmla="*/ 508 h 2523"/>
                  <a:gd name="T14" fmla="*/ 60 w 2501"/>
                  <a:gd name="T15" fmla="*/ 584 h 2523"/>
                  <a:gd name="T16" fmla="*/ 12 w 2501"/>
                  <a:gd name="T17" fmla="*/ 680 h 2523"/>
                  <a:gd name="T18" fmla="*/ 100 w 2501"/>
                  <a:gd name="T19" fmla="*/ 720 h 2523"/>
                  <a:gd name="T20" fmla="*/ 284 w 2501"/>
                  <a:gd name="T21" fmla="*/ 872 h 2523"/>
                  <a:gd name="T22" fmla="*/ 404 w 2501"/>
                  <a:gd name="T23" fmla="*/ 948 h 2523"/>
                  <a:gd name="T24" fmla="*/ 412 w 2501"/>
                  <a:gd name="T25" fmla="*/ 1032 h 2523"/>
                  <a:gd name="T26" fmla="*/ 500 w 2501"/>
                  <a:gd name="T27" fmla="*/ 1204 h 2523"/>
                  <a:gd name="T28" fmla="*/ 608 w 2501"/>
                  <a:gd name="T29" fmla="*/ 1315 h 2523"/>
                  <a:gd name="T30" fmla="*/ 644 w 2501"/>
                  <a:gd name="T31" fmla="*/ 1559 h 2523"/>
                  <a:gd name="T32" fmla="*/ 620 w 2501"/>
                  <a:gd name="T33" fmla="*/ 1607 h 2523"/>
                  <a:gd name="T34" fmla="*/ 504 w 2501"/>
                  <a:gd name="T35" fmla="*/ 1651 h 2523"/>
                  <a:gd name="T36" fmla="*/ 444 w 2501"/>
                  <a:gd name="T37" fmla="*/ 1919 h 2523"/>
                  <a:gd name="T38" fmla="*/ 381 w 2501"/>
                  <a:gd name="T39" fmla="*/ 2100 h 2523"/>
                  <a:gd name="T40" fmla="*/ 528 w 2501"/>
                  <a:gd name="T41" fmla="*/ 2251 h 2523"/>
                  <a:gd name="T42" fmla="*/ 788 w 2501"/>
                  <a:gd name="T43" fmla="*/ 2383 h 2523"/>
                  <a:gd name="T44" fmla="*/ 988 w 2501"/>
                  <a:gd name="T45" fmla="*/ 2407 h 2523"/>
                  <a:gd name="T46" fmla="*/ 1196 w 2501"/>
                  <a:gd name="T47" fmla="*/ 2502 h 2523"/>
                  <a:gd name="T48" fmla="*/ 1347 w 2501"/>
                  <a:gd name="T49" fmla="*/ 2335 h 2523"/>
                  <a:gd name="T50" fmla="*/ 1779 w 2501"/>
                  <a:gd name="T51" fmla="*/ 2283 h 2523"/>
                  <a:gd name="T52" fmla="*/ 2155 w 2501"/>
                  <a:gd name="T53" fmla="*/ 2299 h 2523"/>
                  <a:gd name="T54" fmla="*/ 2311 w 2501"/>
                  <a:gd name="T55" fmla="*/ 2183 h 2523"/>
                  <a:gd name="T56" fmla="*/ 2243 w 2501"/>
                  <a:gd name="T57" fmla="*/ 2071 h 2523"/>
                  <a:gd name="T58" fmla="*/ 2167 w 2501"/>
                  <a:gd name="T59" fmla="*/ 1855 h 2523"/>
                  <a:gd name="T60" fmla="*/ 2243 w 2501"/>
                  <a:gd name="T61" fmla="*/ 1733 h 2523"/>
                  <a:gd name="T62" fmla="*/ 2211 w 2501"/>
                  <a:gd name="T63" fmla="*/ 1581 h 2523"/>
                  <a:gd name="T64" fmla="*/ 2215 w 2501"/>
                  <a:gd name="T65" fmla="*/ 1543 h 2523"/>
                  <a:gd name="T66" fmla="*/ 2075 w 2501"/>
                  <a:gd name="T67" fmla="*/ 1439 h 2523"/>
                  <a:gd name="T68" fmla="*/ 2071 w 2501"/>
                  <a:gd name="T69" fmla="*/ 1339 h 2523"/>
                  <a:gd name="T70" fmla="*/ 2219 w 2501"/>
                  <a:gd name="T71" fmla="*/ 1156 h 2523"/>
                  <a:gd name="T72" fmla="*/ 2363 w 2501"/>
                  <a:gd name="T73" fmla="*/ 1082 h 2523"/>
                  <a:gd name="T74" fmla="*/ 2418 w 2501"/>
                  <a:gd name="T75" fmla="*/ 758 h 2523"/>
                  <a:gd name="T76" fmla="*/ 2307 w 2501"/>
                  <a:gd name="T77" fmla="*/ 608 h 2523"/>
                  <a:gd name="T78" fmla="*/ 2123 w 2501"/>
                  <a:gd name="T79" fmla="*/ 512 h 2523"/>
                  <a:gd name="T80" fmla="*/ 1947 w 2501"/>
                  <a:gd name="T81" fmla="*/ 452 h 2523"/>
                  <a:gd name="T82" fmla="*/ 1862 w 2501"/>
                  <a:gd name="T83" fmla="*/ 299 h 2523"/>
                  <a:gd name="T84" fmla="*/ 1665 w 2501"/>
                  <a:gd name="T85" fmla="*/ 234 h 2523"/>
                  <a:gd name="T86" fmla="*/ 1519 w 2501"/>
                  <a:gd name="T87" fmla="*/ 100 h 2523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2501"/>
                  <a:gd name="T133" fmla="*/ 0 h 2523"/>
                  <a:gd name="T134" fmla="*/ 2501 w 2501"/>
                  <a:gd name="T135" fmla="*/ 2523 h 2523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2501" h="2523">
                    <a:moveTo>
                      <a:pt x="1484" y="0"/>
                    </a:moveTo>
                    <a:cubicBezTo>
                      <a:pt x="1448" y="4"/>
                      <a:pt x="1407" y="8"/>
                      <a:pt x="1371" y="12"/>
                    </a:cubicBezTo>
                    <a:cubicBezTo>
                      <a:pt x="1347" y="16"/>
                      <a:pt x="1303" y="28"/>
                      <a:pt x="1303" y="28"/>
                    </a:cubicBezTo>
                    <a:cubicBezTo>
                      <a:pt x="1299" y="68"/>
                      <a:pt x="1307" y="108"/>
                      <a:pt x="1283" y="140"/>
                    </a:cubicBezTo>
                    <a:cubicBezTo>
                      <a:pt x="1275" y="168"/>
                      <a:pt x="1275" y="200"/>
                      <a:pt x="1259" y="224"/>
                    </a:cubicBezTo>
                    <a:cubicBezTo>
                      <a:pt x="1244" y="296"/>
                      <a:pt x="1100" y="300"/>
                      <a:pt x="1044" y="308"/>
                    </a:cubicBezTo>
                    <a:cubicBezTo>
                      <a:pt x="1016" y="320"/>
                      <a:pt x="980" y="340"/>
                      <a:pt x="968" y="372"/>
                    </a:cubicBezTo>
                    <a:cubicBezTo>
                      <a:pt x="972" y="392"/>
                      <a:pt x="976" y="400"/>
                      <a:pt x="992" y="416"/>
                    </a:cubicBezTo>
                    <a:cubicBezTo>
                      <a:pt x="988" y="436"/>
                      <a:pt x="944" y="432"/>
                      <a:pt x="920" y="436"/>
                    </a:cubicBezTo>
                    <a:cubicBezTo>
                      <a:pt x="792" y="428"/>
                      <a:pt x="880" y="448"/>
                      <a:pt x="816" y="428"/>
                    </a:cubicBezTo>
                    <a:cubicBezTo>
                      <a:pt x="796" y="424"/>
                      <a:pt x="756" y="412"/>
                      <a:pt x="756" y="412"/>
                    </a:cubicBezTo>
                    <a:cubicBezTo>
                      <a:pt x="740" y="404"/>
                      <a:pt x="740" y="392"/>
                      <a:pt x="728" y="380"/>
                    </a:cubicBezTo>
                    <a:cubicBezTo>
                      <a:pt x="720" y="348"/>
                      <a:pt x="716" y="292"/>
                      <a:pt x="680" y="284"/>
                    </a:cubicBezTo>
                    <a:cubicBezTo>
                      <a:pt x="664" y="284"/>
                      <a:pt x="644" y="280"/>
                      <a:pt x="628" y="288"/>
                    </a:cubicBezTo>
                    <a:cubicBezTo>
                      <a:pt x="612" y="296"/>
                      <a:pt x="604" y="332"/>
                      <a:pt x="588" y="344"/>
                    </a:cubicBezTo>
                    <a:cubicBezTo>
                      <a:pt x="584" y="360"/>
                      <a:pt x="584" y="368"/>
                      <a:pt x="600" y="372"/>
                    </a:cubicBezTo>
                    <a:cubicBezTo>
                      <a:pt x="608" y="428"/>
                      <a:pt x="624" y="484"/>
                      <a:pt x="632" y="540"/>
                    </a:cubicBezTo>
                    <a:cubicBezTo>
                      <a:pt x="652" y="620"/>
                      <a:pt x="624" y="604"/>
                      <a:pt x="560" y="584"/>
                    </a:cubicBezTo>
                    <a:cubicBezTo>
                      <a:pt x="508" y="588"/>
                      <a:pt x="460" y="588"/>
                      <a:pt x="412" y="576"/>
                    </a:cubicBezTo>
                    <a:cubicBezTo>
                      <a:pt x="404" y="564"/>
                      <a:pt x="352" y="492"/>
                      <a:pt x="344" y="488"/>
                    </a:cubicBezTo>
                    <a:cubicBezTo>
                      <a:pt x="300" y="444"/>
                      <a:pt x="220" y="504"/>
                      <a:pt x="164" y="508"/>
                    </a:cubicBezTo>
                    <a:cubicBezTo>
                      <a:pt x="112" y="512"/>
                      <a:pt x="60" y="512"/>
                      <a:pt x="8" y="512"/>
                    </a:cubicBezTo>
                    <a:cubicBezTo>
                      <a:pt x="12" y="528"/>
                      <a:pt x="20" y="568"/>
                      <a:pt x="36" y="576"/>
                    </a:cubicBezTo>
                    <a:cubicBezTo>
                      <a:pt x="44" y="580"/>
                      <a:pt x="60" y="584"/>
                      <a:pt x="60" y="584"/>
                    </a:cubicBezTo>
                    <a:cubicBezTo>
                      <a:pt x="68" y="592"/>
                      <a:pt x="68" y="612"/>
                      <a:pt x="56" y="620"/>
                    </a:cubicBezTo>
                    <a:cubicBezTo>
                      <a:pt x="48" y="624"/>
                      <a:pt x="32" y="628"/>
                      <a:pt x="32" y="628"/>
                    </a:cubicBezTo>
                    <a:cubicBezTo>
                      <a:pt x="20" y="656"/>
                      <a:pt x="24" y="640"/>
                      <a:pt x="12" y="680"/>
                    </a:cubicBezTo>
                    <a:cubicBezTo>
                      <a:pt x="8" y="688"/>
                      <a:pt x="4" y="704"/>
                      <a:pt x="4" y="704"/>
                    </a:cubicBezTo>
                    <a:cubicBezTo>
                      <a:pt x="8" y="716"/>
                      <a:pt x="0" y="732"/>
                      <a:pt x="20" y="732"/>
                    </a:cubicBezTo>
                    <a:cubicBezTo>
                      <a:pt x="36" y="732"/>
                      <a:pt x="100" y="720"/>
                      <a:pt x="100" y="720"/>
                    </a:cubicBezTo>
                    <a:cubicBezTo>
                      <a:pt x="136" y="728"/>
                      <a:pt x="124" y="760"/>
                      <a:pt x="164" y="768"/>
                    </a:cubicBezTo>
                    <a:cubicBezTo>
                      <a:pt x="188" y="784"/>
                      <a:pt x="192" y="792"/>
                      <a:pt x="224" y="800"/>
                    </a:cubicBezTo>
                    <a:cubicBezTo>
                      <a:pt x="292" y="788"/>
                      <a:pt x="252" y="844"/>
                      <a:pt x="284" y="872"/>
                    </a:cubicBezTo>
                    <a:cubicBezTo>
                      <a:pt x="304" y="888"/>
                      <a:pt x="320" y="908"/>
                      <a:pt x="344" y="912"/>
                    </a:cubicBezTo>
                    <a:cubicBezTo>
                      <a:pt x="356" y="920"/>
                      <a:pt x="368" y="912"/>
                      <a:pt x="380" y="920"/>
                    </a:cubicBezTo>
                    <a:cubicBezTo>
                      <a:pt x="384" y="936"/>
                      <a:pt x="388" y="944"/>
                      <a:pt x="404" y="948"/>
                    </a:cubicBezTo>
                    <a:cubicBezTo>
                      <a:pt x="412" y="976"/>
                      <a:pt x="452" y="980"/>
                      <a:pt x="476" y="984"/>
                    </a:cubicBezTo>
                    <a:cubicBezTo>
                      <a:pt x="508" y="1000"/>
                      <a:pt x="508" y="996"/>
                      <a:pt x="548" y="992"/>
                    </a:cubicBezTo>
                    <a:cubicBezTo>
                      <a:pt x="536" y="996"/>
                      <a:pt x="432" y="1012"/>
                      <a:pt x="412" y="1032"/>
                    </a:cubicBezTo>
                    <a:cubicBezTo>
                      <a:pt x="420" y="1064"/>
                      <a:pt x="412" y="1076"/>
                      <a:pt x="428" y="1104"/>
                    </a:cubicBezTo>
                    <a:cubicBezTo>
                      <a:pt x="432" y="1128"/>
                      <a:pt x="432" y="1144"/>
                      <a:pt x="452" y="1156"/>
                    </a:cubicBezTo>
                    <a:cubicBezTo>
                      <a:pt x="460" y="1172"/>
                      <a:pt x="484" y="1200"/>
                      <a:pt x="500" y="1204"/>
                    </a:cubicBezTo>
                    <a:cubicBezTo>
                      <a:pt x="516" y="1236"/>
                      <a:pt x="536" y="1240"/>
                      <a:pt x="560" y="1260"/>
                    </a:cubicBezTo>
                    <a:cubicBezTo>
                      <a:pt x="568" y="1267"/>
                      <a:pt x="584" y="1283"/>
                      <a:pt x="584" y="1283"/>
                    </a:cubicBezTo>
                    <a:cubicBezTo>
                      <a:pt x="588" y="1299"/>
                      <a:pt x="600" y="1295"/>
                      <a:pt x="608" y="1315"/>
                    </a:cubicBezTo>
                    <a:cubicBezTo>
                      <a:pt x="612" y="1371"/>
                      <a:pt x="600" y="1399"/>
                      <a:pt x="584" y="1447"/>
                    </a:cubicBezTo>
                    <a:cubicBezTo>
                      <a:pt x="588" y="1475"/>
                      <a:pt x="588" y="1511"/>
                      <a:pt x="620" y="1523"/>
                    </a:cubicBezTo>
                    <a:cubicBezTo>
                      <a:pt x="624" y="1539"/>
                      <a:pt x="632" y="1547"/>
                      <a:pt x="644" y="1559"/>
                    </a:cubicBezTo>
                    <a:cubicBezTo>
                      <a:pt x="652" y="1587"/>
                      <a:pt x="656" y="1611"/>
                      <a:pt x="660" y="1643"/>
                    </a:cubicBezTo>
                    <a:cubicBezTo>
                      <a:pt x="660" y="1655"/>
                      <a:pt x="668" y="1691"/>
                      <a:pt x="668" y="1679"/>
                    </a:cubicBezTo>
                    <a:cubicBezTo>
                      <a:pt x="668" y="1627"/>
                      <a:pt x="652" y="1627"/>
                      <a:pt x="620" y="1607"/>
                    </a:cubicBezTo>
                    <a:cubicBezTo>
                      <a:pt x="604" y="1583"/>
                      <a:pt x="604" y="1559"/>
                      <a:pt x="588" y="1535"/>
                    </a:cubicBezTo>
                    <a:cubicBezTo>
                      <a:pt x="556" y="1547"/>
                      <a:pt x="560" y="1575"/>
                      <a:pt x="536" y="1591"/>
                    </a:cubicBezTo>
                    <a:cubicBezTo>
                      <a:pt x="528" y="1611"/>
                      <a:pt x="512" y="1627"/>
                      <a:pt x="504" y="1651"/>
                    </a:cubicBezTo>
                    <a:cubicBezTo>
                      <a:pt x="500" y="1659"/>
                      <a:pt x="496" y="1711"/>
                      <a:pt x="504" y="1703"/>
                    </a:cubicBezTo>
                    <a:cubicBezTo>
                      <a:pt x="500" y="1727"/>
                      <a:pt x="492" y="1767"/>
                      <a:pt x="484" y="1807"/>
                    </a:cubicBezTo>
                    <a:cubicBezTo>
                      <a:pt x="464" y="1839"/>
                      <a:pt x="460" y="1883"/>
                      <a:pt x="444" y="1919"/>
                    </a:cubicBezTo>
                    <a:cubicBezTo>
                      <a:pt x="440" y="1947"/>
                      <a:pt x="440" y="2047"/>
                      <a:pt x="412" y="2059"/>
                    </a:cubicBezTo>
                    <a:cubicBezTo>
                      <a:pt x="396" y="2067"/>
                      <a:pt x="396" y="2076"/>
                      <a:pt x="384" y="2088"/>
                    </a:cubicBezTo>
                    <a:cubicBezTo>
                      <a:pt x="380" y="2097"/>
                      <a:pt x="383" y="2088"/>
                      <a:pt x="381" y="2100"/>
                    </a:cubicBezTo>
                    <a:cubicBezTo>
                      <a:pt x="389" y="2112"/>
                      <a:pt x="386" y="2127"/>
                      <a:pt x="389" y="2168"/>
                    </a:cubicBezTo>
                    <a:cubicBezTo>
                      <a:pt x="401" y="2192"/>
                      <a:pt x="438" y="2226"/>
                      <a:pt x="456" y="2252"/>
                    </a:cubicBezTo>
                    <a:cubicBezTo>
                      <a:pt x="510" y="2255"/>
                      <a:pt x="488" y="2247"/>
                      <a:pt x="528" y="2251"/>
                    </a:cubicBezTo>
                    <a:cubicBezTo>
                      <a:pt x="564" y="2291"/>
                      <a:pt x="611" y="2325"/>
                      <a:pt x="659" y="2349"/>
                    </a:cubicBezTo>
                    <a:cubicBezTo>
                      <a:pt x="693" y="2363"/>
                      <a:pt x="696" y="2355"/>
                      <a:pt x="720" y="2363"/>
                    </a:cubicBezTo>
                    <a:cubicBezTo>
                      <a:pt x="736" y="2367"/>
                      <a:pt x="768" y="2383"/>
                      <a:pt x="788" y="2383"/>
                    </a:cubicBezTo>
                    <a:cubicBezTo>
                      <a:pt x="808" y="2383"/>
                      <a:pt x="822" y="2382"/>
                      <a:pt x="836" y="2375"/>
                    </a:cubicBezTo>
                    <a:cubicBezTo>
                      <a:pt x="854" y="2354"/>
                      <a:pt x="851" y="2369"/>
                      <a:pt x="869" y="2343"/>
                    </a:cubicBezTo>
                    <a:cubicBezTo>
                      <a:pt x="901" y="2351"/>
                      <a:pt x="956" y="2391"/>
                      <a:pt x="988" y="2407"/>
                    </a:cubicBezTo>
                    <a:cubicBezTo>
                      <a:pt x="1004" y="2415"/>
                      <a:pt x="1067" y="2437"/>
                      <a:pt x="1083" y="2441"/>
                    </a:cubicBezTo>
                    <a:cubicBezTo>
                      <a:pt x="1095" y="2481"/>
                      <a:pt x="1097" y="2481"/>
                      <a:pt x="1101" y="2499"/>
                    </a:cubicBezTo>
                    <a:cubicBezTo>
                      <a:pt x="1133" y="2501"/>
                      <a:pt x="1172" y="2504"/>
                      <a:pt x="1196" y="2502"/>
                    </a:cubicBezTo>
                    <a:cubicBezTo>
                      <a:pt x="1224" y="2502"/>
                      <a:pt x="1247" y="2496"/>
                      <a:pt x="1274" y="2496"/>
                    </a:cubicBezTo>
                    <a:cubicBezTo>
                      <a:pt x="1294" y="2496"/>
                      <a:pt x="1346" y="2493"/>
                      <a:pt x="1346" y="2493"/>
                    </a:cubicBezTo>
                    <a:cubicBezTo>
                      <a:pt x="1362" y="2425"/>
                      <a:pt x="1335" y="2523"/>
                      <a:pt x="1347" y="2335"/>
                    </a:cubicBezTo>
                    <a:cubicBezTo>
                      <a:pt x="1351" y="2271"/>
                      <a:pt x="1459" y="2259"/>
                      <a:pt x="1507" y="2251"/>
                    </a:cubicBezTo>
                    <a:cubicBezTo>
                      <a:pt x="1575" y="2255"/>
                      <a:pt x="1611" y="2223"/>
                      <a:pt x="1679" y="2239"/>
                    </a:cubicBezTo>
                    <a:cubicBezTo>
                      <a:pt x="1699" y="2251"/>
                      <a:pt x="1755" y="2279"/>
                      <a:pt x="1779" y="2283"/>
                    </a:cubicBezTo>
                    <a:cubicBezTo>
                      <a:pt x="1851" y="2311"/>
                      <a:pt x="1919" y="2339"/>
                      <a:pt x="1999" y="2351"/>
                    </a:cubicBezTo>
                    <a:cubicBezTo>
                      <a:pt x="2039" y="2351"/>
                      <a:pt x="2079" y="2355"/>
                      <a:pt x="2115" y="2347"/>
                    </a:cubicBezTo>
                    <a:cubicBezTo>
                      <a:pt x="2119" y="2347"/>
                      <a:pt x="2139" y="2303"/>
                      <a:pt x="2155" y="2299"/>
                    </a:cubicBezTo>
                    <a:cubicBezTo>
                      <a:pt x="2171" y="2283"/>
                      <a:pt x="2171" y="2271"/>
                      <a:pt x="2191" y="2259"/>
                    </a:cubicBezTo>
                    <a:cubicBezTo>
                      <a:pt x="2207" y="2247"/>
                      <a:pt x="2219" y="2215"/>
                      <a:pt x="2239" y="2203"/>
                    </a:cubicBezTo>
                    <a:cubicBezTo>
                      <a:pt x="2259" y="2191"/>
                      <a:pt x="2295" y="2195"/>
                      <a:pt x="2311" y="2183"/>
                    </a:cubicBezTo>
                    <a:cubicBezTo>
                      <a:pt x="2318" y="2150"/>
                      <a:pt x="2333" y="2154"/>
                      <a:pt x="2347" y="2135"/>
                    </a:cubicBezTo>
                    <a:cubicBezTo>
                      <a:pt x="2357" y="2088"/>
                      <a:pt x="2354" y="2100"/>
                      <a:pt x="2345" y="2078"/>
                    </a:cubicBezTo>
                    <a:cubicBezTo>
                      <a:pt x="2304" y="2069"/>
                      <a:pt x="2295" y="2072"/>
                      <a:pt x="2243" y="2071"/>
                    </a:cubicBezTo>
                    <a:cubicBezTo>
                      <a:pt x="2231" y="2067"/>
                      <a:pt x="2198" y="2064"/>
                      <a:pt x="2183" y="1979"/>
                    </a:cubicBezTo>
                    <a:cubicBezTo>
                      <a:pt x="2187" y="1956"/>
                      <a:pt x="2201" y="1937"/>
                      <a:pt x="2220" y="1892"/>
                    </a:cubicBezTo>
                    <a:cubicBezTo>
                      <a:pt x="2219" y="1854"/>
                      <a:pt x="2223" y="1859"/>
                      <a:pt x="2167" y="1855"/>
                    </a:cubicBezTo>
                    <a:cubicBezTo>
                      <a:pt x="2127" y="1859"/>
                      <a:pt x="2142" y="1817"/>
                      <a:pt x="2121" y="1823"/>
                    </a:cubicBezTo>
                    <a:cubicBezTo>
                      <a:pt x="2117" y="1815"/>
                      <a:pt x="2116" y="1798"/>
                      <a:pt x="2124" y="1790"/>
                    </a:cubicBezTo>
                    <a:cubicBezTo>
                      <a:pt x="2186" y="1788"/>
                      <a:pt x="2222" y="1743"/>
                      <a:pt x="2243" y="1733"/>
                    </a:cubicBezTo>
                    <a:cubicBezTo>
                      <a:pt x="2229" y="1704"/>
                      <a:pt x="2225" y="1695"/>
                      <a:pt x="2213" y="1659"/>
                    </a:cubicBezTo>
                    <a:cubicBezTo>
                      <a:pt x="2209" y="1647"/>
                      <a:pt x="2203" y="1619"/>
                      <a:pt x="2203" y="1619"/>
                    </a:cubicBezTo>
                    <a:cubicBezTo>
                      <a:pt x="2201" y="1590"/>
                      <a:pt x="2210" y="1589"/>
                      <a:pt x="2211" y="1581"/>
                    </a:cubicBezTo>
                    <a:cubicBezTo>
                      <a:pt x="2212" y="1573"/>
                      <a:pt x="2205" y="1571"/>
                      <a:pt x="2207" y="1568"/>
                    </a:cubicBezTo>
                    <a:cubicBezTo>
                      <a:pt x="2209" y="1565"/>
                      <a:pt x="2225" y="1564"/>
                      <a:pt x="2226" y="1560"/>
                    </a:cubicBezTo>
                    <a:cubicBezTo>
                      <a:pt x="2227" y="1556"/>
                      <a:pt x="2220" y="1555"/>
                      <a:pt x="2215" y="1543"/>
                    </a:cubicBezTo>
                    <a:cubicBezTo>
                      <a:pt x="2211" y="1519"/>
                      <a:pt x="2207" y="1507"/>
                      <a:pt x="2195" y="1487"/>
                    </a:cubicBezTo>
                    <a:cubicBezTo>
                      <a:pt x="2191" y="1455"/>
                      <a:pt x="2195" y="1431"/>
                      <a:pt x="2159" y="1423"/>
                    </a:cubicBezTo>
                    <a:cubicBezTo>
                      <a:pt x="2127" y="1423"/>
                      <a:pt x="2107" y="1435"/>
                      <a:pt x="2075" y="1439"/>
                    </a:cubicBezTo>
                    <a:cubicBezTo>
                      <a:pt x="2055" y="1443"/>
                      <a:pt x="2043" y="1483"/>
                      <a:pt x="2023" y="1495"/>
                    </a:cubicBezTo>
                    <a:cubicBezTo>
                      <a:pt x="2027" y="1467"/>
                      <a:pt x="2043" y="1423"/>
                      <a:pt x="2059" y="1399"/>
                    </a:cubicBezTo>
                    <a:cubicBezTo>
                      <a:pt x="2071" y="1379"/>
                      <a:pt x="2051" y="1367"/>
                      <a:pt x="2071" y="1339"/>
                    </a:cubicBezTo>
                    <a:cubicBezTo>
                      <a:pt x="2083" y="1323"/>
                      <a:pt x="2107" y="1311"/>
                      <a:pt x="2123" y="1295"/>
                    </a:cubicBezTo>
                    <a:cubicBezTo>
                      <a:pt x="2139" y="1279"/>
                      <a:pt x="2155" y="1256"/>
                      <a:pt x="2171" y="1232"/>
                    </a:cubicBezTo>
                    <a:cubicBezTo>
                      <a:pt x="2187" y="1208"/>
                      <a:pt x="2207" y="1180"/>
                      <a:pt x="2219" y="1156"/>
                    </a:cubicBezTo>
                    <a:cubicBezTo>
                      <a:pt x="2231" y="1132"/>
                      <a:pt x="2231" y="1096"/>
                      <a:pt x="2251" y="1084"/>
                    </a:cubicBezTo>
                    <a:cubicBezTo>
                      <a:pt x="2303" y="1088"/>
                      <a:pt x="2311" y="1096"/>
                      <a:pt x="2347" y="1092"/>
                    </a:cubicBezTo>
                    <a:cubicBezTo>
                      <a:pt x="2358" y="1082"/>
                      <a:pt x="2357" y="1088"/>
                      <a:pt x="2363" y="1082"/>
                    </a:cubicBezTo>
                    <a:cubicBezTo>
                      <a:pt x="2358" y="1073"/>
                      <a:pt x="2343" y="1034"/>
                      <a:pt x="2351" y="993"/>
                    </a:cubicBezTo>
                    <a:cubicBezTo>
                      <a:pt x="2355" y="941"/>
                      <a:pt x="2390" y="899"/>
                      <a:pt x="2414" y="833"/>
                    </a:cubicBezTo>
                    <a:cubicBezTo>
                      <a:pt x="2422" y="805"/>
                      <a:pt x="2394" y="771"/>
                      <a:pt x="2418" y="758"/>
                    </a:cubicBezTo>
                    <a:cubicBezTo>
                      <a:pt x="2469" y="747"/>
                      <a:pt x="2472" y="734"/>
                      <a:pt x="2493" y="705"/>
                    </a:cubicBezTo>
                    <a:cubicBezTo>
                      <a:pt x="2501" y="673"/>
                      <a:pt x="2489" y="680"/>
                      <a:pt x="2431" y="656"/>
                    </a:cubicBezTo>
                    <a:cubicBezTo>
                      <a:pt x="2387" y="626"/>
                      <a:pt x="2346" y="599"/>
                      <a:pt x="2307" y="608"/>
                    </a:cubicBezTo>
                    <a:cubicBezTo>
                      <a:pt x="2275" y="600"/>
                      <a:pt x="2275" y="604"/>
                      <a:pt x="2239" y="600"/>
                    </a:cubicBezTo>
                    <a:cubicBezTo>
                      <a:pt x="2219" y="580"/>
                      <a:pt x="2208" y="567"/>
                      <a:pt x="2183" y="552"/>
                    </a:cubicBezTo>
                    <a:cubicBezTo>
                      <a:pt x="2160" y="509"/>
                      <a:pt x="2162" y="504"/>
                      <a:pt x="2123" y="512"/>
                    </a:cubicBezTo>
                    <a:cubicBezTo>
                      <a:pt x="2109" y="521"/>
                      <a:pt x="2082" y="528"/>
                      <a:pt x="2061" y="513"/>
                    </a:cubicBezTo>
                    <a:cubicBezTo>
                      <a:pt x="2037" y="513"/>
                      <a:pt x="2033" y="492"/>
                      <a:pt x="2010" y="510"/>
                    </a:cubicBezTo>
                    <a:cubicBezTo>
                      <a:pt x="1964" y="497"/>
                      <a:pt x="1970" y="459"/>
                      <a:pt x="1947" y="452"/>
                    </a:cubicBezTo>
                    <a:cubicBezTo>
                      <a:pt x="1932" y="425"/>
                      <a:pt x="1903" y="414"/>
                      <a:pt x="1875" y="408"/>
                    </a:cubicBezTo>
                    <a:cubicBezTo>
                      <a:pt x="1877" y="360"/>
                      <a:pt x="1878" y="360"/>
                      <a:pt x="1860" y="345"/>
                    </a:cubicBezTo>
                    <a:cubicBezTo>
                      <a:pt x="1875" y="315"/>
                      <a:pt x="1869" y="296"/>
                      <a:pt x="1862" y="299"/>
                    </a:cubicBezTo>
                    <a:cubicBezTo>
                      <a:pt x="1836" y="302"/>
                      <a:pt x="1839" y="344"/>
                      <a:pt x="1823" y="360"/>
                    </a:cubicBezTo>
                    <a:cubicBezTo>
                      <a:pt x="1748" y="371"/>
                      <a:pt x="1761" y="356"/>
                      <a:pt x="1747" y="308"/>
                    </a:cubicBezTo>
                    <a:cubicBezTo>
                      <a:pt x="1723" y="204"/>
                      <a:pt x="1715" y="252"/>
                      <a:pt x="1665" y="234"/>
                    </a:cubicBezTo>
                    <a:cubicBezTo>
                      <a:pt x="1645" y="202"/>
                      <a:pt x="1665" y="179"/>
                      <a:pt x="1596" y="173"/>
                    </a:cubicBezTo>
                    <a:cubicBezTo>
                      <a:pt x="1589" y="159"/>
                      <a:pt x="1591" y="136"/>
                      <a:pt x="1575" y="116"/>
                    </a:cubicBezTo>
                    <a:cubicBezTo>
                      <a:pt x="1567" y="96"/>
                      <a:pt x="1557" y="95"/>
                      <a:pt x="1519" y="100"/>
                    </a:cubicBezTo>
                    <a:cubicBezTo>
                      <a:pt x="1484" y="96"/>
                      <a:pt x="1484" y="40"/>
                      <a:pt x="1484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</p:grpSp>
        <p:sp>
          <p:nvSpPr>
            <p:cNvPr id="292" name="Freeform 107"/>
            <p:cNvSpPr>
              <a:spLocks noChangeAspect="1"/>
            </p:cNvSpPr>
            <p:nvPr/>
          </p:nvSpPr>
          <p:spPr bwMode="auto">
            <a:xfrm>
              <a:off x="2200" y="2848"/>
              <a:ext cx="174" cy="154"/>
            </a:xfrm>
            <a:custGeom>
              <a:avLst/>
              <a:gdLst>
                <a:gd name="T0" fmla="*/ 0 w 691"/>
                <a:gd name="T1" fmla="*/ 0 h 607"/>
                <a:gd name="T2" fmla="*/ 0 w 691"/>
                <a:gd name="T3" fmla="*/ 0 h 607"/>
                <a:gd name="T4" fmla="*/ 0 w 691"/>
                <a:gd name="T5" fmla="*/ 0 h 607"/>
                <a:gd name="T6" fmla="*/ 0 w 691"/>
                <a:gd name="T7" fmla="*/ 0 h 607"/>
                <a:gd name="T8" fmla="*/ 0 w 691"/>
                <a:gd name="T9" fmla="*/ 0 h 607"/>
                <a:gd name="T10" fmla="*/ 0 w 691"/>
                <a:gd name="T11" fmla="*/ 0 h 607"/>
                <a:gd name="T12" fmla="*/ 0 w 691"/>
                <a:gd name="T13" fmla="*/ 0 h 607"/>
                <a:gd name="T14" fmla="*/ 0 w 691"/>
                <a:gd name="T15" fmla="*/ 0 h 607"/>
                <a:gd name="T16" fmla="*/ 0 w 691"/>
                <a:gd name="T17" fmla="*/ 0 h 607"/>
                <a:gd name="T18" fmla="*/ 0 w 691"/>
                <a:gd name="T19" fmla="*/ 0 h 607"/>
                <a:gd name="T20" fmla="*/ 0 w 691"/>
                <a:gd name="T21" fmla="*/ 0 h 607"/>
                <a:gd name="T22" fmla="*/ 0 w 691"/>
                <a:gd name="T23" fmla="*/ 0 h 607"/>
                <a:gd name="T24" fmla="*/ 0 w 691"/>
                <a:gd name="T25" fmla="*/ 0 h 607"/>
                <a:gd name="T26" fmla="*/ 0 w 691"/>
                <a:gd name="T27" fmla="*/ 0 h 607"/>
                <a:gd name="T28" fmla="*/ 0 w 691"/>
                <a:gd name="T29" fmla="*/ 0 h 607"/>
                <a:gd name="T30" fmla="*/ 0 w 691"/>
                <a:gd name="T31" fmla="*/ 0 h 607"/>
                <a:gd name="T32" fmla="*/ 0 w 691"/>
                <a:gd name="T33" fmla="*/ 0 h 607"/>
                <a:gd name="T34" fmla="*/ 0 w 691"/>
                <a:gd name="T35" fmla="*/ 0 h 607"/>
                <a:gd name="T36" fmla="*/ 0 w 691"/>
                <a:gd name="T37" fmla="*/ 0 h 607"/>
                <a:gd name="T38" fmla="*/ 0 w 691"/>
                <a:gd name="T39" fmla="*/ 0 h 607"/>
                <a:gd name="T40" fmla="*/ 0 w 691"/>
                <a:gd name="T41" fmla="*/ 0 h 607"/>
                <a:gd name="T42" fmla="*/ 0 w 691"/>
                <a:gd name="T43" fmla="*/ 0 h 607"/>
                <a:gd name="T44" fmla="*/ 0 w 691"/>
                <a:gd name="T45" fmla="*/ 0 h 607"/>
                <a:gd name="T46" fmla="*/ 0 w 691"/>
                <a:gd name="T47" fmla="*/ 0 h 607"/>
                <a:gd name="T48" fmla="*/ 0 w 691"/>
                <a:gd name="T49" fmla="*/ 0 h 607"/>
                <a:gd name="T50" fmla="*/ 0 w 691"/>
                <a:gd name="T51" fmla="*/ 0 h 607"/>
                <a:gd name="T52" fmla="*/ 0 w 691"/>
                <a:gd name="T53" fmla="*/ 0 h 607"/>
                <a:gd name="T54" fmla="*/ 0 w 691"/>
                <a:gd name="T55" fmla="*/ 0 h 607"/>
                <a:gd name="T56" fmla="*/ 0 w 691"/>
                <a:gd name="T57" fmla="*/ 0 h 607"/>
                <a:gd name="T58" fmla="*/ 0 w 691"/>
                <a:gd name="T59" fmla="*/ 0 h 607"/>
                <a:gd name="T60" fmla="*/ 0 w 691"/>
                <a:gd name="T61" fmla="*/ 0 h 607"/>
                <a:gd name="T62" fmla="*/ 0 w 691"/>
                <a:gd name="T63" fmla="*/ 0 h 607"/>
                <a:gd name="T64" fmla="*/ 0 w 691"/>
                <a:gd name="T65" fmla="*/ 0 h 607"/>
                <a:gd name="T66" fmla="*/ 0 w 691"/>
                <a:gd name="T67" fmla="*/ 0 h 607"/>
                <a:gd name="T68" fmla="*/ 0 w 691"/>
                <a:gd name="T69" fmla="*/ 0 h 607"/>
                <a:gd name="T70" fmla="*/ 0 w 691"/>
                <a:gd name="T71" fmla="*/ 0 h 607"/>
                <a:gd name="T72" fmla="*/ 0 w 691"/>
                <a:gd name="T73" fmla="*/ 0 h 607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691"/>
                <a:gd name="T112" fmla="*/ 0 h 607"/>
                <a:gd name="T113" fmla="*/ 691 w 691"/>
                <a:gd name="T114" fmla="*/ 607 h 607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691" h="607">
                  <a:moveTo>
                    <a:pt x="181" y="0"/>
                  </a:moveTo>
                  <a:cubicBezTo>
                    <a:pt x="188" y="1"/>
                    <a:pt x="178" y="11"/>
                    <a:pt x="187" y="20"/>
                  </a:cubicBezTo>
                  <a:cubicBezTo>
                    <a:pt x="192" y="25"/>
                    <a:pt x="206" y="28"/>
                    <a:pt x="214" y="33"/>
                  </a:cubicBezTo>
                  <a:cubicBezTo>
                    <a:pt x="222" y="38"/>
                    <a:pt x="213" y="54"/>
                    <a:pt x="237" y="53"/>
                  </a:cubicBezTo>
                  <a:cubicBezTo>
                    <a:pt x="273" y="60"/>
                    <a:pt x="284" y="39"/>
                    <a:pt x="312" y="31"/>
                  </a:cubicBezTo>
                  <a:cubicBezTo>
                    <a:pt x="324" y="27"/>
                    <a:pt x="358" y="11"/>
                    <a:pt x="358" y="11"/>
                  </a:cubicBezTo>
                  <a:cubicBezTo>
                    <a:pt x="374" y="10"/>
                    <a:pt x="356" y="9"/>
                    <a:pt x="375" y="14"/>
                  </a:cubicBezTo>
                  <a:cubicBezTo>
                    <a:pt x="394" y="19"/>
                    <a:pt x="450" y="27"/>
                    <a:pt x="474" y="39"/>
                  </a:cubicBezTo>
                  <a:cubicBezTo>
                    <a:pt x="484" y="74"/>
                    <a:pt x="500" y="71"/>
                    <a:pt x="521" y="84"/>
                  </a:cubicBezTo>
                  <a:cubicBezTo>
                    <a:pt x="535" y="87"/>
                    <a:pt x="590" y="99"/>
                    <a:pt x="597" y="119"/>
                  </a:cubicBezTo>
                  <a:cubicBezTo>
                    <a:pt x="603" y="144"/>
                    <a:pt x="561" y="176"/>
                    <a:pt x="558" y="209"/>
                  </a:cubicBezTo>
                  <a:cubicBezTo>
                    <a:pt x="574" y="236"/>
                    <a:pt x="576" y="239"/>
                    <a:pt x="627" y="224"/>
                  </a:cubicBezTo>
                  <a:cubicBezTo>
                    <a:pt x="622" y="236"/>
                    <a:pt x="625" y="263"/>
                    <a:pt x="649" y="287"/>
                  </a:cubicBezTo>
                  <a:cubicBezTo>
                    <a:pt x="661" y="295"/>
                    <a:pt x="691" y="338"/>
                    <a:pt x="688" y="353"/>
                  </a:cubicBezTo>
                  <a:cubicBezTo>
                    <a:pt x="684" y="373"/>
                    <a:pt x="673" y="363"/>
                    <a:pt x="661" y="374"/>
                  </a:cubicBezTo>
                  <a:cubicBezTo>
                    <a:pt x="653" y="386"/>
                    <a:pt x="642" y="431"/>
                    <a:pt x="642" y="431"/>
                  </a:cubicBezTo>
                  <a:cubicBezTo>
                    <a:pt x="627" y="434"/>
                    <a:pt x="603" y="432"/>
                    <a:pt x="591" y="441"/>
                  </a:cubicBezTo>
                  <a:cubicBezTo>
                    <a:pt x="593" y="487"/>
                    <a:pt x="576" y="475"/>
                    <a:pt x="572" y="491"/>
                  </a:cubicBezTo>
                  <a:cubicBezTo>
                    <a:pt x="566" y="516"/>
                    <a:pt x="558" y="581"/>
                    <a:pt x="561" y="602"/>
                  </a:cubicBezTo>
                  <a:cubicBezTo>
                    <a:pt x="552" y="605"/>
                    <a:pt x="561" y="602"/>
                    <a:pt x="540" y="607"/>
                  </a:cubicBezTo>
                  <a:cubicBezTo>
                    <a:pt x="484" y="595"/>
                    <a:pt x="508" y="575"/>
                    <a:pt x="476" y="551"/>
                  </a:cubicBezTo>
                  <a:cubicBezTo>
                    <a:pt x="452" y="531"/>
                    <a:pt x="436" y="511"/>
                    <a:pt x="404" y="507"/>
                  </a:cubicBezTo>
                  <a:cubicBezTo>
                    <a:pt x="396" y="483"/>
                    <a:pt x="412" y="451"/>
                    <a:pt x="384" y="443"/>
                  </a:cubicBezTo>
                  <a:cubicBezTo>
                    <a:pt x="392" y="431"/>
                    <a:pt x="388" y="423"/>
                    <a:pt x="396" y="411"/>
                  </a:cubicBezTo>
                  <a:cubicBezTo>
                    <a:pt x="384" y="375"/>
                    <a:pt x="368" y="419"/>
                    <a:pt x="360" y="431"/>
                  </a:cubicBezTo>
                  <a:cubicBezTo>
                    <a:pt x="348" y="463"/>
                    <a:pt x="352" y="455"/>
                    <a:pt x="324" y="463"/>
                  </a:cubicBezTo>
                  <a:cubicBezTo>
                    <a:pt x="312" y="459"/>
                    <a:pt x="296" y="467"/>
                    <a:pt x="288" y="455"/>
                  </a:cubicBezTo>
                  <a:cubicBezTo>
                    <a:pt x="284" y="447"/>
                    <a:pt x="272" y="407"/>
                    <a:pt x="272" y="407"/>
                  </a:cubicBezTo>
                  <a:cubicBezTo>
                    <a:pt x="248" y="327"/>
                    <a:pt x="268" y="343"/>
                    <a:pt x="192" y="335"/>
                  </a:cubicBezTo>
                  <a:cubicBezTo>
                    <a:pt x="176" y="287"/>
                    <a:pt x="172" y="279"/>
                    <a:pt x="120" y="271"/>
                  </a:cubicBezTo>
                  <a:cubicBezTo>
                    <a:pt x="104" y="235"/>
                    <a:pt x="116" y="207"/>
                    <a:pt x="72" y="195"/>
                  </a:cubicBezTo>
                  <a:cubicBezTo>
                    <a:pt x="44" y="203"/>
                    <a:pt x="48" y="207"/>
                    <a:pt x="24" y="191"/>
                  </a:cubicBezTo>
                  <a:cubicBezTo>
                    <a:pt x="20" y="179"/>
                    <a:pt x="12" y="155"/>
                    <a:pt x="12" y="155"/>
                  </a:cubicBezTo>
                  <a:cubicBezTo>
                    <a:pt x="8" y="127"/>
                    <a:pt x="0" y="95"/>
                    <a:pt x="32" y="83"/>
                  </a:cubicBezTo>
                  <a:cubicBezTo>
                    <a:pt x="48" y="55"/>
                    <a:pt x="56" y="55"/>
                    <a:pt x="88" y="47"/>
                  </a:cubicBezTo>
                  <a:cubicBezTo>
                    <a:pt x="136" y="11"/>
                    <a:pt x="12" y="43"/>
                    <a:pt x="152" y="15"/>
                  </a:cubicBezTo>
                  <a:cubicBezTo>
                    <a:pt x="160" y="15"/>
                    <a:pt x="189" y="0"/>
                    <a:pt x="181" y="0"/>
                  </a:cubicBez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  <p:sp>
          <p:nvSpPr>
            <p:cNvPr id="293" name="Freeform 108"/>
            <p:cNvSpPr>
              <a:spLocks noChangeAspect="1"/>
            </p:cNvSpPr>
            <p:nvPr/>
          </p:nvSpPr>
          <p:spPr bwMode="auto">
            <a:xfrm>
              <a:off x="2339" y="2957"/>
              <a:ext cx="38" cy="50"/>
            </a:xfrm>
            <a:custGeom>
              <a:avLst/>
              <a:gdLst>
                <a:gd name="T0" fmla="*/ 0 w 153"/>
                <a:gd name="T1" fmla="*/ 0 h 200"/>
                <a:gd name="T2" fmla="*/ 0 w 153"/>
                <a:gd name="T3" fmla="*/ 0 h 200"/>
                <a:gd name="T4" fmla="*/ 0 w 153"/>
                <a:gd name="T5" fmla="*/ 0 h 200"/>
                <a:gd name="T6" fmla="*/ 0 w 153"/>
                <a:gd name="T7" fmla="*/ 0 h 200"/>
                <a:gd name="T8" fmla="*/ 0 w 153"/>
                <a:gd name="T9" fmla="*/ 0 h 200"/>
                <a:gd name="T10" fmla="*/ 0 w 153"/>
                <a:gd name="T11" fmla="*/ 0 h 200"/>
                <a:gd name="T12" fmla="*/ 0 w 153"/>
                <a:gd name="T13" fmla="*/ 0 h 200"/>
                <a:gd name="T14" fmla="*/ 0 w 153"/>
                <a:gd name="T15" fmla="*/ 0 h 200"/>
                <a:gd name="T16" fmla="*/ 0 w 153"/>
                <a:gd name="T17" fmla="*/ 0 h 20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53"/>
                <a:gd name="T28" fmla="*/ 0 h 200"/>
                <a:gd name="T29" fmla="*/ 153 w 153"/>
                <a:gd name="T30" fmla="*/ 200 h 20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53" h="200">
                  <a:moveTo>
                    <a:pt x="95" y="0"/>
                  </a:moveTo>
                  <a:cubicBezTo>
                    <a:pt x="0" y="3"/>
                    <a:pt x="71" y="24"/>
                    <a:pt x="23" y="56"/>
                  </a:cubicBezTo>
                  <a:cubicBezTo>
                    <a:pt x="15" y="96"/>
                    <a:pt x="15" y="116"/>
                    <a:pt x="11" y="168"/>
                  </a:cubicBezTo>
                  <a:cubicBezTo>
                    <a:pt x="22" y="186"/>
                    <a:pt x="33" y="181"/>
                    <a:pt x="51" y="184"/>
                  </a:cubicBezTo>
                  <a:cubicBezTo>
                    <a:pt x="63" y="200"/>
                    <a:pt x="111" y="171"/>
                    <a:pt x="130" y="178"/>
                  </a:cubicBezTo>
                  <a:cubicBezTo>
                    <a:pt x="125" y="160"/>
                    <a:pt x="132" y="150"/>
                    <a:pt x="147" y="120"/>
                  </a:cubicBezTo>
                  <a:cubicBezTo>
                    <a:pt x="153" y="88"/>
                    <a:pt x="151" y="79"/>
                    <a:pt x="127" y="63"/>
                  </a:cubicBezTo>
                  <a:cubicBezTo>
                    <a:pt x="105" y="42"/>
                    <a:pt x="115" y="48"/>
                    <a:pt x="95" y="28"/>
                  </a:cubicBezTo>
                  <a:cubicBezTo>
                    <a:pt x="91" y="8"/>
                    <a:pt x="91" y="16"/>
                    <a:pt x="95" y="0"/>
                  </a:cubicBez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  <p:grpSp>
          <p:nvGrpSpPr>
            <p:cNvPr id="294" name="Group 109"/>
            <p:cNvGrpSpPr>
              <a:grpSpLocks/>
            </p:cNvGrpSpPr>
            <p:nvPr/>
          </p:nvGrpSpPr>
          <p:grpSpPr bwMode="auto">
            <a:xfrm>
              <a:off x="2245" y="2705"/>
              <a:ext cx="177" cy="201"/>
              <a:chOff x="1507" y="4979"/>
              <a:chExt cx="706" cy="796"/>
            </a:xfrm>
            <a:grpFill/>
          </p:grpSpPr>
          <p:sp>
            <p:nvSpPr>
              <p:cNvPr id="308" name="Freeform 110"/>
              <p:cNvSpPr>
                <a:spLocks noChangeAspect="1"/>
              </p:cNvSpPr>
              <p:nvPr/>
            </p:nvSpPr>
            <p:spPr bwMode="auto">
              <a:xfrm>
                <a:off x="1759" y="5075"/>
                <a:ext cx="56" cy="44"/>
              </a:xfrm>
              <a:custGeom>
                <a:avLst/>
                <a:gdLst>
                  <a:gd name="T0" fmla="*/ 2147483647 w 14"/>
                  <a:gd name="T1" fmla="*/ 0 h 11"/>
                  <a:gd name="T2" fmla="*/ 2147483647 w 14"/>
                  <a:gd name="T3" fmla="*/ 2147483647 h 11"/>
                  <a:gd name="T4" fmla="*/ 2147483647 w 14"/>
                  <a:gd name="T5" fmla="*/ 2147483647 h 11"/>
                  <a:gd name="T6" fmla="*/ 2147483647 w 14"/>
                  <a:gd name="T7" fmla="*/ 0 h 11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4"/>
                  <a:gd name="T13" fmla="*/ 0 h 11"/>
                  <a:gd name="T14" fmla="*/ 14 w 14"/>
                  <a:gd name="T15" fmla="*/ 11 h 11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4" h="11">
                    <a:moveTo>
                      <a:pt x="5" y="0"/>
                    </a:moveTo>
                    <a:cubicBezTo>
                      <a:pt x="9" y="1"/>
                      <a:pt x="14" y="0"/>
                      <a:pt x="9" y="7"/>
                    </a:cubicBezTo>
                    <a:cubicBezTo>
                      <a:pt x="8" y="9"/>
                      <a:pt x="3" y="11"/>
                      <a:pt x="3" y="11"/>
                    </a:cubicBezTo>
                    <a:cubicBezTo>
                      <a:pt x="0" y="7"/>
                      <a:pt x="1" y="4"/>
                      <a:pt x="5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09" name="Freeform 111"/>
              <p:cNvSpPr>
                <a:spLocks noChangeAspect="1"/>
              </p:cNvSpPr>
              <p:nvPr/>
            </p:nvSpPr>
            <p:spPr bwMode="auto">
              <a:xfrm>
                <a:off x="1803" y="5019"/>
                <a:ext cx="32" cy="68"/>
              </a:xfrm>
              <a:custGeom>
                <a:avLst/>
                <a:gdLst>
                  <a:gd name="T0" fmla="*/ 0 w 8"/>
                  <a:gd name="T1" fmla="*/ 2147483647 h 17"/>
                  <a:gd name="T2" fmla="*/ 2147483647 w 8"/>
                  <a:gd name="T3" fmla="*/ 0 h 17"/>
                  <a:gd name="T4" fmla="*/ 0 w 8"/>
                  <a:gd name="T5" fmla="*/ 2147483647 h 17"/>
                  <a:gd name="T6" fmla="*/ 0 60000 65536"/>
                  <a:gd name="T7" fmla="*/ 0 60000 65536"/>
                  <a:gd name="T8" fmla="*/ 0 60000 65536"/>
                  <a:gd name="T9" fmla="*/ 0 w 8"/>
                  <a:gd name="T10" fmla="*/ 0 h 17"/>
                  <a:gd name="T11" fmla="*/ 8 w 8"/>
                  <a:gd name="T12" fmla="*/ 17 h 17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8" h="17">
                    <a:moveTo>
                      <a:pt x="0" y="8"/>
                    </a:moveTo>
                    <a:cubicBezTo>
                      <a:pt x="5" y="6"/>
                      <a:pt x="4" y="4"/>
                      <a:pt x="8" y="0"/>
                    </a:cubicBezTo>
                    <a:cubicBezTo>
                      <a:pt x="8" y="2"/>
                      <a:pt x="0" y="17"/>
                      <a:pt x="0" y="8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10" name="Freeform 112"/>
              <p:cNvSpPr>
                <a:spLocks noChangeAspect="1"/>
              </p:cNvSpPr>
              <p:nvPr/>
            </p:nvSpPr>
            <p:spPr bwMode="auto">
              <a:xfrm>
                <a:off x="1859" y="4991"/>
                <a:ext cx="48" cy="40"/>
              </a:xfrm>
              <a:custGeom>
                <a:avLst/>
                <a:gdLst>
                  <a:gd name="T0" fmla="*/ 0 w 12"/>
                  <a:gd name="T1" fmla="*/ 2147483647 h 10"/>
                  <a:gd name="T2" fmla="*/ 2147483647 w 12"/>
                  <a:gd name="T3" fmla="*/ 2147483647 h 10"/>
                  <a:gd name="T4" fmla="*/ 0 w 12"/>
                  <a:gd name="T5" fmla="*/ 2147483647 h 10"/>
                  <a:gd name="T6" fmla="*/ 0 60000 65536"/>
                  <a:gd name="T7" fmla="*/ 0 60000 65536"/>
                  <a:gd name="T8" fmla="*/ 0 60000 65536"/>
                  <a:gd name="T9" fmla="*/ 0 w 12"/>
                  <a:gd name="T10" fmla="*/ 0 h 10"/>
                  <a:gd name="T11" fmla="*/ 12 w 12"/>
                  <a:gd name="T12" fmla="*/ 10 h 10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2" h="10">
                    <a:moveTo>
                      <a:pt x="0" y="3"/>
                    </a:moveTo>
                    <a:cubicBezTo>
                      <a:pt x="8" y="0"/>
                      <a:pt x="4" y="1"/>
                      <a:pt x="12" y="2"/>
                    </a:cubicBezTo>
                    <a:cubicBezTo>
                      <a:pt x="10" y="9"/>
                      <a:pt x="0" y="10"/>
                      <a:pt x="0" y="3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11" name="Freeform 113"/>
              <p:cNvSpPr>
                <a:spLocks noChangeAspect="1"/>
              </p:cNvSpPr>
              <p:nvPr/>
            </p:nvSpPr>
            <p:spPr bwMode="auto">
              <a:xfrm>
                <a:off x="1919" y="4979"/>
                <a:ext cx="96" cy="28"/>
              </a:xfrm>
              <a:custGeom>
                <a:avLst/>
                <a:gdLst>
                  <a:gd name="T0" fmla="*/ 2147483647 w 24"/>
                  <a:gd name="T1" fmla="*/ 2147483647 h 7"/>
                  <a:gd name="T2" fmla="*/ 2147483647 w 24"/>
                  <a:gd name="T3" fmla="*/ 2147483647 h 7"/>
                  <a:gd name="T4" fmla="*/ 2147483647 w 24"/>
                  <a:gd name="T5" fmla="*/ 2147483647 h 7"/>
                  <a:gd name="T6" fmla="*/ 0 60000 65536"/>
                  <a:gd name="T7" fmla="*/ 0 60000 65536"/>
                  <a:gd name="T8" fmla="*/ 0 60000 65536"/>
                  <a:gd name="T9" fmla="*/ 0 w 24"/>
                  <a:gd name="T10" fmla="*/ 0 h 7"/>
                  <a:gd name="T11" fmla="*/ 24 w 24"/>
                  <a:gd name="T12" fmla="*/ 7 h 7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4" h="7">
                    <a:moveTo>
                      <a:pt x="1" y="4"/>
                    </a:moveTo>
                    <a:cubicBezTo>
                      <a:pt x="22" y="3"/>
                      <a:pt x="24" y="3"/>
                      <a:pt x="12" y="7"/>
                    </a:cubicBezTo>
                    <a:cubicBezTo>
                      <a:pt x="6" y="6"/>
                      <a:pt x="0" y="0"/>
                      <a:pt x="1" y="4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12" name="Freeform 114"/>
              <p:cNvSpPr>
                <a:spLocks noChangeAspect="1"/>
              </p:cNvSpPr>
              <p:nvPr/>
            </p:nvSpPr>
            <p:spPr bwMode="auto">
              <a:xfrm>
                <a:off x="1507" y="5019"/>
                <a:ext cx="706" cy="756"/>
              </a:xfrm>
              <a:custGeom>
                <a:avLst/>
                <a:gdLst>
                  <a:gd name="T0" fmla="*/ 694 w 706"/>
                  <a:gd name="T1" fmla="*/ 39 h 756"/>
                  <a:gd name="T2" fmla="*/ 624 w 706"/>
                  <a:gd name="T3" fmla="*/ 0 h 756"/>
                  <a:gd name="T4" fmla="*/ 508 w 706"/>
                  <a:gd name="T5" fmla="*/ 12 h 756"/>
                  <a:gd name="T6" fmla="*/ 432 w 706"/>
                  <a:gd name="T7" fmla="*/ 28 h 756"/>
                  <a:gd name="T8" fmla="*/ 376 w 706"/>
                  <a:gd name="T9" fmla="*/ 60 h 756"/>
                  <a:gd name="T10" fmla="*/ 328 w 706"/>
                  <a:gd name="T11" fmla="*/ 92 h 756"/>
                  <a:gd name="T12" fmla="*/ 304 w 706"/>
                  <a:gd name="T13" fmla="*/ 100 h 756"/>
                  <a:gd name="T14" fmla="*/ 244 w 706"/>
                  <a:gd name="T15" fmla="*/ 156 h 756"/>
                  <a:gd name="T16" fmla="*/ 364 w 706"/>
                  <a:gd name="T17" fmla="*/ 240 h 756"/>
                  <a:gd name="T18" fmla="*/ 324 w 706"/>
                  <a:gd name="T19" fmla="*/ 272 h 756"/>
                  <a:gd name="T20" fmla="*/ 220 w 706"/>
                  <a:gd name="T21" fmla="*/ 268 h 756"/>
                  <a:gd name="T22" fmla="*/ 168 w 706"/>
                  <a:gd name="T23" fmla="*/ 316 h 756"/>
                  <a:gd name="T24" fmla="*/ 112 w 706"/>
                  <a:gd name="T25" fmla="*/ 392 h 756"/>
                  <a:gd name="T26" fmla="*/ 76 w 706"/>
                  <a:gd name="T27" fmla="*/ 420 h 756"/>
                  <a:gd name="T28" fmla="*/ 12 w 706"/>
                  <a:gd name="T29" fmla="*/ 504 h 756"/>
                  <a:gd name="T30" fmla="*/ 36 w 706"/>
                  <a:gd name="T31" fmla="*/ 560 h 756"/>
                  <a:gd name="T32" fmla="*/ 76 w 706"/>
                  <a:gd name="T33" fmla="*/ 580 h 756"/>
                  <a:gd name="T34" fmla="*/ 196 w 706"/>
                  <a:gd name="T35" fmla="*/ 536 h 756"/>
                  <a:gd name="T36" fmla="*/ 300 w 706"/>
                  <a:gd name="T37" fmla="*/ 564 h 756"/>
                  <a:gd name="T38" fmla="*/ 364 w 706"/>
                  <a:gd name="T39" fmla="*/ 612 h 756"/>
                  <a:gd name="T40" fmla="*/ 400 w 706"/>
                  <a:gd name="T41" fmla="*/ 628 h 756"/>
                  <a:gd name="T42" fmla="*/ 424 w 706"/>
                  <a:gd name="T43" fmla="*/ 644 h 756"/>
                  <a:gd name="T44" fmla="*/ 392 w 706"/>
                  <a:gd name="T45" fmla="*/ 704 h 756"/>
                  <a:gd name="T46" fmla="*/ 408 w 706"/>
                  <a:gd name="T47" fmla="*/ 756 h 756"/>
                  <a:gd name="T48" fmla="*/ 464 w 706"/>
                  <a:gd name="T49" fmla="*/ 732 h 756"/>
                  <a:gd name="T50" fmla="*/ 460 w 706"/>
                  <a:gd name="T51" fmla="*/ 720 h 756"/>
                  <a:gd name="T52" fmla="*/ 440 w 706"/>
                  <a:gd name="T53" fmla="*/ 692 h 756"/>
                  <a:gd name="T54" fmla="*/ 466 w 706"/>
                  <a:gd name="T55" fmla="*/ 669 h 756"/>
                  <a:gd name="T56" fmla="*/ 484 w 706"/>
                  <a:gd name="T57" fmla="*/ 624 h 756"/>
                  <a:gd name="T58" fmla="*/ 496 w 706"/>
                  <a:gd name="T59" fmla="*/ 588 h 756"/>
                  <a:gd name="T60" fmla="*/ 484 w 706"/>
                  <a:gd name="T61" fmla="*/ 524 h 756"/>
                  <a:gd name="T62" fmla="*/ 482 w 706"/>
                  <a:gd name="T63" fmla="*/ 471 h 756"/>
                  <a:gd name="T64" fmla="*/ 464 w 706"/>
                  <a:gd name="T65" fmla="*/ 474 h 756"/>
                  <a:gd name="T66" fmla="*/ 529 w 706"/>
                  <a:gd name="T67" fmla="*/ 452 h 756"/>
                  <a:gd name="T68" fmla="*/ 610 w 706"/>
                  <a:gd name="T69" fmla="*/ 431 h 756"/>
                  <a:gd name="T70" fmla="*/ 616 w 706"/>
                  <a:gd name="T71" fmla="*/ 371 h 756"/>
                  <a:gd name="T72" fmla="*/ 652 w 706"/>
                  <a:gd name="T73" fmla="*/ 356 h 756"/>
                  <a:gd name="T74" fmla="*/ 625 w 706"/>
                  <a:gd name="T75" fmla="*/ 273 h 756"/>
                  <a:gd name="T76" fmla="*/ 593 w 706"/>
                  <a:gd name="T77" fmla="*/ 231 h 756"/>
                  <a:gd name="T78" fmla="*/ 628 w 706"/>
                  <a:gd name="T79" fmla="*/ 215 h 756"/>
                  <a:gd name="T80" fmla="*/ 646 w 706"/>
                  <a:gd name="T81" fmla="*/ 242 h 756"/>
                  <a:gd name="T82" fmla="*/ 665 w 706"/>
                  <a:gd name="T83" fmla="*/ 197 h 756"/>
                  <a:gd name="T84" fmla="*/ 694 w 706"/>
                  <a:gd name="T85" fmla="*/ 39 h 75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706"/>
                  <a:gd name="T130" fmla="*/ 0 h 756"/>
                  <a:gd name="T131" fmla="*/ 706 w 706"/>
                  <a:gd name="T132" fmla="*/ 756 h 756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706" h="756">
                    <a:moveTo>
                      <a:pt x="694" y="39"/>
                    </a:moveTo>
                    <a:cubicBezTo>
                      <a:pt x="682" y="7"/>
                      <a:pt x="652" y="20"/>
                      <a:pt x="624" y="0"/>
                    </a:cubicBezTo>
                    <a:cubicBezTo>
                      <a:pt x="584" y="4"/>
                      <a:pt x="548" y="8"/>
                      <a:pt x="508" y="12"/>
                    </a:cubicBezTo>
                    <a:cubicBezTo>
                      <a:pt x="480" y="20"/>
                      <a:pt x="460" y="24"/>
                      <a:pt x="432" y="28"/>
                    </a:cubicBezTo>
                    <a:cubicBezTo>
                      <a:pt x="412" y="36"/>
                      <a:pt x="376" y="60"/>
                      <a:pt x="376" y="60"/>
                    </a:cubicBezTo>
                    <a:cubicBezTo>
                      <a:pt x="364" y="76"/>
                      <a:pt x="344" y="80"/>
                      <a:pt x="328" y="92"/>
                    </a:cubicBezTo>
                    <a:cubicBezTo>
                      <a:pt x="320" y="96"/>
                      <a:pt x="304" y="100"/>
                      <a:pt x="304" y="100"/>
                    </a:cubicBezTo>
                    <a:cubicBezTo>
                      <a:pt x="284" y="124"/>
                      <a:pt x="268" y="140"/>
                      <a:pt x="244" y="156"/>
                    </a:cubicBezTo>
                    <a:cubicBezTo>
                      <a:pt x="252" y="228"/>
                      <a:pt x="300" y="228"/>
                      <a:pt x="364" y="240"/>
                    </a:cubicBezTo>
                    <a:cubicBezTo>
                      <a:pt x="356" y="260"/>
                      <a:pt x="340" y="268"/>
                      <a:pt x="324" y="272"/>
                    </a:cubicBezTo>
                    <a:cubicBezTo>
                      <a:pt x="280" y="268"/>
                      <a:pt x="264" y="264"/>
                      <a:pt x="220" y="268"/>
                    </a:cubicBezTo>
                    <a:cubicBezTo>
                      <a:pt x="200" y="276"/>
                      <a:pt x="176" y="296"/>
                      <a:pt x="168" y="316"/>
                    </a:cubicBezTo>
                    <a:cubicBezTo>
                      <a:pt x="164" y="332"/>
                      <a:pt x="132" y="384"/>
                      <a:pt x="112" y="392"/>
                    </a:cubicBezTo>
                    <a:cubicBezTo>
                      <a:pt x="104" y="408"/>
                      <a:pt x="92" y="412"/>
                      <a:pt x="76" y="420"/>
                    </a:cubicBezTo>
                    <a:cubicBezTo>
                      <a:pt x="68" y="440"/>
                      <a:pt x="32" y="496"/>
                      <a:pt x="12" y="504"/>
                    </a:cubicBezTo>
                    <a:cubicBezTo>
                      <a:pt x="0" y="540"/>
                      <a:pt x="12" y="544"/>
                      <a:pt x="36" y="560"/>
                    </a:cubicBezTo>
                    <a:cubicBezTo>
                      <a:pt x="44" y="580"/>
                      <a:pt x="56" y="576"/>
                      <a:pt x="76" y="580"/>
                    </a:cubicBezTo>
                    <a:cubicBezTo>
                      <a:pt x="128" y="572"/>
                      <a:pt x="148" y="540"/>
                      <a:pt x="196" y="536"/>
                    </a:cubicBezTo>
                    <a:cubicBezTo>
                      <a:pt x="228" y="548"/>
                      <a:pt x="264" y="556"/>
                      <a:pt x="300" y="564"/>
                    </a:cubicBezTo>
                    <a:cubicBezTo>
                      <a:pt x="312" y="600"/>
                      <a:pt x="324" y="608"/>
                      <a:pt x="364" y="612"/>
                    </a:cubicBezTo>
                    <a:cubicBezTo>
                      <a:pt x="376" y="620"/>
                      <a:pt x="388" y="620"/>
                      <a:pt x="400" y="628"/>
                    </a:cubicBezTo>
                    <a:cubicBezTo>
                      <a:pt x="408" y="632"/>
                      <a:pt x="424" y="644"/>
                      <a:pt x="424" y="644"/>
                    </a:cubicBezTo>
                    <a:cubicBezTo>
                      <a:pt x="416" y="668"/>
                      <a:pt x="412" y="688"/>
                      <a:pt x="392" y="704"/>
                    </a:cubicBezTo>
                    <a:cubicBezTo>
                      <a:pt x="384" y="728"/>
                      <a:pt x="380" y="748"/>
                      <a:pt x="408" y="756"/>
                    </a:cubicBezTo>
                    <a:cubicBezTo>
                      <a:pt x="436" y="752"/>
                      <a:pt x="452" y="756"/>
                      <a:pt x="464" y="732"/>
                    </a:cubicBezTo>
                    <a:cubicBezTo>
                      <a:pt x="464" y="728"/>
                      <a:pt x="464" y="724"/>
                      <a:pt x="460" y="720"/>
                    </a:cubicBezTo>
                    <a:cubicBezTo>
                      <a:pt x="456" y="713"/>
                      <a:pt x="439" y="700"/>
                      <a:pt x="440" y="692"/>
                    </a:cubicBezTo>
                    <a:cubicBezTo>
                      <a:pt x="452" y="683"/>
                      <a:pt x="454" y="681"/>
                      <a:pt x="466" y="669"/>
                    </a:cubicBezTo>
                    <a:cubicBezTo>
                      <a:pt x="470" y="653"/>
                      <a:pt x="481" y="645"/>
                      <a:pt x="484" y="624"/>
                    </a:cubicBezTo>
                    <a:cubicBezTo>
                      <a:pt x="488" y="612"/>
                      <a:pt x="490" y="597"/>
                      <a:pt x="496" y="588"/>
                    </a:cubicBezTo>
                    <a:cubicBezTo>
                      <a:pt x="497" y="570"/>
                      <a:pt x="486" y="543"/>
                      <a:pt x="484" y="524"/>
                    </a:cubicBezTo>
                    <a:cubicBezTo>
                      <a:pt x="482" y="505"/>
                      <a:pt x="485" y="479"/>
                      <a:pt x="482" y="471"/>
                    </a:cubicBezTo>
                    <a:cubicBezTo>
                      <a:pt x="479" y="463"/>
                      <a:pt x="456" y="477"/>
                      <a:pt x="464" y="474"/>
                    </a:cubicBezTo>
                    <a:cubicBezTo>
                      <a:pt x="473" y="440"/>
                      <a:pt x="485" y="453"/>
                      <a:pt x="529" y="452"/>
                    </a:cubicBezTo>
                    <a:cubicBezTo>
                      <a:pt x="569" y="446"/>
                      <a:pt x="583" y="443"/>
                      <a:pt x="610" y="431"/>
                    </a:cubicBezTo>
                    <a:cubicBezTo>
                      <a:pt x="622" y="395"/>
                      <a:pt x="577" y="395"/>
                      <a:pt x="616" y="371"/>
                    </a:cubicBezTo>
                    <a:cubicBezTo>
                      <a:pt x="628" y="363"/>
                      <a:pt x="640" y="368"/>
                      <a:pt x="652" y="356"/>
                    </a:cubicBezTo>
                    <a:cubicBezTo>
                      <a:pt x="685" y="318"/>
                      <a:pt x="654" y="255"/>
                      <a:pt x="625" y="273"/>
                    </a:cubicBezTo>
                    <a:cubicBezTo>
                      <a:pt x="603" y="263"/>
                      <a:pt x="593" y="241"/>
                      <a:pt x="593" y="231"/>
                    </a:cubicBezTo>
                    <a:cubicBezTo>
                      <a:pt x="593" y="221"/>
                      <a:pt x="619" y="213"/>
                      <a:pt x="628" y="215"/>
                    </a:cubicBezTo>
                    <a:cubicBezTo>
                      <a:pt x="638" y="230"/>
                      <a:pt x="634" y="230"/>
                      <a:pt x="646" y="242"/>
                    </a:cubicBezTo>
                    <a:cubicBezTo>
                      <a:pt x="653" y="239"/>
                      <a:pt x="657" y="231"/>
                      <a:pt x="665" y="197"/>
                    </a:cubicBezTo>
                    <a:cubicBezTo>
                      <a:pt x="673" y="163"/>
                      <a:pt x="706" y="167"/>
                      <a:pt x="694" y="39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</p:grpSp>
        <p:grpSp>
          <p:nvGrpSpPr>
            <p:cNvPr id="295" name="Group 115"/>
            <p:cNvGrpSpPr>
              <a:grpSpLocks/>
            </p:cNvGrpSpPr>
            <p:nvPr/>
          </p:nvGrpSpPr>
          <p:grpSpPr bwMode="auto">
            <a:xfrm>
              <a:off x="1776" y="2141"/>
              <a:ext cx="402" cy="752"/>
              <a:chOff x="-347" y="2747"/>
              <a:chExt cx="1590" cy="2976"/>
            </a:xfrm>
            <a:grpFill/>
          </p:grpSpPr>
          <p:sp>
            <p:nvSpPr>
              <p:cNvPr id="297" name="Freeform 116"/>
              <p:cNvSpPr>
                <a:spLocks noChangeAspect="1"/>
              </p:cNvSpPr>
              <p:nvPr/>
            </p:nvSpPr>
            <p:spPr bwMode="auto">
              <a:xfrm>
                <a:off x="1007" y="2747"/>
                <a:ext cx="144" cy="288"/>
              </a:xfrm>
              <a:custGeom>
                <a:avLst/>
                <a:gdLst>
                  <a:gd name="T0" fmla="*/ 2147483647 w 36"/>
                  <a:gd name="T1" fmla="*/ 2147483647 h 72"/>
                  <a:gd name="T2" fmla="*/ 2147483647 w 36"/>
                  <a:gd name="T3" fmla="*/ 2147483647 h 72"/>
                  <a:gd name="T4" fmla="*/ 2147483647 w 36"/>
                  <a:gd name="T5" fmla="*/ 2147483647 h 72"/>
                  <a:gd name="T6" fmla="*/ 2147483647 w 36"/>
                  <a:gd name="T7" fmla="*/ 2147483647 h 72"/>
                  <a:gd name="T8" fmla="*/ 0 w 36"/>
                  <a:gd name="T9" fmla="*/ 2147483647 h 72"/>
                  <a:gd name="T10" fmla="*/ 2147483647 w 36"/>
                  <a:gd name="T11" fmla="*/ 2147483647 h 72"/>
                  <a:gd name="T12" fmla="*/ 2147483647 w 36"/>
                  <a:gd name="T13" fmla="*/ 2147483647 h 72"/>
                  <a:gd name="T14" fmla="*/ 2147483647 w 36"/>
                  <a:gd name="T15" fmla="*/ 2147483647 h 72"/>
                  <a:gd name="T16" fmla="*/ 2147483647 w 36"/>
                  <a:gd name="T17" fmla="*/ 2147483647 h 72"/>
                  <a:gd name="T18" fmla="*/ 2147483647 w 36"/>
                  <a:gd name="T19" fmla="*/ 2147483647 h 72"/>
                  <a:gd name="T20" fmla="*/ 2147483647 w 36"/>
                  <a:gd name="T21" fmla="*/ 2147483647 h 72"/>
                  <a:gd name="T22" fmla="*/ 2147483647 w 36"/>
                  <a:gd name="T23" fmla="*/ 2147483647 h 72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36"/>
                  <a:gd name="T37" fmla="*/ 0 h 72"/>
                  <a:gd name="T38" fmla="*/ 36 w 36"/>
                  <a:gd name="T39" fmla="*/ 72 h 72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36" h="72">
                    <a:moveTo>
                      <a:pt x="32" y="4"/>
                    </a:moveTo>
                    <a:cubicBezTo>
                      <a:pt x="24" y="5"/>
                      <a:pt x="26" y="8"/>
                      <a:pt x="20" y="11"/>
                    </a:cubicBezTo>
                    <a:cubicBezTo>
                      <a:pt x="16" y="16"/>
                      <a:pt x="11" y="17"/>
                      <a:pt x="7" y="22"/>
                    </a:cubicBezTo>
                    <a:cubicBezTo>
                      <a:pt x="5" y="24"/>
                      <a:pt x="3" y="28"/>
                      <a:pt x="3" y="28"/>
                    </a:cubicBezTo>
                    <a:cubicBezTo>
                      <a:pt x="2" y="33"/>
                      <a:pt x="2" y="38"/>
                      <a:pt x="0" y="43"/>
                    </a:cubicBezTo>
                    <a:cubicBezTo>
                      <a:pt x="2" y="53"/>
                      <a:pt x="1" y="63"/>
                      <a:pt x="7" y="72"/>
                    </a:cubicBezTo>
                    <a:cubicBezTo>
                      <a:pt x="10" y="68"/>
                      <a:pt x="12" y="66"/>
                      <a:pt x="17" y="63"/>
                    </a:cubicBezTo>
                    <a:cubicBezTo>
                      <a:pt x="18" y="60"/>
                      <a:pt x="20" y="57"/>
                      <a:pt x="21" y="54"/>
                    </a:cubicBezTo>
                    <a:cubicBezTo>
                      <a:pt x="22" y="42"/>
                      <a:pt x="20" y="30"/>
                      <a:pt x="30" y="23"/>
                    </a:cubicBezTo>
                    <a:cubicBezTo>
                      <a:pt x="32" y="19"/>
                      <a:pt x="34" y="14"/>
                      <a:pt x="36" y="9"/>
                    </a:cubicBezTo>
                    <a:cubicBezTo>
                      <a:pt x="33" y="0"/>
                      <a:pt x="30" y="7"/>
                      <a:pt x="26" y="11"/>
                    </a:cubicBezTo>
                    <a:lnTo>
                      <a:pt x="32" y="4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298" name="Freeform 117"/>
              <p:cNvSpPr>
                <a:spLocks noChangeAspect="1"/>
              </p:cNvSpPr>
              <p:nvPr/>
            </p:nvSpPr>
            <p:spPr bwMode="auto">
              <a:xfrm>
                <a:off x="715" y="3135"/>
                <a:ext cx="120" cy="132"/>
              </a:xfrm>
              <a:custGeom>
                <a:avLst/>
                <a:gdLst>
                  <a:gd name="T0" fmla="*/ 2147483647 w 30"/>
                  <a:gd name="T1" fmla="*/ 0 h 33"/>
                  <a:gd name="T2" fmla="*/ 2147483647 w 30"/>
                  <a:gd name="T3" fmla="*/ 2147483647 h 33"/>
                  <a:gd name="T4" fmla="*/ 0 w 30"/>
                  <a:gd name="T5" fmla="*/ 2147483647 h 33"/>
                  <a:gd name="T6" fmla="*/ 2147483647 w 30"/>
                  <a:gd name="T7" fmla="*/ 2147483647 h 33"/>
                  <a:gd name="T8" fmla="*/ 2147483647 w 30"/>
                  <a:gd name="T9" fmla="*/ 2147483647 h 33"/>
                  <a:gd name="T10" fmla="*/ 2147483647 w 30"/>
                  <a:gd name="T11" fmla="*/ 2147483647 h 33"/>
                  <a:gd name="T12" fmla="*/ 2147483647 w 30"/>
                  <a:gd name="T13" fmla="*/ 0 h 3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0"/>
                  <a:gd name="T22" fmla="*/ 0 h 33"/>
                  <a:gd name="T23" fmla="*/ 30 w 30"/>
                  <a:gd name="T24" fmla="*/ 33 h 3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0" h="33">
                    <a:moveTo>
                      <a:pt x="16" y="0"/>
                    </a:moveTo>
                    <a:cubicBezTo>
                      <a:pt x="7" y="3"/>
                      <a:pt x="9" y="3"/>
                      <a:pt x="3" y="9"/>
                    </a:cubicBezTo>
                    <a:cubicBezTo>
                      <a:pt x="0" y="17"/>
                      <a:pt x="1" y="13"/>
                      <a:pt x="0" y="21"/>
                    </a:cubicBezTo>
                    <a:cubicBezTo>
                      <a:pt x="1" y="29"/>
                      <a:pt x="3" y="31"/>
                      <a:pt x="10" y="33"/>
                    </a:cubicBezTo>
                    <a:cubicBezTo>
                      <a:pt x="25" y="32"/>
                      <a:pt x="18" y="33"/>
                      <a:pt x="25" y="26"/>
                    </a:cubicBezTo>
                    <a:cubicBezTo>
                      <a:pt x="26" y="20"/>
                      <a:pt x="27" y="17"/>
                      <a:pt x="30" y="12"/>
                    </a:cubicBezTo>
                    <a:cubicBezTo>
                      <a:pt x="27" y="0"/>
                      <a:pt x="24" y="5"/>
                      <a:pt x="16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299" name="Freeform 118"/>
              <p:cNvSpPr>
                <a:spLocks noChangeAspect="1"/>
              </p:cNvSpPr>
              <p:nvPr/>
            </p:nvSpPr>
            <p:spPr bwMode="auto">
              <a:xfrm>
                <a:off x="-88" y="3271"/>
                <a:ext cx="340" cy="432"/>
              </a:xfrm>
              <a:custGeom>
                <a:avLst/>
                <a:gdLst>
                  <a:gd name="T0" fmla="*/ 2147483647 w 85"/>
                  <a:gd name="T1" fmla="*/ 0 h 108"/>
                  <a:gd name="T2" fmla="*/ 2147483647 w 85"/>
                  <a:gd name="T3" fmla="*/ 2147483647 h 108"/>
                  <a:gd name="T4" fmla="*/ 2147483647 w 85"/>
                  <a:gd name="T5" fmla="*/ 2147483647 h 108"/>
                  <a:gd name="T6" fmla="*/ 2147483647 w 85"/>
                  <a:gd name="T7" fmla="*/ 2147483647 h 108"/>
                  <a:gd name="T8" fmla="*/ 2147483647 w 85"/>
                  <a:gd name="T9" fmla="*/ 2147483647 h 108"/>
                  <a:gd name="T10" fmla="*/ 0 w 85"/>
                  <a:gd name="T11" fmla="*/ 2147483647 h 108"/>
                  <a:gd name="T12" fmla="*/ 2147483647 w 85"/>
                  <a:gd name="T13" fmla="*/ 2147483647 h 108"/>
                  <a:gd name="T14" fmla="*/ 2147483647 w 85"/>
                  <a:gd name="T15" fmla="*/ 2147483647 h 108"/>
                  <a:gd name="T16" fmla="*/ 2147483647 w 85"/>
                  <a:gd name="T17" fmla="*/ 2147483647 h 108"/>
                  <a:gd name="T18" fmla="*/ 2147483647 w 85"/>
                  <a:gd name="T19" fmla="*/ 2147483647 h 108"/>
                  <a:gd name="T20" fmla="*/ 2147483647 w 85"/>
                  <a:gd name="T21" fmla="*/ 2147483647 h 108"/>
                  <a:gd name="T22" fmla="*/ 2147483647 w 85"/>
                  <a:gd name="T23" fmla="*/ 2147483647 h 108"/>
                  <a:gd name="T24" fmla="*/ 2147483647 w 85"/>
                  <a:gd name="T25" fmla="*/ 2147483647 h 108"/>
                  <a:gd name="T26" fmla="*/ 2147483647 w 85"/>
                  <a:gd name="T27" fmla="*/ 2147483647 h 108"/>
                  <a:gd name="T28" fmla="*/ 2147483647 w 85"/>
                  <a:gd name="T29" fmla="*/ 0 h 108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85"/>
                  <a:gd name="T46" fmla="*/ 0 h 108"/>
                  <a:gd name="T47" fmla="*/ 85 w 85"/>
                  <a:gd name="T48" fmla="*/ 108 h 108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85" h="108">
                    <a:moveTo>
                      <a:pt x="81" y="0"/>
                    </a:moveTo>
                    <a:cubicBezTo>
                      <a:pt x="69" y="1"/>
                      <a:pt x="55" y="0"/>
                      <a:pt x="45" y="7"/>
                    </a:cubicBezTo>
                    <a:cubicBezTo>
                      <a:pt x="38" y="18"/>
                      <a:pt x="41" y="31"/>
                      <a:pt x="36" y="42"/>
                    </a:cubicBezTo>
                    <a:cubicBezTo>
                      <a:pt x="33" y="48"/>
                      <a:pt x="26" y="52"/>
                      <a:pt x="21" y="55"/>
                    </a:cubicBezTo>
                    <a:cubicBezTo>
                      <a:pt x="14" y="65"/>
                      <a:pt x="17" y="83"/>
                      <a:pt x="6" y="90"/>
                    </a:cubicBezTo>
                    <a:cubicBezTo>
                      <a:pt x="5" y="96"/>
                      <a:pt x="4" y="99"/>
                      <a:pt x="0" y="103"/>
                    </a:cubicBezTo>
                    <a:cubicBezTo>
                      <a:pt x="1" y="106"/>
                      <a:pt x="7" y="108"/>
                      <a:pt x="7" y="108"/>
                    </a:cubicBezTo>
                    <a:cubicBezTo>
                      <a:pt x="12" y="99"/>
                      <a:pt x="15" y="88"/>
                      <a:pt x="23" y="82"/>
                    </a:cubicBezTo>
                    <a:cubicBezTo>
                      <a:pt x="25" y="77"/>
                      <a:pt x="30" y="68"/>
                      <a:pt x="34" y="64"/>
                    </a:cubicBezTo>
                    <a:cubicBezTo>
                      <a:pt x="35" y="60"/>
                      <a:pt x="35" y="57"/>
                      <a:pt x="40" y="55"/>
                    </a:cubicBezTo>
                    <a:cubicBezTo>
                      <a:pt x="45" y="50"/>
                      <a:pt x="51" y="49"/>
                      <a:pt x="58" y="48"/>
                    </a:cubicBezTo>
                    <a:cubicBezTo>
                      <a:pt x="61" y="46"/>
                      <a:pt x="66" y="41"/>
                      <a:pt x="69" y="40"/>
                    </a:cubicBezTo>
                    <a:cubicBezTo>
                      <a:pt x="72" y="34"/>
                      <a:pt x="77" y="26"/>
                      <a:pt x="81" y="22"/>
                    </a:cubicBezTo>
                    <a:cubicBezTo>
                      <a:pt x="82" y="18"/>
                      <a:pt x="83" y="14"/>
                      <a:pt x="84" y="10"/>
                    </a:cubicBezTo>
                    <a:cubicBezTo>
                      <a:pt x="83" y="1"/>
                      <a:pt x="85" y="4"/>
                      <a:pt x="81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00" name="Freeform 119"/>
              <p:cNvSpPr>
                <a:spLocks noChangeAspect="1"/>
              </p:cNvSpPr>
              <p:nvPr/>
            </p:nvSpPr>
            <p:spPr bwMode="auto">
              <a:xfrm>
                <a:off x="76" y="3503"/>
                <a:ext cx="176" cy="200"/>
              </a:xfrm>
              <a:custGeom>
                <a:avLst/>
                <a:gdLst>
                  <a:gd name="T0" fmla="*/ 2147483647 w 44"/>
                  <a:gd name="T1" fmla="*/ 0 h 50"/>
                  <a:gd name="T2" fmla="*/ 2147483647 w 44"/>
                  <a:gd name="T3" fmla="*/ 2147483647 h 50"/>
                  <a:gd name="T4" fmla="*/ 2147483647 w 44"/>
                  <a:gd name="T5" fmla="*/ 2147483647 h 50"/>
                  <a:gd name="T6" fmla="*/ 2147483647 w 44"/>
                  <a:gd name="T7" fmla="*/ 2147483647 h 50"/>
                  <a:gd name="T8" fmla="*/ 2147483647 w 44"/>
                  <a:gd name="T9" fmla="*/ 2147483647 h 50"/>
                  <a:gd name="T10" fmla="*/ 2147483647 w 44"/>
                  <a:gd name="T11" fmla="*/ 2147483647 h 50"/>
                  <a:gd name="T12" fmla="*/ 2147483647 w 44"/>
                  <a:gd name="T13" fmla="*/ 2147483647 h 50"/>
                  <a:gd name="T14" fmla="*/ 2147483647 w 44"/>
                  <a:gd name="T15" fmla="*/ 2147483647 h 50"/>
                  <a:gd name="T16" fmla="*/ 2147483647 w 44"/>
                  <a:gd name="T17" fmla="*/ 2147483647 h 50"/>
                  <a:gd name="T18" fmla="*/ 2147483647 w 44"/>
                  <a:gd name="T19" fmla="*/ 0 h 50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44"/>
                  <a:gd name="T31" fmla="*/ 0 h 50"/>
                  <a:gd name="T32" fmla="*/ 44 w 44"/>
                  <a:gd name="T33" fmla="*/ 50 h 50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44" h="50">
                    <a:moveTo>
                      <a:pt x="23" y="0"/>
                    </a:moveTo>
                    <a:cubicBezTo>
                      <a:pt x="38" y="10"/>
                      <a:pt x="20" y="24"/>
                      <a:pt x="41" y="31"/>
                    </a:cubicBezTo>
                    <a:cubicBezTo>
                      <a:pt x="44" y="39"/>
                      <a:pt x="38" y="45"/>
                      <a:pt x="31" y="46"/>
                    </a:cubicBezTo>
                    <a:cubicBezTo>
                      <a:pt x="30" y="46"/>
                      <a:pt x="26" y="50"/>
                      <a:pt x="25" y="49"/>
                    </a:cubicBezTo>
                    <a:cubicBezTo>
                      <a:pt x="18" y="46"/>
                      <a:pt x="19" y="35"/>
                      <a:pt x="16" y="30"/>
                    </a:cubicBezTo>
                    <a:cubicBezTo>
                      <a:pt x="11" y="22"/>
                      <a:pt x="11" y="22"/>
                      <a:pt x="4" y="18"/>
                    </a:cubicBezTo>
                    <a:cubicBezTo>
                      <a:pt x="0" y="10"/>
                      <a:pt x="4" y="9"/>
                      <a:pt x="12" y="7"/>
                    </a:cubicBezTo>
                    <a:cubicBezTo>
                      <a:pt x="14" y="7"/>
                      <a:pt x="16" y="7"/>
                      <a:pt x="17" y="8"/>
                    </a:cubicBezTo>
                    <a:cubicBezTo>
                      <a:pt x="18" y="9"/>
                      <a:pt x="19" y="12"/>
                      <a:pt x="19" y="12"/>
                    </a:cubicBezTo>
                    <a:lnTo>
                      <a:pt x="23" y="0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01" name="Freeform 120"/>
              <p:cNvSpPr>
                <a:spLocks noChangeAspect="1"/>
              </p:cNvSpPr>
              <p:nvPr/>
            </p:nvSpPr>
            <p:spPr bwMode="auto">
              <a:xfrm>
                <a:off x="12" y="3987"/>
                <a:ext cx="108" cy="128"/>
              </a:xfrm>
              <a:custGeom>
                <a:avLst/>
                <a:gdLst>
                  <a:gd name="T0" fmla="*/ 2147483647 w 27"/>
                  <a:gd name="T1" fmla="*/ 2147483647 h 32"/>
                  <a:gd name="T2" fmla="*/ 2147483647 w 27"/>
                  <a:gd name="T3" fmla="*/ 2147483647 h 32"/>
                  <a:gd name="T4" fmla="*/ 2147483647 w 27"/>
                  <a:gd name="T5" fmla="*/ 2147483647 h 32"/>
                  <a:gd name="T6" fmla="*/ 2147483647 w 27"/>
                  <a:gd name="T7" fmla="*/ 2147483647 h 32"/>
                  <a:gd name="T8" fmla="*/ 2147483647 w 27"/>
                  <a:gd name="T9" fmla="*/ 2147483647 h 32"/>
                  <a:gd name="T10" fmla="*/ 2147483647 w 27"/>
                  <a:gd name="T11" fmla="*/ 2147483647 h 32"/>
                  <a:gd name="T12" fmla="*/ 2147483647 w 27"/>
                  <a:gd name="T13" fmla="*/ 2147483647 h 32"/>
                  <a:gd name="T14" fmla="*/ 2147483647 w 27"/>
                  <a:gd name="T15" fmla="*/ 2147483647 h 3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7"/>
                  <a:gd name="T25" fmla="*/ 0 h 32"/>
                  <a:gd name="T26" fmla="*/ 27 w 27"/>
                  <a:gd name="T27" fmla="*/ 32 h 3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7" h="32">
                    <a:moveTo>
                      <a:pt x="8" y="7"/>
                    </a:moveTo>
                    <a:cubicBezTo>
                      <a:pt x="0" y="11"/>
                      <a:pt x="1" y="18"/>
                      <a:pt x="8" y="23"/>
                    </a:cubicBezTo>
                    <a:cubicBezTo>
                      <a:pt x="9" y="24"/>
                      <a:pt x="10" y="25"/>
                      <a:pt x="10" y="26"/>
                    </a:cubicBezTo>
                    <a:cubicBezTo>
                      <a:pt x="10" y="27"/>
                      <a:pt x="10" y="29"/>
                      <a:pt x="9" y="30"/>
                    </a:cubicBezTo>
                    <a:cubicBezTo>
                      <a:pt x="8" y="31"/>
                      <a:pt x="5" y="32"/>
                      <a:pt x="6" y="32"/>
                    </a:cubicBezTo>
                    <a:cubicBezTo>
                      <a:pt x="10" y="32"/>
                      <a:pt x="13" y="31"/>
                      <a:pt x="17" y="31"/>
                    </a:cubicBezTo>
                    <a:cubicBezTo>
                      <a:pt x="25" y="25"/>
                      <a:pt x="16" y="19"/>
                      <a:pt x="27" y="12"/>
                    </a:cubicBezTo>
                    <a:cubicBezTo>
                      <a:pt x="24" y="0"/>
                      <a:pt x="0" y="18"/>
                      <a:pt x="8" y="7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02" name="Freeform 121"/>
              <p:cNvSpPr>
                <a:spLocks noChangeAspect="1"/>
              </p:cNvSpPr>
              <p:nvPr/>
            </p:nvSpPr>
            <p:spPr bwMode="auto">
              <a:xfrm>
                <a:off x="172" y="4495"/>
                <a:ext cx="128" cy="100"/>
              </a:xfrm>
              <a:custGeom>
                <a:avLst/>
                <a:gdLst>
                  <a:gd name="T0" fmla="*/ 2147483647 w 32"/>
                  <a:gd name="T1" fmla="*/ 0 h 25"/>
                  <a:gd name="T2" fmla="*/ 2147483647 w 32"/>
                  <a:gd name="T3" fmla="*/ 2147483647 h 25"/>
                  <a:gd name="T4" fmla="*/ 2147483647 w 32"/>
                  <a:gd name="T5" fmla="*/ 2147483647 h 25"/>
                  <a:gd name="T6" fmla="*/ 0 w 32"/>
                  <a:gd name="T7" fmla="*/ 2147483647 h 25"/>
                  <a:gd name="T8" fmla="*/ 2147483647 w 32"/>
                  <a:gd name="T9" fmla="*/ 2147483647 h 25"/>
                  <a:gd name="T10" fmla="*/ 2147483647 w 32"/>
                  <a:gd name="T11" fmla="*/ 2147483647 h 25"/>
                  <a:gd name="T12" fmla="*/ 2147483647 w 32"/>
                  <a:gd name="T13" fmla="*/ 2147483647 h 25"/>
                  <a:gd name="T14" fmla="*/ 2147483647 w 32"/>
                  <a:gd name="T15" fmla="*/ 0 h 25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2"/>
                  <a:gd name="T25" fmla="*/ 0 h 25"/>
                  <a:gd name="T26" fmla="*/ 32 w 32"/>
                  <a:gd name="T27" fmla="*/ 25 h 25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2" h="25">
                    <a:moveTo>
                      <a:pt x="19" y="0"/>
                    </a:moveTo>
                    <a:cubicBezTo>
                      <a:pt x="18" y="3"/>
                      <a:pt x="15" y="8"/>
                      <a:pt x="13" y="10"/>
                    </a:cubicBezTo>
                    <a:cubicBezTo>
                      <a:pt x="11" y="12"/>
                      <a:pt x="7" y="14"/>
                      <a:pt x="7" y="14"/>
                    </a:cubicBezTo>
                    <a:cubicBezTo>
                      <a:pt x="5" y="17"/>
                      <a:pt x="2" y="20"/>
                      <a:pt x="0" y="23"/>
                    </a:cubicBezTo>
                    <a:cubicBezTo>
                      <a:pt x="7" y="25"/>
                      <a:pt x="12" y="25"/>
                      <a:pt x="19" y="24"/>
                    </a:cubicBezTo>
                    <a:cubicBezTo>
                      <a:pt x="22" y="22"/>
                      <a:pt x="24" y="19"/>
                      <a:pt x="28" y="18"/>
                    </a:cubicBezTo>
                    <a:cubicBezTo>
                      <a:pt x="30" y="10"/>
                      <a:pt x="32" y="4"/>
                      <a:pt x="23" y="1"/>
                    </a:cubicBezTo>
                    <a:cubicBezTo>
                      <a:pt x="17" y="2"/>
                      <a:pt x="14" y="9"/>
                      <a:pt x="19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03" name="Freeform 122"/>
              <p:cNvSpPr>
                <a:spLocks noChangeAspect="1"/>
              </p:cNvSpPr>
              <p:nvPr/>
            </p:nvSpPr>
            <p:spPr bwMode="auto">
              <a:xfrm>
                <a:off x="152" y="4783"/>
                <a:ext cx="112" cy="100"/>
              </a:xfrm>
              <a:custGeom>
                <a:avLst/>
                <a:gdLst>
                  <a:gd name="T0" fmla="*/ 2147483647 w 28"/>
                  <a:gd name="T1" fmla="*/ 0 h 25"/>
                  <a:gd name="T2" fmla="*/ 2147483647 w 28"/>
                  <a:gd name="T3" fmla="*/ 2147483647 h 25"/>
                  <a:gd name="T4" fmla="*/ 2147483647 w 28"/>
                  <a:gd name="T5" fmla="*/ 2147483647 h 25"/>
                  <a:gd name="T6" fmla="*/ 2147483647 w 28"/>
                  <a:gd name="T7" fmla="*/ 2147483647 h 25"/>
                  <a:gd name="T8" fmla="*/ 2147483647 w 28"/>
                  <a:gd name="T9" fmla="*/ 2147483647 h 25"/>
                  <a:gd name="T10" fmla="*/ 2147483647 w 28"/>
                  <a:gd name="T11" fmla="*/ 0 h 2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8"/>
                  <a:gd name="T19" fmla="*/ 0 h 25"/>
                  <a:gd name="T20" fmla="*/ 28 w 28"/>
                  <a:gd name="T21" fmla="*/ 25 h 2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8" h="25">
                    <a:moveTo>
                      <a:pt x="11" y="0"/>
                    </a:moveTo>
                    <a:cubicBezTo>
                      <a:pt x="19" y="2"/>
                      <a:pt x="23" y="4"/>
                      <a:pt x="28" y="10"/>
                    </a:cubicBezTo>
                    <a:cubicBezTo>
                      <a:pt x="26" y="15"/>
                      <a:pt x="21" y="15"/>
                      <a:pt x="16" y="17"/>
                    </a:cubicBezTo>
                    <a:cubicBezTo>
                      <a:pt x="8" y="25"/>
                      <a:pt x="9" y="14"/>
                      <a:pt x="3" y="12"/>
                    </a:cubicBezTo>
                    <a:cubicBezTo>
                      <a:pt x="0" y="5"/>
                      <a:pt x="2" y="5"/>
                      <a:pt x="9" y="4"/>
                    </a:cubicBezTo>
                    <a:cubicBezTo>
                      <a:pt x="13" y="2"/>
                      <a:pt x="18" y="2"/>
                      <a:pt x="11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04" name="Freeform 123"/>
              <p:cNvSpPr>
                <a:spLocks noChangeAspect="1"/>
              </p:cNvSpPr>
              <p:nvPr/>
            </p:nvSpPr>
            <p:spPr bwMode="auto">
              <a:xfrm>
                <a:off x="-236" y="3311"/>
                <a:ext cx="1479" cy="2412"/>
              </a:xfrm>
              <a:custGeom>
                <a:avLst/>
                <a:gdLst>
                  <a:gd name="T0" fmla="*/ 2147483647 w 370"/>
                  <a:gd name="T1" fmla="*/ 2147483647 h 603"/>
                  <a:gd name="T2" fmla="*/ 2147483647 w 370"/>
                  <a:gd name="T3" fmla="*/ 2147483647 h 603"/>
                  <a:gd name="T4" fmla="*/ 2147483647 w 370"/>
                  <a:gd name="T5" fmla="*/ 2147483647 h 603"/>
                  <a:gd name="T6" fmla="*/ 2147483647 w 370"/>
                  <a:gd name="T7" fmla="*/ 2147483647 h 603"/>
                  <a:gd name="T8" fmla="*/ 2147483647 w 370"/>
                  <a:gd name="T9" fmla="*/ 2147483647 h 603"/>
                  <a:gd name="T10" fmla="*/ 2147483647 w 370"/>
                  <a:gd name="T11" fmla="*/ 2147483647 h 603"/>
                  <a:gd name="T12" fmla="*/ 2147483647 w 370"/>
                  <a:gd name="T13" fmla="*/ 2147483647 h 603"/>
                  <a:gd name="T14" fmla="*/ 2147483647 w 370"/>
                  <a:gd name="T15" fmla="*/ 2147483647 h 603"/>
                  <a:gd name="T16" fmla="*/ 2147483647 w 370"/>
                  <a:gd name="T17" fmla="*/ 2147483647 h 603"/>
                  <a:gd name="T18" fmla="*/ 2147483647 w 370"/>
                  <a:gd name="T19" fmla="*/ 2147483647 h 603"/>
                  <a:gd name="T20" fmla="*/ 2147483647 w 370"/>
                  <a:gd name="T21" fmla="*/ 2147483647 h 603"/>
                  <a:gd name="T22" fmla="*/ 2147483647 w 370"/>
                  <a:gd name="T23" fmla="*/ 2147483647 h 603"/>
                  <a:gd name="T24" fmla="*/ 2147483647 w 370"/>
                  <a:gd name="T25" fmla="*/ 2147483647 h 603"/>
                  <a:gd name="T26" fmla="*/ 2147483647 w 370"/>
                  <a:gd name="T27" fmla="*/ 2147483647 h 603"/>
                  <a:gd name="T28" fmla="*/ 2147483647 w 370"/>
                  <a:gd name="T29" fmla="*/ 2147483647 h 603"/>
                  <a:gd name="T30" fmla="*/ 2147483647 w 370"/>
                  <a:gd name="T31" fmla="*/ 2147483647 h 603"/>
                  <a:gd name="T32" fmla="*/ 2147483647 w 370"/>
                  <a:gd name="T33" fmla="*/ 2147483647 h 603"/>
                  <a:gd name="T34" fmla="*/ 2147483647 w 370"/>
                  <a:gd name="T35" fmla="*/ 2147483647 h 603"/>
                  <a:gd name="T36" fmla="*/ 2147483647 w 370"/>
                  <a:gd name="T37" fmla="*/ 2147483647 h 603"/>
                  <a:gd name="T38" fmla="*/ 2147483647 w 370"/>
                  <a:gd name="T39" fmla="*/ 2147483647 h 603"/>
                  <a:gd name="T40" fmla="*/ 2147483647 w 370"/>
                  <a:gd name="T41" fmla="*/ 2147483647 h 603"/>
                  <a:gd name="T42" fmla="*/ 2147483647 w 370"/>
                  <a:gd name="T43" fmla="*/ 2147483647 h 603"/>
                  <a:gd name="T44" fmla="*/ 2147483647 w 370"/>
                  <a:gd name="T45" fmla="*/ 2147483647 h 603"/>
                  <a:gd name="T46" fmla="*/ 2147483647 w 370"/>
                  <a:gd name="T47" fmla="*/ 2147483647 h 603"/>
                  <a:gd name="T48" fmla="*/ 2147483647 w 370"/>
                  <a:gd name="T49" fmla="*/ 2147483647 h 603"/>
                  <a:gd name="T50" fmla="*/ 2147483647 w 370"/>
                  <a:gd name="T51" fmla="*/ 2147483647 h 603"/>
                  <a:gd name="T52" fmla="*/ 2147483647 w 370"/>
                  <a:gd name="T53" fmla="*/ 2147483647 h 603"/>
                  <a:gd name="T54" fmla="*/ 2147483647 w 370"/>
                  <a:gd name="T55" fmla="*/ 2147483647 h 603"/>
                  <a:gd name="T56" fmla="*/ 2147483647 w 370"/>
                  <a:gd name="T57" fmla="*/ 2147483647 h 603"/>
                  <a:gd name="T58" fmla="*/ 2147483647 w 370"/>
                  <a:gd name="T59" fmla="*/ 2147483647 h 603"/>
                  <a:gd name="T60" fmla="*/ 2147483647 w 370"/>
                  <a:gd name="T61" fmla="*/ 2147483647 h 603"/>
                  <a:gd name="T62" fmla="*/ 2147483647 w 370"/>
                  <a:gd name="T63" fmla="*/ 2147483647 h 603"/>
                  <a:gd name="T64" fmla="*/ 2147483647 w 370"/>
                  <a:gd name="T65" fmla="*/ 2147483647 h 603"/>
                  <a:gd name="T66" fmla="*/ 2147483647 w 370"/>
                  <a:gd name="T67" fmla="*/ 2147483647 h 603"/>
                  <a:gd name="T68" fmla="*/ 2147483647 w 370"/>
                  <a:gd name="T69" fmla="*/ 2147483647 h 603"/>
                  <a:gd name="T70" fmla="*/ 2147483647 w 370"/>
                  <a:gd name="T71" fmla="*/ 2147483647 h 603"/>
                  <a:gd name="T72" fmla="*/ 2147483647 w 370"/>
                  <a:gd name="T73" fmla="*/ 2147483647 h 603"/>
                  <a:gd name="T74" fmla="*/ 2147483647 w 370"/>
                  <a:gd name="T75" fmla="*/ 2147483647 h 603"/>
                  <a:gd name="T76" fmla="*/ 2147483647 w 370"/>
                  <a:gd name="T77" fmla="*/ 2147483647 h 603"/>
                  <a:gd name="T78" fmla="*/ 2147483647 w 370"/>
                  <a:gd name="T79" fmla="*/ 2147483647 h 603"/>
                  <a:gd name="T80" fmla="*/ 2147483647 w 370"/>
                  <a:gd name="T81" fmla="*/ 2147483647 h 603"/>
                  <a:gd name="T82" fmla="*/ 2147483647 w 370"/>
                  <a:gd name="T83" fmla="*/ 2147483647 h 603"/>
                  <a:gd name="T84" fmla="*/ 2147483647 w 370"/>
                  <a:gd name="T85" fmla="*/ 2147483647 h 603"/>
                  <a:gd name="T86" fmla="*/ 2147483647 w 370"/>
                  <a:gd name="T87" fmla="*/ 2147483647 h 603"/>
                  <a:gd name="T88" fmla="*/ 2147483647 w 370"/>
                  <a:gd name="T89" fmla="*/ 2147483647 h 603"/>
                  <a:gd name="T90" fmla="*/ 2147483647 w 370"/>
                  <a:gd name="T91" fmla="*/ 2147483647 h 603"/>
                  <a:gd name="T92" fmla="*/ 2147483647 w 370"/>
                  <a:gd name="T93" fmla="*/ 2147483647 h 603"/>
                  <a:gd name="T94" fmla="*/ 2147483647 w 370"/>
                  <a:gd name="T95" fmla="*/ 2147483647 h 603"/>
                  <a:gd name="T96" fmla="*/ 2147483647 w 370"/>
                  <a:gd name="T97" fmla="*/ 2147483647 h 603"/>
                  <a:gd name="T98" fmla="*/ 2147483647 w 370"/>
                  <a:gd name="T99" fmla="*/ 2147483647 h 603"/>
                  <a:gd name="T100" fmla="*/ 2147483647 w 370"/>
                  <a:gd name="T101" fmla="*/ 2147483647 h 603"/>
                  <a:gd name="T102" fmla="*/ 2147483647 w 370"/>
                  <a:gd name="T103" fmla="*/ 2147483647 h 603"/>
                  <a:gd name="T104" fmla="*/ 2147483647 w 370"/>
                  <a:gd name="T105" fmla="*/ 2147483647 h 603"/>
                  <a:gd name="T106" fmla="*/ 2147483647 w 370"/>
                  <a:gd name="T107" fmla="*/ 2147483647 h 603"/>
                  <a:gd name="T108" fmla="*/ 2147483647 w 370"/>
                  <a:gd name="T109" fmla="*/ 2147483647 h 603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370"/>
                  <a:gd name="T166" fmla="*/ 0 h 603"/>
                  <a:gd name="T167" fmla="*/ 370 w 370"/>
                  <a:gd name="T168" fmla="*/ 603 h 603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370" h="603">
                    <a:moveTo>
                      <a:pt x="174" y="3"/>
                    </a:moveTo>
                    <a:cubicBezTo>
                      <a:pt x="184" y="2"/>
                      <a:pt x="190" y="6"/>
                      <a:pt x="199" y="7"/>
                    </a:cubicBezTo>
                    <a:cubicBezTo>
                      <a:pt x="217" y="6"/>
                      <a:pt x="224" y="4"/>
                      <a:pt x="240" y="6"/>
                    </a:cubicBezTo>
                    <a:cubicBezTo>
                      <a:pt x="237" y="29"/>
                      <a:pt x="221" y="37"/>
                      <a:pt x="199" y="40"/>
                    </a:cubicBezTo>
                    <a:cubicBezTo>
                      <a:pt x="193" y="44"/>
                      <a:pt x="192" y="44"/>
                      <a:pt x="190" y="51"/>
                    </a:cubicBezTo>
                    <a:cubicBezTo>
                      <a:pt x="192" y="60"/>
                      <a:pt x="193" y="64"/>
                      <a:pt x="185" y="69"/>
                    </a:cubicBezTo>
                    <a:cubicBezTo>
                      <a:pt x="183" y="75"/>
                      <a:pt x="182" y="78"/>
                      <a:pt x="176" y="79"/>
                    </a:cubicBezTo>
                    <a:cubicBezTo>
                      <a:pt x="173" y="80"/>
                      <a:pt x="165" y="82"/>
                      <a:pt x="168" y="81"/>
                    </a:cubicBezTo>
                    <a:cubicBezTo>
                      <a:pt x="172" y="80"/>
                      <a:pt x="177" y="79"/>
                      <a:pt x="181" y="78"/>
                    </a:cubicBezTo>
                    <a:cubicBezTo>
                      <a:pt x="188" y="73"/>
                      <a:pt x="195" y="75"/>
                      <a:pt x="204" y="74"/>
                    </a:cubicBezTo>
                    <a:cubicBezTo>
                      <a:pt x="224" y="70"/>
                      <a:pt x="243" y="79"/>
                      <a:pt x="263" y="82"/>
                    </a:cubicBezTo>
                    <a:cubicBezTo>
                      <a:pt x="268" y="85"/>
                      <a:pt x="269" y="83"/>
                      <a:pt x="270" y="90"/>
                    </a:cubicBezTo>
                    <a:cubicBezTo>
                      <a:pt x="269" y="97"/>
                      <a:pt x="272" y="104"/>
                      <a:pt x="265" y="106"/>
                    </a:cubicBezTo>
                    <a:cubicBezTo>
                      <a:pt x="260" y="114"/>
                      <a:pt x="254" y="126"/>
                      <a:pt x="248" y="132"/>
                    </a:cubicBezTo>
                    <a:cubicBezTo>
                      <a:pt x="245" y="141"/>
                      <a:pt x="243" y="146"/>
                      <a:pt x="235" y="152"/>
                    </a:cubicBezTo>
                    <a:cubicBezTo>
                      <a:pt x="233" y="157"/>
                      <a:pt x="230" y="161"/>
                      <a:pt x="227" y="165"/>
                    </a:cubicBezTo>
                    <a:cubicBezTo>
                      <a:pt x="222" y="164"/>
                      <a:pt x="217" y="163"/>
                      <a:pt x="212" y="160"/>
                    </a:cubicBezTo>
                    <a:cubicBezTo>
                      <a:pt x="209" y="161"/>
                      <a:pt x="205" y="160"/>
                      <a:pt x="202" y="162"/>
                    </a:cubicBezTo>
                    <a:cubicBezTo>
                      <a:pt x="202" y="162"/>
                      <a:pt x="208" y="165"/>
                      <a:pt x="212" y="166"/>
                    </a:cubicBezTo>
                    <a:cubicBezTo>
                      <a:pt x="217" y="168"/>
                      <a:pt x="222" y="169"/>
                      <a:pt x="226" y="172"/>
                    </a:cubicBezTo>
                    <a:cubicBezTo>
                      <a:pt x="223" y="175"/>
                      <a:pt x="221" y="177"/>
                      <a:pt x="217" y="178"/>
                    </a:cubicBezTo>
                    <a:cubicBezTo>
                      <a:pt x="212" y="185"/>
                      <a:pt x="201" y="183"/>
                      <a:pt x="194" y="184"/>
                    </a:cubicBezTo>
                    <a:cubicBezTo>
                      <a:pt x="191" y="186"/>
                      <a:pt x="188" y="187"/>
                      <a:pt x="184" y="188"/>
                    </a:cubicBezTo>
                    <a:cubicBezTo>
                      <a:pt x="180" y="195"/>
                      <a:pt x="187" y="194"/>
                      <a:pt x="193" y="196"/>
                    </a:cubicBezTo>
                    <a:cubicBezTo>
                      <a:pt x="205" y="195"/>
                      <a:pt x="206" y="189"/>
                      <a:pt x="216" y="192"/>
                    </a:cubicBezTo>
                    <a:cubicBezTo>
                      <a:pt x="219" y="194"/>
                      <a:pt x="230" y="198"/>
                      <a:pt x="233" y="200"/>
                    </a:cubicBezTo>
                    <a:cubicBezTo>
                      <a:pt x="236" y="204"/>
                      <a:pt x="238" y="209"/>
                      <a:pt x="242" y="212"/>
                    </a:cubicBezTo>
                    <a:cubicBezTo>
                      <a:pt x="243" y="216"/>
                      <a:pt x="241" y="221"/>
                      <a:pt x="245" y="224"/>
                    </a:cubicBezTo>
                    <a:cubicBezTo>
                      <a:pt x="248" y="235"/>
                      <a:pt x="243" y="233"/>
                      <a:pt x="254" y="237"/>
                    </a:cubicBezTo>
                    <a:cubicBezTo>
                      <a:pt x="253" y="242"/>
                      <a:pt x="262" y="263"/>
                      <a:pt x="260" y="268"/>
                    </a:cubicBezTo>
                    <a:cubicBezTo>
                      <a:pt x="259" y="270"/>
                      <a:pt x="258" y="274"/>
                      <a:pt x="258" y="274"/>
                    </a:cubicBezTo>
                    <a:cubicBezTo>
                      <a:pt x="259" y="296"/>
                      <a:pt x="255" y="289"/>
                      <a:pt x="266" y="296"/>
                    </a:cubicBezTo>
                    <a:cubicBezTo>
                      <a:pt x="269" y="302"/>
                      <a:pt x="268" y="299"/>
                      <a:pt x="270" y="306"/>
                    </a:cubicBezTo>
                    <a:cubicBezTo>
                      <a:pt x="271" y="308"/>
                      <a:pt x="272" y="312"/>
                      <a:pt x="272" y="312"/>
                    </a:cubicBezTo>
                    <a:cubicBezTo>
                      <a:pt x="275" y="310"/>
                      <a:pt x="289" y="311"/>
                      <a:pt x="270" y="315"/>
                    </a:cubicBezTo>
                    <a:cubicBezTo>
                      <a:pt x="272" y="316"/>
                      <a:pt x="283" y="316"/>
                      <a:pt x="287" y="319"/>
                    </a:cubicBezTo>
                    <a:cubicBezTo>
                      <a:pt x="290" y="311"/>
                      <a:pt x="278" y="330"/>
                      <a:pt x="296" y="333"/>
                    </a:cubicBezTo>
                    <a:cubicBezTo>
                      <a:pt x="300" y="339"/>
                      <a:pt x="303" y="345"/>
                      <a:pt x="305" y="352"/>
                    </a:cubicBezTo>
                    <a:cubicBezTo>
                      <a:pt x="304" y="364"/>
                      <a:pt x="301" y="372"/>
                      <a:pt x="305" y="385"/>
                    </a:cubicBezTo>
                    <a:cubicBezTo>
                      <a:pt x="298" y="387"/>
                      <a:pt x="299" y="379"/>
                      <a:pt x="294" y="376"/>
                    </a:cubicBezTo>
                    <a:cubicBezTo>
                      <a:pt x="289" y="373"/>
                      <a:pt x="281" y="374"/>
                      <a:pt x="275" y="372"/>
                    </a:cubicBezTo>
                    <a:cubicBezTo>
                      <a:pt x="275" y="372"/>
                      <a:pt x="267" y="373"/>
                      <a:pt x="269" y="376"/>
                    </a:cubicBezTo>
                    <a:cubicBezTo>
                      <a:pt x="271" y="380"/>
                      <a:pt x="284" y="386"/>
                      <a:pt x="288" y="387"/>
                    </a:cubicBezTo>
                    <a:cubicBezTo>
                      <a:pt x="291" y="389"/>
                      <a:pt x="299" y="392"/>
                      <a:pt x="299" y="392"/>
                    </a:cubicBezTo>
                    <a:cubicBezTo>
                      <a:pt x="302" y="396"/>
                      <a:pt x="306" y="398"/>
                      <a:pt x="310" y="402"/>
                    </a:cubicBezTo>
                    <a:cubicBezTo>
                      <a:pt x="312" y="409"/>
                      <a:pt x="315" y="419"/>
                      <a:pt x="308" y="424"/>
                    </a:cubicBezTo>
                    <a:cubicBezTo>
                      <a:pt x="305" y="428"/>
                      <a:pt x="302" y="429"/>
                      <a:pt x="301" y="434"/>
                    </a:cubicBezTo>
                    <a:cubicBezTo>
                      <a:pt x="301" y="438"/>
                      <a:pt x="301" y="442"/>
                      <a:pt x="302" y="445"/>
                    </a:cubicBezTo>
                    <a:cubicBezTo>
                      <a:pt x="303" y="448"/>
                      <a:pt x="311" y="444"/>
                      <a:pt x="311" y="444"/>
                    </a:cubicBezTo>
                    <a:cubicBezTo>
                      <a:pt x="314" y="440"/>
                      <a:pt x="315" y="440"/>
                      <a:pt x="320" y="439"/>
                    </a:cubicBezTo>
                    <a:cubicBezTo>
                      <a:pt x="338" y="440"/>
                      <a:pt x="332" y="431"/>
                      <a:pt x="342" y="436"/>
                    </a:cubicBezTo>
                    <a:cubicBezTo>
                      <a:pt x="345" y="438"/>
                      <a:pt x="354" y="440"/>
                      <a:pt x="354" y="440"/>
                    </a:cubicBezTo>
                    <a:cubicBezTo>
                      <a:pt x="357" y="443"/>
                      <a:pt x="360" y="450"/>
                      <a:pt x="364" y="451"/>
                    </a:cubicBezTo>
                    <a:cubicBezTo>
                      <a:pt x="366" y="453"/>
                      <a:pt x="364" y="457"/>
                      <a:pt x="365" y="459"/>
                    </a:cubicBezTo>
                    <a:cubicBezTo>
                      <a:pt x="366" y="461"/>
                      <a:pt x="367" y="465"/>
                      <a:pt x="367" y="465"/>
                    </a:cubicBezTo>
                    <a:cubicBezTo>
                      <a:pt x="368" y="475"/>
                      <a:pt x="370" y="488"/>
                      <a:pt x="361" y="494"/>
                    </a:cubicBezTo>
                    <a:cubicBezTo>
                      <a:pt x="358" y="501"/>
                      <a:pt x="354" y="505"/>
                      <a:pt x="351" y="510"/>
                    </a:cubicBezTo>
                    <a:cubicBezTo>
                      <a:pt x="347" y="512"/>
                      <a:pt x="338" y="506"/>
                      <a:pt x="336" y="508"/>
                    </a:cubicBezTo>
                    <a:cubicBezTo>
                      <a:pt x="334" y="510"/>
                      <a:pt x="343" y="520"/>
                      <a:pt x="341" y="522"/>
                    </a:cubicBezTo>
                    <a:cubicBezTo>
                      <a:pt x="340" y="525"/>
                      <a:pt x="327" y="521"/>
                      <a:pt x="324" y="522"/>
                    </a:cubicBezTo>
                    <a:cubicBezTo>
                      <a:pt x="321" y="523"/>
                      <a:pt x="327" y="527"/>
                      <a:pt x="325" y="530"/>
                    </a:cubicBezTo>
                    <a:cubicBezTo>
                      <a:pt x="323" y="533"/>
                      <a:pt x="315" y="536"/>
                      <a:pt x="311" y="538"/>
                    </a:cubicBezTo>
                    <a:cubicBezTo>
                      <a:pt x="310" y="541"/>
                      <a:pt x="304" y="544"/>
                      <a:pt x="304" y="544"/>
                    </a:cubicBezTo>
                    <a:cubicBezTo>
                      <a:pt x="307" y="552"/>
                      <a:pt x="307" y="552"/>
                      <a:pt x="316" y="553"/>
                    </a:cubicBezTo>
                    <a:cubicBezTo>
                      <a:pt x="320" y="552"/>
                      <a:pt x="324" y="549"/>
                      <a:pt x="328" y="549"/>
                    </a:cubicBezTo>
                    <a:cubicBezTo>
                      <a:pt x="329" y="549"/>
                      <a:pt x="330" y="551"/>
                      <a:pt x="331" y="552"/>
                    </a:cubicBezTo>
                    <a:cubicBezTo>
                      <a:pt x="335" y="554"/>
                      <a:pt x="340" y="554"/>
                      <a:pt x="344" y="554"/>
                    </a:cubicBezTo>
                    <a:cubicBezTo>
                      <a:pt x="343" y="561"/>
                      <a:pt x="343" y="568"/>
                      <a:pt x="338" y="573"/>
                    </a:cubicBezTo>
                    <a:cubicBezTo>
                      <a:pt x="335" y="582"/>
                      <a:pt x="325" y="583"/>
                      <a:pt x="317" y="584"/>
                    </a:cubicBezTo>
                    <a:cubicBezTo>
                      <a:pt x="311" y="586"/>
                      <a:pt x="305" y="588"/>
                      <a:pt x="300" y="591"/>
                    </a:cubicBezTo>
                    <a:cubicBezTo>
                      <a:pt x="297" y="593"/>
                      <a:pt x="290" y="596"/>
                      <a:pt x="290" y="596"/>
                    </a:cubicBezTo>
                    <a:cubicBezTo>
                      <a:pt x="288" y="596"/>
                      <a:pt x="286" y="596"/>
                      <a:pt x="284" y="595"/>
                    </a:cubicBezTo>
                    <a:cubicBezTo>
                      <a:pt x="283" y="594"/>
                      <a:pt x="284" y="593"/>
                      <a:pt x="283" y="592"/>
                    </a:cubicBezTo>
                    <a:cubicBezTo>
                      <a:pt x="281" y="591"/>
                      <a:pt x="277" y="590"/>
                      <a:pt x="277" y="590"/>
                    </a:cubicBezTo>
                    <a:cubicBezTo>
                      <a:pt x="272" y="589"/>
                      <a:pt x="256" y="586"/>
                      <a:pt x="251" y="585"/>
                    </a:cubicBezTo>
                    <a:cubicBezTo>
                      <a:pt x="249" y="584"/>
                      <a:pt x="245" y="583"/>
                      <a:pt x="245" y="583"/>
                    </a:cubicBezTo>
                    <a:cubicBezTo>
                      <a:pt x="235" y="585"/>
                      <a:pt x="228" y="580"/>
                      <a:pt x="218" y="579"/>
                    </a:cubicBezTo>
                    <a:cubicBezTo>
                      <a:pt x="219" y="579"/>
                      <a:pt x="220" y="577"/>
                      <a:pt x="221" y="578"/>
                    </a:cubicBezTo>
                    <a:cubicBezTo>
                      <a:pt x="222" y="579"/>
                      <a:pt x="221" y="582"/>
                      <a:pt x="220" y="582"/>
                    </a:cubicBezTo>
                    <a:cubicBezTo>
                      <a:pt x="215" y="582"/>
                      <a:pt x="206" y="579"/>
                      <a:pt x="206" y="579"/>
                    </a:cubicBezTo>
                    <a:cubicBezTo>
                      <a:pt x="201" y="581"/>
                      <a:pt x="201" y="585"/>
                      <a:pt x="198" y="580"/>
                    </a:cubicBezTo>
                    <a:cubicBezTo>
                      <a:pt x="196" y="580"/>
                      <a:pt x="195" y="580"/>
                      <a:pt x="193" y="580"/>
                    </a:cubicBezTo>
                    <a:cubicBezTo>
                      <a:pt x="195" y="579"/>
                      <a:pt x="189" y="583"/>
                      <a:pt x="187" y="583"/>
                    </a:cubicBezTo>
                    <a:cubicBezTo>
                      <a:pt x="183" y="584"/>
                      <a:pt x="178" y="584"/>
                      <a:pt x="174" y="584"/>
                    </a:cubicBezTo>
                    <a:cubicBezTo>
                      <a:pt x="171" y="595"/>
                      <a:pt x="155" y="577"/>
                      <a:pt x="148" y="574"/>
                    </a:cubicBezTo>
                    <a:cubicBezTo>
                      <a:pt x="145" y="573"/>
                      <a:pt x="140" y="572"/>
                      <a:pt x="140" y="572"/>
                    </a:cubicBezTo>
                    <a:cubicBezTo>
                      <a:pt x="133" y="573"/>
                      <a:pt x="126" y="571"/>
                      <a:pt x="120" y="574"/>
                    </a:cubicBezTo>
                    <a:cubicBezTo>
                      <a:pt x="118" y="575"/>
                      <a:pt x="116" y="580"/>
                      <a:pt x="116" y="580"/>
                    </a:cubicBezTo>
                    <a:cubicBezTo>
                      <a:pt x="114" y="589"/>
                      <a:pt x="117" y="579"/>
                      <a:pt x="106" y="586"/>
                    </a:cubicBezTo>
                    <a:cubicBezTo>
                      <a:pt x="103" y="589"/>
                      <a:pt x="99" y="595"/>
                      <a:pt x="97" y="596"/>
                    </a:cubicBezTo>
                    <a:cubicBezTo>
                      <a:pt x="104" y="591"/>
                      <a:pt x="100" y="591"/>
                      <a:pt x="92" y="590"/>
                    </a:cubicBezTo>
                    <a:cubicBezTo>
                      <a:pt x="83" y="587"/>
                      <a:pt x="75" y="586"/>
                      <a:pt x="66" y="585"/>
                    </a:cubicBezTo>
                    <a:cubicBezTo>
                      <a:pt x="59" y="586"/>
                      <a:pt x="56" y="588"/>
                      <a:pt x="49" y="590"/>
                    </a:cubicBezTo>
                    <a:cubicBezTo>
                      <a:pt x="47" y="591"/>
                      <a:pt x="43" y="592"/>
                      <a:pt x="43" y="592"/>
                    </a:cubicBezTo>
                    <a:cubicBezTo>
                      <a:pt x="39" y="596"/>
                      <a:pt x="37" y="598"/>
                      <a:pt x="34" y="603"/>
                    </a:cubicBezTo>
                    <a:cubicBezTo>
                      <a:pt x="19" y="601"/>
                      <a:pt x="22" y="595"/>
                      <a:pt x="8" y="594"/>
                    </a:cubicBezTo>
                    <a:cubicBezTo>
                      <a:pt x="2" y="596"/>
                      <a:pt x="3" y="600"/>
                      <a:pt x="0" y="592"/>
                    </a:cubicBezTo>
                    <a:cubicBezTo>
                      <a:pt x="4" y="590"/>
                      <a:pt x="7" y="589"/>
                      <a:pt x="12" y="588"/>
                    </a:cubicBezTo>
                    <a:cubicBezTo>
                      <a:pt x="24" y="582"/>
                      <a:pt x="18" y="584"/>
                      <a:pt x="40" y="583"/>
                    </a:cubicBezTo>
                    <a:cubicBezTo>
                      <a:pt x="45" y="564"/>
                      <a:pt x="44" y="571"/>
                      <a:pt x="58" y="562"/>
                    </a:cubicBezTo>
                    <a:cubicBezTo>
                      <a:pt x="63" y="555"/>
                      <a:pt x="60" y="557"/>
                      <a:pt x="65" y="554"/>
                    </a:cubicBezTo>
                    <a:cubicBezTo>
                      <a:pt x="68" y="548"/>
                      <a:pt x="76" y="545"/>
                      <a:pt x="82" y="543"/>
                    </a:cubicBezTo>
                    <a:cubicBezTo>
                      <a:pt x="85" y="540"/>
                      <a:pt x="86" y="537"/>
                      <a:pt x="89" y="534"/>
                    </a:cubicBezTo>
                    <a:cubicBezTo>
                      <a:pt x="91" y="525"/>
                      <a:pt x="107" y="530"/>
                      <a:pt x="114" y="530"/>
                    </a:cubicBezTo>
                    <a:cubicBezTo>
                      <a:pt x="116" y="531"/>
                      <a:pt x="118" y="534"/>
                      <a:pt x="120" y="535"/>
                    </a:cubicBezTo>
                    <a:cubicBezTo>
                      <a:pt x="122" y="536"/>
                      <a:pt x="128" y="537"/>
                      <a:pt x="128" y="537"/>
                    </a:cubicBezTo>
                    <a:cubicBezTo>
                      <a:pt x="155" y="535"/>
                      <a:pt x="148" y="523"/>
                      <a:pt x="162" y="518"/>
                    </a:cubicBezTo>
                    <a:cubicBezTo>
                      <a:pt x="165" y="514"/>
                      <a:pt x="168" y="511"/>
                      <a:pt x="172" y="508"/>
                    </a:cubicBezTo>
                    <a:cubicBezTo>
                      <a:pt x="174" y="507"/>
                      <a:pt x="178" y="504"/>
                      <a:pt x="178" y="504"/>
                    </a:cubicBezTo>
                    <a:cubicBezTo>
                      <a:pt x="179" y="503"/>
                      <a:pt x="181" y="502"/>
                      <a:pt x="180" y="501"/>
                    </a:cubicBezTo>
                    <a:cubicBezTo>
                      <a:pt x="175" y="498"/>
                      <a:pt x="164" y="507"/>
                      <a:pt x="164" y="507"/>
                    </a:cubicBezTo>
                    <a:cubicBezTo>
                      <a:pt x="159" y="512"/>
                      <a:pt x="157" y="511"/>
                      <a:pt x="149" y="512"/>
                    </a:cubicBezTo>
                    <a:cubicBezTo>
                      <a:pt x="146" y="513"/>
                      <a:pt x="140" y="516"/>
                      <a:pt x="140" y="516"/>
                    </a:cubicBezTo>
                    <a:cubicBezTo>
                      <a:pt x="136" y="518"/>
                      <a:pt x="127" y="519"/>
                      <a:pt x="127" y="519"/>
                    </a:cubicBezTo>
                    <a:cubicBezTo>
                      <a:pt x="121" y="517"/>
                      <a:pt x="122" y="512"/>
                      <a:pt x="118" y="508"/>
                    </a:cubicBezTo>
                    <a:cubicBezTo>
                      <a:pt x="108" y="498"/>
                      <a:pt x="97" y="502"/>
                      <a:pt x="91" y="501"/>
                    </a:cubicBezTo>
                    <a:cubicBezTo>
                      <a:pt x="86" y="498"/>
                      <a:pt x="95" y="490"/>
                      <a:pt x="90" y="487"/>
                    </a:cubicBezTo>
                    <a:cubicBezTo>
                      <a:pt x="86" y="484"/>
                      <a:pt x="75" y="483"/>
                      <a:pt x="70" y="484"/>
                    </a:cubicBezTo>
                    <a:cubicBezTo>
                      <a:pt x="63" y="489"/>
                      <a:pt x="60" y="491"/>
                      <a:pt x="58" y="482"/>
                    </a:cubicBezTo>
                    <a:cubicBezTo>
                      <a:pt x="52" y="458"/>
                      <a:pt x="55" y="464"/>
                      <a:pt x="88" y="460"/>
                    </a:cubicBezTo>
                    <a:cubicBezTo>
                      <a:pt x="94" y="458"/>
                      <a:pt x="96" y="449"/>
                      <a:pt x="101" y="448"/>
                    </a:cubicBezTo>
                    <a:cubicBezTo>
                      <a:pt x="105" y="447"/>
                      <a:pt x="112" y="445"/>
                      <a:pt x="112" y="445"/>
                    </a:cubicBezTo>
                    <a:cubicBezTo>
                      <a:pt x="115" y="441"/>
                      <a:pt x="115" y="436"/>
                      <a:pt x="118" y="432"/>
                    </a:cubicBezTo>
                    <a:cubicBezTo>
                      <a:pt x="120" y="423"/>
                      <a:pt x="121" y="417"/>
                      <a:pt x="118" y="406"/>
                    </a:cubicBezTo>
                    <a:cubicBezTo>
                      <a:pt x="117" y="404"/>
                      <a:pt x="112" y="404"/>
                      <a:pt x="112" y="404"/>
                    </a:cubicBezTo>
                    <a:cubicBezTo>
                      <a:pt x="105" y="406"/>
                      <a:pt x="99" y="409"/>
                      <a:pt x="92" y="410"/>
                    </a:cubicBezTo>
                    <a:cubicBezTo>
                      <a:pt x="91" y="405"/>
                      <a:pt x="90" y="404"/>
                      <a:pt x="95" y="402"/>
                    </a:cubicBezTo>
                    <a:cubicBezTo>
                      <a:pt x="99" y="398"/>
                      <a:pt x="115" y="392"/>
                      <a:pt x="122" y="390"/>
                    </a:cubicBezTo>
                    <a:cubicBezTo>
                      <a:pt x="129" y="385"/>
                      <a:pt x="126" y="387"/>
                      <a:pt x="131" y="385"/>
                    </a:cubicBezTo>
                    <a:cubicBezTo>
                      <a:pt x="144" y="385"/>
                      <a:pt x="148" y="385"/>
                      <a:pt x="161" y="381"/>
                    </a:cubicBezTo>
                    <a:cubicBezTo>
                      <a:pt x="167" y="380"/>
                      <a:pt x="172" y="390"/>
                      <a:pt x="174" y="388"/>
                    </a:cubicBezTo>
                    <a:cubicBezTo>
                      <a:pt x="176" y="386"/>
                      <a:pt x="173" y="375"/>
                      <a:pt x="174" y="369"/>
                    </a:cubicBezTo>
                    <a:cubicBezTo>
                      <a:pt x="175" y="363"/>
                      <a:pt x="176" y="357"/>
                      <a:pt x="179" y="352"/>
                    </a:cubicBezTo>
                    <a:cubicBezTo>
                      <a:pt x="180" y="345"/>
                      <a:pt x="193" y="336"/>
                      <a:pt x="193" y="336"/>
                    </a:cubicBezTo>
                    <a:cubicBezTo>
                      <a:pt x="194" y="332"/>
                      <a:pt x="196" y="329"/>
                      <a:pt x="197" y="325"/>
                    </a:cubicBezTo>
                    <a:cubicBezTo>
                      <a:pt x="195" y="307"/>
                      <a:pt x="189" y="323"/>
                      <a:pt x="170" y="322"/>
                    </a:cubicBezTo>
                    <a:cubicBezTo>
                      <a:pt x="164" y="318"/>
                      <a:pt x="160" y="308"/>
                      <a:pt x="158" y="301"/>
                    </a:cubicBezTo>
                    <a:cubicBezTo>
                      <a:pt x="162" y="290"/>
                      <a:pt x="167" y="280"/>
                      <a:pt x="179" y="276"/>
                    </a:cubicBezTo>
                    <a:cubicBezTo>
                      <a:pt x="187" y="268"/>
                      <a:pt x="186" y="270"/>
                      <a:pt x="170" y="266"/>
                    </a:cubicBezTo>
                    <a:cubicBezTo>
                      <a:pt x="157" y="267"/>
                      <a:pt x="147" y="271"/>
                      <a:pt x="134" y="272"/>
                    </a:cubicBezTo>
                    <a:cubicBezTo>
                      <a:pt x="128" y="272"/>
                      <a:pt x="120" y="274"/>
                      <a:pt x="115" y="270"/>
                    </a:cubicBezTo>
                    <a:cubicBezTo>
                      <a:pt x="109" y="266"/>
                      <a:pt x="108" y="258"/>
                      <a:pt x="103" y="254"/>
                    </a:cubicBezTo>
                    <a:cubicBezTo>
                      <a:pt x="107" y="246"/>
                      <a:pt x="113" y="243"/>
                      <a:pt x="122" y="240"/>
                    </a:cubicBezTo>
                    <a:cubicBezTo>
                      <a:pt x="125" y="236"/>
                      <a:pt x="126" y="233"/>
                      <a:pt x="130" y="230"/>
                    </a:cubicBezTo>
                    <a:cubicBezTo>
                      <a:pt x="134" y="222"/>
                      <a:pt x="133" y="202"/>
                      <a:pt x="127" y="194"/>
                    </a:cubicBezTo>
                    <a:cubicBezTo>
                      <a:pt x="124" y="190"/>
                      <a:pt x="124" y="201"/>
                      <a:pt x="120" y="198"/>
                    </a:cubicBezTo>
                    <a:cubicBezTo>
                      <a:pt x="118" y="197"/>
                      <a:pt x="124" y="177"/>
                      <a:pt x="124" y="177"/>
                    </a:cubicBezTo>
                    <a:cubicBezTo>
                      <a:pt x="123" y="173"/>
                      <a:pt x="85" y="223"/>
                      <a:pt x="85" y="223"/>
                    </a:cubicBezTo>
                    <a:cubicBezTo>
                      <a:pt x="87" y="212"/>
                      <a:pt x="101" y="156"/>
                      <a:pt x="110" y="153"/>
                    </a:cubicBezTo>
                    <a:cubicBezTo>
                      <a:pt x="117" y="146"/>
                      <a:pt x="115" y="152"/>
                      <a:pt x="118" y="145"/>
                    </a:cubicBezTo>
                    <a:cubicBezTo>
                      <a:pt x="119" y="138"/>
                      <a:pt x="125" y="137"/>
                      <a:pt x="127" y="130"/>
                    </a:cubicBezTo>
                    <a:cubicBezTo>
                      <a:pt x="122" y="121"/>
                      <a:pt x="106" y="142"/>
                      <a:pt x="97" y="145"/>
                    </a:cubicBezTo>
                    <a:cubicBezTo>
                      <a:pt x="94" y="148"/>
                      <a:pt x="81" y="142"/>
                      <a:pt x="78" y="146"/>
                    </a:cubicBezTo>
                    <a:cubicBezTo>
                      <a:pt x="73" y="139"/>
                      <a:pt x="76" y="129"/>
                      <a:pt x="84" y="123"/>
                    </a:cubicBezTo>
                    <a:cubicBezTo>
                      <a:pt x="88" y="120"/>
                      <a:pt x="92" y="118"/>
                      <a:pt x="97" y="116"/>
                    </a:cubicBezTo>
                    <a:cubicBezTo>
                      <a:pt x="98" y="116"/>
                      <a:pt x="100" y="115"/>
                      <a:pt x="100" y="115"/>
                    </a:cubicBezTo>
                    <a:cubicBezTo>
                      <a:pt x="103" y="110"/>
                      <a:pt x="110" y="109"/>
                      <a:pt x="115" y="105"/>
                    </a:cubicBezTo>
                    <a:cubicBezTo>
                      <a:pt x="118" y="102"/>
                      <a:pt x="124" y="97"/>
                      <a:pt x="124" y="97"/>
                    </a:cubicBezTo>
                    <a:cubicBezTo>
                      <a:pt x="127" y="87"/>
                      <a:pt x="129" y="77"/>
                      <a:pt x="122" y="67"/>
                    </a:cubicBezTo>
                    <a:cubicBezTo>
                      <a:pt x="120" y="60"/>
                      <a:pt x="124" y="62"/>
                      <a:pt x="127" y="56"/>
                    </a:cubicBezTo>
                    <a:cubicBezTo>
                      <a:pt x="136" y="38"/>
                      <a:pt x="125" y="46"/>
                      <a:pt x="152" y="36"/>
                    </a:cubicBezTo>
                    <a:cubicBezTo>
                      <a:pt x="154" y="24"/>
                      <a:pt x="155" y="21"/>
                      <a:pt x="160" y="12"/>
                    </a:cubicBezTo>
                    <a:cubicBezTo>
                      <a:pt x="163" y="8"/>
                      <a:pt x="170" y="0"/>
                      <a:pt x="170" y="0"/>
                    </a:cubicBezTo>
                    <a:cubicBezTo>
                      <a:pt x="176" y="2"/>
                      <a:pt x="180" y="2"/>
                      <a:pt x="185" y="7"/>
                    </a:cubicBezTo>
                    <a:lnTo>
                      <a:pt x="174" y="3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05" name="Freeform 124"/>
              <p:cNvSpPr>
                <a:spLocks noChangeAspect="1"/>
              </p:cNvSpPr>
              <p:nvPr/>
            </p:nvSpPr>
            <p:spPr bwMode="auto">
              <a:xfrm>
                <a:off x="164" y="4091"/>
                <a:ext cx="84" cy="108"/>
              </a:xfrm>
              <a:custGeom>
                <a:avLst/>
                <a:gdLst>
                  <a:gd name="T0" fmla="*/ 2147483647 w 21"/>
                  <a:gd name="T1" fmla="*/ 2147483647 h 27"/>
                  <a:gd name="T2" fmla="*/ 2147483647 w 21"/>
                  <a:gd name="T3" fmla="*/ 2147483647 h 27"/>
                  <a:gd name="T4" fmla="*/ 2147483647 w 21"/>
                  <a:gd name="T5" fmla="*/ 0 h 27"/>
                  <a:gd name="T6" fmla="*/ 2147483647 w 21"/>
                  <a:gd name="T7" fmla="*/ 2147483647 h 27"/>
                  <a:gd name="T8" fmla="*/ 2147483647 w 21"/>
                  <a:gd name="T9" fmla="*/ 2147483647 h 2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1"/>
                  <a:gd name="T16" fmla="*/ 0 h 27"/>
                  <a:gd name="T17" fmla="*/ 21 w 21"/>
                  <a:gd name="T18" fmla="*/ 27 h 2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1" h="27">
                    <a:moveTo>
                      <a:pt x="6" y="7"/>
                    </a:moveTo>
                    <a:cubicBezTo>
                      <a:pt x="4" y="18"/>
                      <a:pt x="0" y="21"/>
                      <a:pt x="9" y="27"/>
                    </a:cubicBezTo>
                    <a:cubicBezTo>
                      <a:pt x="21" y="23"/>
                      <a:pt x="18" y="12"/>
                      <a:pt x="14" y="0"/>
                    </a:cubicBezTo>
                    <a:cubicBezTo>
                      <a:pt x="12" y="0"/>
                      <a:pt x="10" y="0"/>
                      <a:pt x="9" y="1"/>
                    </a:cubicBezTo>
                    <a:cubicBezTo>
                      <a:pt x="7" y="2"/>
                      <a:pt x="6" y="7"/>
                      <a:pt x="6" y="7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06" name="Freeform 125"/>
              <p:cNvSpPr>
                <a:spLocks noChangeAspect="1"/>
              </p:cNvSpPr>
              <p:nvPr/>
            </p:nvSpPr>
            <p:spPr bwMode="auto">
              <a:xfrm>
                <a:off x="587" y="5655"/>
                <a:ext cx="96" cy="52"/>
              </a:xfrm>
              <a:custGeom>
                <a:avLst/>
                <a:gdLst>
                  <a:gd name="T0" fmla="*/ 0 w 24"/>
                  <a:gd name="T1" fmla="*/ 0 h 13"/>
                  <a:gd name="T2" fmla="*/ 2147483647 w 24"/>
                  <a:gd name="T3" fmla="*/ 2147483647 h 13"/>
                  <a:gd name="T4" fmla="*/ 2147483647 w 24"/>
                  <a:gd name="T5" fmla="*/ 2147483647 h 13"/>
                  <a:gd name="T6" fmla="*/ 0 w 24"/>
                  <a:gd name="T7" fmla="*/ 0 h 13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4"/>
                  <a:gd name="T13" fmla="*/ 0 h 13"/>
                  <a:gd name="T14" fmla="*/ 24 w 24"/>
                  <a:gd name="T15" fmla="*/ 13 h 13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4" h="13">
                    <a:moveTo>
                      <a:pt x="0" y="0"/>
                    </a:moveTo>
                    <a:cubicBezTo>
                      <a:pt x="7" y="4"/>
                      <a:pt x="24" y="0"/>
                      <a:pt x="12" y="8"/>
                    </a:cubicBezTo>
                    <a:cubicBezTo>
                      <a:pt x="9" y="12"/>
                      <a:pt x="8" y="13"/>
                      <a:pt x="3" y="11"/>
                    </a:cubicBezTo>
                    <a:cubicBezTo>
                      <a:pt x="2" y="3"/>
                      <a:pt x="3" y="6"/>
                      <a:pt x="0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07" name="Freeform 126"/>
              <p:cNvSpPr>
                <a:spLocks noChangeAspect="1"/>
              </p:cNvSpPr>
              <p:nvPr/>
            </p:nvSpPr>
            <p:spPr bwMode="auto">
              <a:xfrm>
                <a:off x="-347" y="4175"/>
                <a:ext cx="451" cy="376"/>
              </a:xfrm>
              <a:custGeom>
                <a:avLst/>
                <a:gdLst>
                  <a:gd name="T0" fmla="*/ 303 w 451"/>
                  <a:gd name="T1" fmla="*/ 376 h 376"/>
                  <a:gd name="T2" fmla="*/ 399 w 451"/>
                  <a:gd name="T3" fmla="*/ 352 h 376"/>
                  <a:gd name="T4" fmla="*/ 439 w 451"/>
                  <a:gd name="T5" fmla="*/ 340 h 376"/>
                  <a:gd name="T6" fmla="*/ 451 w 451"/>
                  <a:gd name="T7" fmla="*/ 280 h 376"/>
                  <a:gd name="T8" fmla="*/ 395 w 451"/>
                  <a:gd name="T9" fmla="*/ 216 h 376"/>
                  <a:gd name="T10" fmla="*/ 407 w 451"/>
                  <a:gd name="T11" fmla="*/ 196 h 376"/>
                  <a:gd name="T12" fmla="*/ 407 w 451"/>
                  <a:gd name="T13" fmla="*/ 96 h 376"/>
                  <a:gd name="T14" fmla="*/ 259 w 451"/>
                  <a:gd name="T15" fmla="*/ 24 h 376"/>
                  <a:gd name="T16" fmla="*/ 199 w 451"/>
                  <a:gd name="T17" fmla="*/ 48 h 376"/>
                  <a:gd name="T18" fmla="*/ 174 w 451"/>
                  <a:gd name="T19" fmla="*/ 54 h 376"/>
                  <a:gd name="T20" fmla="*/ 152 w 451"/>
                  <a:gd name="T21" fmla="*/ 90 h 376"/>
                  <a:gd name="T22" fmla="*/ 83 w 451"/>
                  <a:gd name="T23" fmla="*/ 124 h 376"/>
                  <a:gd name="T24" fmla="*/ 60 w 451"/>
                  <a:gd name="T25" fmla="*/ 165 h 376"/>
                  <a:gd name="T26" fmla="*/ 12 w 451"/>
                  <a:gd name="T27" fmla="*/ 178 h 376"/>
                  <a:gd name="T28" fmla="*/ 24 w 451"/>
                  <a:gd name="T29" fmla="*/ 219 h 376"/>
                  <a:gd name="T30" fmla="*/ 83 w 451"/>
                  <a:gd name="T31" fmla="*/ 268 h 376"/>
                  <a:gd name="T32" fmla="*/ 105 w 451"/>
                  <a:gd name="T33" fmla="*/ 298 h 376"/>
                  <a:gd name="T34" fmla="*/ 144 w 451"/>
                  <a:gd name="T35" fmla="*/ 298 h 376"/>
                  <a:gd name="T36" fmla="*/ 179 w 451"/>
                  <a:gd name="T37" fmla="*/ 248 h 376"/>
                  <a:gd name="T38" fmla="*/ 228 w 451"/>
                  <a:gd name="T39" fmla="*/ 322 h 376"/>
                  <a:gd name="T40" fmla="*/ 258 w 451"/>
                  <a:gd name="T41" fmla="*/ 351 h 376"/>
                  <a:gd name="T42" fmla="*/ 303 w 451"/>
                  <a:gd name="T43" fmla="*/ 376 h 37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451"/>
                  <a:gd name="T67" fmla="*/ 0 h 376"/>
                  <a:gd name="T68" fmla="*/ 451 w 451"/>
                  <a:gd name="T69" fmla="*/ 376 h 37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451" h="376">
                    <a:moveTo>
                      <a:pt x="303" y="376"/>
                    </a:moveTo>
                    <a:cubicBezTo>
                      <a:pt x="335" y="368"/>
                      <a:pt x="367" y="360"/>
                      <a:pt x="399" y="352"/>
                    </a:cubicBezTo>
                    <a:cubicBezTo>
                      <a:pt x="411" y="348"/>
                      <a:pt x="439" y="340"/>
                      <a:pt x="439" y="340"/>
                    </a:cubicBezTo>
                    <a:cubicBezTo>
                      <a:pt x="443" y="320"/>
                      <a:pt x="447" y="304"/>
                      <a:pt x="451" y="280"/>
                    </a:cubicBezTo>
                    <a:cubicBezTo>
                      <a:pt x="447" y="232"/>
                      <a:pt x="443" y="224"/>
                      <a:pt x="395" y="216"/>
                    </a:cubicBezTo>
                    <a:cubicBezTo>
                      <a:pt x="375" y="204"/>
                      <a:pt x="391" y="204"/>
                      <a:pt x="407" y="196"/>
                    </a:cubicBezTo>
                    <a:cubicBezTo>
                      <a:pt x="431" y="164"/>
                      <a:pt x="427" y="132"/>
                      <a:pt x="407" y="96"/>
                    </a:cubicBezTo>
                    <a:cubicBezTo>
                      <a:pt x="391" y="0"/>
                      <a:pt x="351" y="32"/>
                      <a:pt x="259" y="24"/>
                    </a:cubicBezTo>
                    <a:cubicBezTo>
                      <a:pt x="239" y="32"/>
                      <a:pt x="219" y="36"/>
                      <a:pt x="199" y="48"/>
                    </a:cubicBezTo>
                    <a:cubicBezTo>
                      <a:pt x="186" y="51"/>
                      <a:pt x="182" y="47"/>
                      <a:pt x="174" y="54"/>
                    </a:cubicBezTo>
                    <a:cubicBezTo>
                      <a:pt x="156" y="64"/>
                      <a:pt x="164" y="78"/>
                      <a:pt x="152" y="90"/>
                    </a:cubicBezTo>
                    <a:cubicBezTo>
                      <a:pt x="140" y="117"/>
                      <a:pt x="116" y="124"/>
                      <a:pt x="83" y="124"/>
                    </a:cubicBezTo>
                    <a:cubicBezTo>
                      <a:pt x="79" y="140"/>
                      <a:pt x="72" y="156"/>
                      <a:pt x="60" y="165"/>
                    </a:cubicBezTo>
                    <a:cubicBezTo>
                      <a:pt x="48" y="161"/>
                      <a:pt x="30" y="171"/>
                      <a:pt x="12" y="178"/>
                    </a:cubicBezTo>
                    <a:cubicBezTo>
                      <a:pt x="0" y="178"/>
                      <a:pt x="20" y="207"/>
                      <a:pt x="24" y="219"/>
                    </a:cubicBezTo>
                    <a:cubicBezTo>
                      <a:pt x="38" y="232"/>
                      <a:pt x="59" y="244"/>
                      <a:pt x="83" y="268"/>
                    </a:cubicBezTo>
                    <a:cubicBezTo>
                      <a:pt x="99" y="284"/>
                      <a:pt x="89" y="282"/>
                      <a:pt x="105" y="298"/>
                    </a:cubicBezTo>
                    <a:cubicBezTo>
                      <a:pt x="122" y="300"/>
                      <a:pt x="126" y="303"/>
                      <a:pt x="144" y="298"/>
                    </a:cubicBezTo>
                    <a:cubicBezTo>
                      <a:pt x="148" y="278"/>
                      <a:pt x="159" y="256"/>
                      <a:pt x="179" y="248"/>
                    </a:cubicBezTo>
                    <a:cubicBezTo>
                      <a:pt x="215" y="256"/>
                      <a:pt x="191" y="300"/>
                      <a:pt x="228" y="322"/>
                    </a:cubicBezTo>
                    <a:cubicBezTo>
                      <a:pt x="242" y="338"/>
                      <a:pt x="246" y="342"/>
                      <a:pt x="258" y="351"/>
                    </a:cubicBezTo>
                    <a:cubicBezTo>
                      <a:pt x="270" y="360"/>
                      <a:pt x="291" y="351"/>
                      <a:pt x="303" y="376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</p:grpSp>
        <p:sp>
          <p:nvSpPr>
            <p:cNvPr id="296" name="Freeform 127"/>
            <p:cNvSpPr>
              <a:spLocks noChangeAspect="1"/>
            </p:cNvSpPr>
            <p:nvPr/>
          </p:nvSpPr>
          <p:spPr bwMode="auto">
            <a:xfrm>
              <a:off x="1415" y="3425"/>
              <a:ext cx="230" cy="380"/>
            </a:xfrm>
            <a:custGeom>
              <a:avLst/>
              <a:gdLst>
                <a:gd name="T0" fmla="*/ 0 w 913"/>
                <a:gd name="T1" fmla="*/ 0 h 1504"/>
                <a:gd name="T2" fmla="*/ 0 w 913"/>
                <a:gd name="T3" fmla="*/ 0 h 1504"/>
                <a:gd name="T4" fmla="*/ 0 w 913"/>
                <a:gd name="T5" fmla="*/ 0 h 1504"/>
                <a:gd name="T6" fmla="*/ 0 w 913"/>
                <a:gd name="T7" fmla="*/ 0 h 1504"/>
                <a:gd name="T8" fmla="*/ 0 w 913"/>
                <a:gd name="T9" fmla="*/ 0 h 1504"/>
                <a:gd name="T10" fmla="*/ 0 w 913"/>
                <a:gd name="T11" fmla="*/ 0 h 1504"/>
                <a:gd name="T12" fmla="*/ 0 w 913"/>
                <a:gd name="T13" fmla="*/ 0 h 1504"/>
                <a:gd name="T14" fmla="*/ 0 w 913"/>
                <a:gd name="T15" fmla="*/ 0 h 1504"/>
                <a:gd name="T16" fmla="*/ 0 w 913"/>
                <a:gd name="T17" fmla="*/ 0 h 1504"/>
                <a:gd name="T18" fmla="*/ 0 w 913"/>
                <a:gd name="T19" fmla="*/ 0 h 1504"/>
                <a:gd name="T20" fmla="*/ 0 w 913"/>
                <a:gd name="T21" fmla="*/ 0 h 1504"/>
                <a:gd name="T22" fmla="*/ 0 w 913"/>
                <a:gd name="T23" fmla="*/ 0 h 1504"/>
                <a:gd name="T24" fmla="*/ 0 w 913"/>
                <a:gd name="T25" fmla="*/ 0 h 1504"/>
                <a:gd name="T26" fmla="*/ 0 w 913"/>
                <a:gd name="T27" fmla="*/ 0 h 1504"/>
                <a:gd name="T28" fmla="*/ 0 w 913"/>
                <a:gd name="T29" fmla="*/ 0 h 1504"/>
                <a:gd name="T30" fmla="*/ 0 w 913"/>
                <a:gd name="T31" fmla="*/ 0 h 1504"/>
                <a:gd name="T32" fmla="*/ 0 w 913"/>
                <a:gd name="T33" fmla="*/ 0 h 1504"/>
                <a:gd name="T34" fmla="*/ 0 w 913"/>
                <a:gd name="T35" fmla="*/ 0 h 1504"/>
                <a:gd name="T36" fmla="*/ 0 w 913"/>
                <a:gd name="T37" fmla="*/ 0 h 1504"/>
                <a:gd name="T38" fmla="*/ 0 w 913"/>
                <a:gd name="T39" fmla="*/ 0 h 1504"/>
                <a:gd name="T40" fmla="*/ 0 w 913"/>
                <a:gd name="T41" fmla="*/ 0 h 1504"/>
                <a:gd name="T42" fmla="*/ 0 w 913"/>
                <a:gd name="T43" fmla="*/ 0 h 1504"/>
                <a:gd name="T44" fmla="*/ 0 w 913"/>
                <a:gd name="T45" fmla="*/ 0 h 1504"/>
                <a:gd name="T46" fmla="*/ 0 w 913"/>
                <a:gd name="T47" fmla="*/ 0 h 1504"/>
                <a:gd name="T48" fmla="*/ 0 w 913"/>
                <a:gd name="T49" fmla="*/ 0 h 1504"/>
                <a:gd name="T50" fmla="*/ 0 w 913"/>
                <a:gd name="T51" fmla="*/ 0 h 1504"/>
                <a:gd name="T52" fmla="*/ 0 w 913"/>
                <a:gd name="T53" fmla="*/ 0 h 1504"/>
                <a:gd name="T54" fmla="*/ 0 w 913"/>
                <a:gd name="T55" fmla="*/ 0 h 1504"/>
                <a:gd name="T56" fmla="*/ 0 w 913"/>
                <a:gd name="T57" fmla="*/ 0 h 1504"/>
                <a:gd name="T58" fmla="*/ 0 w 913"/>
                <a:gd name="T59" fmla="*/ 0 h 1504"/>
                <a:gd name="T60" fmla="*/ 0 w 913"/>
                <a:gd name="T61" fmla="*/ 0 h 1504"/>
                <a:gd name="T62" fmla="*/ 0 w 913"/>
                <a:gd name="T63" fmla="*/ 0 h 1504"/>
                <a:gd name="T64" fmla="*/ 0 w 913"/>
                <a:gd name="T65" fmla="*/ 0 h 1504"/>
                <a:gd name="T66" fmla="*/ 0 w 913"/>
                <a:gd name="T67" fmla="*/ 0 h 1504"/>
                <a:gd name="T68" fmla="*/ 0 w 913"/>
                <a:gd name="T69" fmla="*/ 0 h 1504"/>
                <a:gd name="T70" fmla="*/ 0 w 913"/>
                <a:gd name="T71" fmla="*/ 0 h 1504"/>
                <a:gd name="T72" fmla="*/ 0 w 913"/>
                <a:gd name="T73" fmla="*/ 0 h 1504"/>
                <a:gd name="T74" fmla="*/ 0 w 913"/>
                <a:gd name="T75" fmla="*/ 0 h 1504"/>
                <a:gd name="T76" fmla="*/ 0 w 913"/>
                <a:gd name="T77" fmla="*/ 0 h 1504"/>
                <a:gd name="T78" fmla="*/ 0 w 913"/>
                <a:gd name="T79" fmla="*/ 0 h 1504"/>
                <a:gd name="T80" fmla="*/ 0 w 913"/>
                <a:gd name="T81" fmla="*/ 0 h 1504"/>
                <a:gd name="T82" fmla="*/ 0 w 913"/>
                <a:gd name="T83" fmla="*/ 0 h 1504"/>
                <a:gd name="T84" fmla="*/ 0 w 913"/>
                <a:gd name="T85" fmla="*/ 0 h 1504"/>
                <a:gd name="T86" fmla="*/ 0 w 913"/>
                <a:gd name="T87" fmla="*/ 0 h 1504"/>
                <a:gd name="T88" fmla="*/ 0 w 913"/>
                <a:gd name="T89" fmla="*/ 0 h 1504"/>
                <a:gd name="T90" fmla="*/ 0 w 913"/>
                <a:gd name="T91" fmla="*/ 0 h 1504"/>
                <a:gd name="T92" fmla="*/ 0 w 913"/>
                <a:gd name="T93" fmla="*/ 0 h 1504"/>
                <a:gd name="T94" fmla="*/ 0 w 913"/>
                <a:gd name="T95" fmla="*/ 0 h 1504"/>
                <a:gd name="T96" fmla="*/ 0 w 913"/>
                <a:gd name="T97" fmla="*/ 0 h 1504"/>
                <a:gd name="T98" fmla="*/ 0 w 913"/>
                <a:gd name="T99" fmla="*/ 0 h 1504"/>
                <a:gd name="T100" fmla="*/ 0 w 913"/>
                <a:gd name="T101" fmla="*/ 0 h 1504"/>
                <a:gd name="T102" fmla="*/ 0 w 913"/>
                <a:gd name="T103" fmla="*/ 0 h 1504"/>
                <a:gd name="T104" fmla="*/ 0 w 913"/>
                <a:gd name="T105" fmla="*/ 0 h 1504"/>
                <a:gd name="T106" fmla="*/ 0 w 913"/>
                <a:gd name="T107" fmla="*/ 0 h 1504"/>
                <a:gd name="T108" fmla="*/ 0 w 913"/>
                <a:gd name="T109" fmla="*/ 0 h 150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913"/>
                <a:gd name="T166" fmla="*/ 0 h 1504"/>
                <a:gd name="T167" fmla="*/ 913 w 913"/>
                <a:gd name="T168" fmla="*/ 1504 h 1504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913" h="1504">
                  <a:moveTo>
                    <a:pt x="384" y="13"/>
                  </a:moveTo>
                  <a:cubicBezTo>
                    <a:pt x="380" y="117"/>
                    <a:pt x="368" y="312"/>
                    <a:pt x="296" y="416"/>
                  </a:cubicBezTo>
                  <a:cubicBezTo>
                    <a:pt x="280" y="468"/>
                    <a:pt x="288" y="568"/>
                    <a:pt x="224" y="588"/>
                  </a:cubicBezTo>
                  <a:cubicBezTo>
                    <a:pt x="212" y="604"/>
                    <a:pt x="196" y="616"/>
                    <a:pt x="180" y="632"/>
                  </a:cubicBezTo>
                  <a:cubicBezTo>
                    <a:pt x="172" y="652"/>
                    <a:pt x="176" y="664"/>
                    <a:pt x="156" y="672"/>
                  </a:cubicBezTo>
                  <a:cubicBezTo>
                    <a:pt x="136" y="700"/>
                    <a:pt x="136" y="684"/>
                    <a:pt x="116" y="696"/>
                  </a:cubicBezTo>
                  <a:cubicBezTo>
                    <a:pt x="112" y="712"/>
                    <a:pt x="88" y="752"/>
                    <a:pt x="72" y="756"/>
                  </a:cubicBezTo>
                  <a:cubicBezTo>
                    <a:pt x="56" y="780"/>
                    <a:pt x="36" y="808"/>
                    <a:pt x="20" y="836"/>
                  </a:cubicBezTo>
                  <a:cubicBezTo>
                    <a:pt x="12" y="848"/>
                    <a:pt x="4" y="872"/>
                    <a:pt x="4" y="872"/>
                  </a:cubicBezTo>
                  <a:cubicBezTo>
                    <a:pt x="4" y="876"/>
                    <a:pt x="4" y="880"/>
                    <a:pt x="8" y="884"/>
                  </a:cubicBezTo>
                  <a:cubicBezTo>
                    <a:pt x="12" y="888"/>
                    <a:pt x="20" y="884"/>
                    <a:pt x="24" y="888"/>
                  </a:cubicBezTo>
                  <a:cubicBezTo>
                    <a:pt x="32" y="896"/>
                    <a:pt x="36" y="924"/>
                    <a:pt x="36" y="924"/>
                  </a:cubicBezTo>
                  <a:cubicBezTo>
                    <a:pt x="44" y="996"/>
                    <a:pt x="40" y="1040"/>
                    <a:pt x="128" y="980"/>
                  </a:cubicBezTo>
                  <a:cubicBezTo>
                    <a:pt x="152" y="988"/>
                    <a:pt x="148" y="1024"/>
                    <a:pt x="128" y="1036"/>
                  </a:cubicBezTo>
                  <a:cubicBezTo>
                    <a:pt x="124" y="1040"/>
                    <a:pt x="124" y="1048"/>
                    <a:pt x="120" y="1052"/>
                  </a:cubicBezTo>
                  <a:cubicBezTo>
                    <a:pt x="116" y="1056"/>
                    <a:pt x="112" y="1056"/>
                    <a:pt x="108" y="1060"/>
                  </a:cubicBezTo>
                  <a:cubicBezTo>
                    <a:pt x="88" y="1092"/>
                    <a:pt x="84" y="1140"/>
                    <a:pt x="60" y="1176"/>
                  </a:cubicBezTo>
                  <a:cubicBezTo>
                    <a:pt x="48" y="1228"/>
                    <a:pt x="56" y="1344"/>
                    <a:pt x="8" y="1376"/>
                  </a:cubicBezTo>
                  <a:cubicBezTo>
                    <a:pt x="0" y="1396"/>
                    <a:pt x="20" y="1396"/>
                    <a:pt x="32" y="1412"/>
                  </a:cubicBezTo>
                  <a:cubicBezTo>
                    <a:pt x="76" y="1388"/>
                    <a:pt x="72" y="1408"/>
                    <a:pt x="116" y="1416"/>
                  </a:cubicBezTo>
                  <a:cubicBezTo>
                    <a:pt x="144" y="1436"/>
                    <a:pt x="180" y="1464"/>
                    <a:pt x="216" y="1476"/>
                  </a:cubicBezTo>
                  <a:cubicBezTo>
                    <a:pt x="244" y="1504"/>
                    <a:pt x="326" y="1496"/>
                    <a:pt x="358" y="1476"/>
                  </a:cubicBezTo>
                  <a:cubicBezTo>
                    <a:pt x="362" y="1452"/>
                    <a:pt x="343" y="1414"/>
                    <a:pt x="345" y="1387"/>
                  </a:cubicBezTo>
                  <a:cubicBezTo>
                    <a:pt x="355" y="1357"/>
                    <a:pt x="378" y="1304"/>
                    <a:pt x="394" y="1282"/>
                  </a:cubicBezTo>
                  <a:cubicBezTo>
                    <a:pt x="410" y="1260"/>
                    <a:pt x="432" y="1282"/>
                    <a:pt x="439" y="1255"/>
                  </a:cubicBezTo>
                  <a:cubicBezTo>
                    <a:pt x="465" y="1254"/>
                    <a:pt x="496" y="1240"/>
                    <a:pt x="507" y="1230"/>
                  </a:cubicBezTo>
                  <a:cubicBezTo>
                    <a:pt x="536" y="1196"/>
                    <a:pt x="513" y="1209"/>
                    <a:pt x="508" y="1192"/>
                  </a:cubicBezTo>
                  <a:cubicBezTo>
                    <a:pt x="503" y="1175"/>
                    <a:pt x="476" y="1151"/>
                    <a:pt x="474" y="1129"/>
                  </a:cubicBezTo>
                  <a:cubicBezTo>
                    <a:pt x="483" y="1087"/>
                    <a:pt x="480" y="1111"/>
                    <a:pt x="496" y="1062"/>
                  </a:cubicBezTo>
                  <a:cubicBezTo>
                    <a:pt x="516" y="1017"/>
                    <a:pt x="531" y="988"/>
                    <a:pt x="560" y="980"/>
                  </a:cubicBezTo>
                  <a:cubicBezTo>
                    <a:pt x="564" y="960"/>
                    <a:pt x="598" y="948"/>
                    <a:pt x="559" y="933"/>
                  </a:cubicBezTo>
                  <a:cubicBezTo>
                    <a:pt x="559" y="898"/>
                    <a:pt x="544" y="862"/>
                    <a:pt x="532" y="824"/>
                  </a:cubicBezTo>
                  <a:cubicBezTo>
                    <a:pt x="525" y="805"/>
                    <a:pt x="526" y="780"/>
                    <a:pt x="516" y="768"/>
                  </a:cubicBezTo>
                  <a:cubicBezTo>
                    <a:pt x="504" y="742"/>
                    <a:pt x="532" y="744"/>
                    <a:pt x="560" y="748"/>
                  </a:cubicBezTo>
                  <a:cubicBezTo>
                    <a:pt x="595" y="771"/>
                    <a:pt x="633" y="735"/>
                    <a:pt x="633" y="735"/>
                  </a:cubicBezTo>
                  <a:cubicBezTo>
                    <a:pt x="651" y="717"/>
                    <a:pt x="641" y="709"/>
                    <a:pt x="657" y="693"/>
                  </a:cubicBezTo>
                  <a:cubicBezTo>
                    <a:pt x="665" y="669"/>
                    <a:pt x="684" y="632"/>
                    <a:pt x="656" y="624"/>
                  </a:cubicBezTo>
                  <a:cubicBezTo>
                    <a:pt x="660" y="608"/>
                    <a:pt x="697" y="592"/>
                    <a:pt x="697" y="592"/>
                  </a:cubicBezTo>
                  <a:cubicBezTo>
                    <a:pt x="705" y="579"/>
                    <a:pt x="702" y="555"/>
                    <a:pt x="705" y="544"/>
                  </a:cubicBezTo>
                  <a:cubicBezTo>
                    <a:pt x="708" y="533"/>
                    <a:pt x="700" y="561"/>
                    <a:pt x="712" y="528"/>
                  </a:cubicBezTo>
                  <a:cubicBezTo>
                    <a:pt x="720" y="484"/>
                    <a:pt x="730" y="372"/>
                    <a:pt x="780" y="343"/>
                  </a:cubicBezTo>
                  <a:cubicBezTo>
                    <a:pt x="810" y="330"/>
                    <a:pt x="824" y="339"/>
                    <a:pt x="844" y="327"/>
                  </a:cubicBezTo>
                  <a:cubicBezTo>
                    <a:pt x="856" y="319"/>
                    <a:pt x="880" y="298"/>
                    <a:pt x="880" y="298"/>
                  </a:cubicBezTo>
                  <a:cubicBezTo>
                    <a:pt x="901" y="282"/>
                    <a:pt x="913" y="246"/>
                    <a:pt x="910" y="228"/>
                  </a:cubicBezTo>
                  <a:cubicBezTo>
                    <a:pt x="895" y="219"/>
                    <a:pt x="885" y="211"/>
                    <a:pt x="873" y="193"/>
                  </a:cubicBezTo>
                  <a:cubicBezTo>
                    <a:pt x="861" y="175"/>
                    <a:pt x="876" y="130"/>
                    <a:pt x="840" y="120"/>
                  </a:cubicBezTo>
                  <a:cubicBezTo>
                    <a:pt x="820" y="104"/>
                    <a:pt x="762" y="96"/>
                    <a:pt x="740" y="104"/>
                  </a:cubicBezTo>
                  <a:cubicBezTo>
                    <a:pt x="710" y="102"/>
                    <a:pt x="689" y="113"/>
                    <a:pt x="658" y="111"/>
                  </a:cubicBezTo>
                  <a:cubicBezTo>
                    <a:pt x="637" y="111"/>
                    <a:pt x="634" y="106"/>
                    <a:pt x="616" y="103"/>
                  </a:cubicBezTo>
                  <a:cubicBezTo>
                    <a:pt x="598" y="100"/>
                    <a:pt x="585" y="112"/>
                    <a:pt x="552" y="92"/>
                  </a:cubicBezTo>
                  <a:cubicBezTo>
                    <a:pt x="517" y="81"/>
                    <a:pt x="518" y="88"/>
                    <a:pt x="516" y="78"/>
                  </a:cubicBezTo>
                  <a:cubicBezTo>
                    <a:pt x="514" y="68"/>
                    <a:pt x="547" y="46"/>
                    <a:pt x="540" y="34"/>
                  </a:cubicBezTo>
                  <a:cubicBezTo>
                    <a:pt x="528" y="0"/>
                    <a:pt x="516" y="8"/>
                    <a:pt x="476" y="4"/>
                  </a:cubicBezTo>
                  <a:cubicBezTo>
                    <a:pt x="460" y="8"/>
                    <a:pt x="444" y="6"/>
                    <a:pt x="429" y="21"/>
                  </a:cubicBezTo>
                  <a:cubicBezTo>
                    <a:pt x="413" y="22"/>
                    <a:pt x="390" y="28"/>
                    <a:pt x="384" y="13"/>
                  </a:cubicBez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</p:grpSp>
      <p:sp>
        <p:nvSpPr>
          <p:cNvPr id="378" name="Textfeld 55"/>
          <p:cNvSpPr txBox="1"/>
          <p:nvPr/>
        </p:nvSpPr>
        <p:spPr>
          <a:xfrm>
            <a:off x="3268620" y="2223555"/>
            <a:ext cx="54697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kern="0" dirty="0" smtClean="0">
                <a:solidFill>
                  <a:srgbClr val="404040"/>
                </a:solidFill>
                <a:latin typeface="CorpoS" pitchFamily="2" charset="0"/>
                <a:ea typeface="+mn-ea"/>
              </a:rPr>
              <a:t>17.12</a:t>
            </a:r>
          </a:p>
        </p:txBody>
      </p:sp>
      <p:pic>
        <p:nvPicPr>
          <p:cNvPr id="379" name="Picture 2" descr="http://www.thesis.de/uploads/pics/Fotolia_52331405_XS.jpg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78872" y="5564542"/>
            <a:ext cx="813175" cy="6645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83" name="Gerade Verbindung 382"/>
          <p:cNvCxnSpPr/>
          <p:nvPr/>
        </p:nvCxnSpPr>
        <p:spPr>
          <a:xfrm>
            <a:off x="5919992" y="2157180"/>
            <a:ext cx="0" cy="4230437"/>
          </a:xfrm>
          <a:prstGeom prst="line">
            <a:avLst/>
          </a:prstGeom>
          <a:noFill/>
          <a:ln w="9525" cap="flat" cmpd="sng" algn="ctr">
            <a:solidFill>
              <a:srgbClr val="C0C0C0"/>
            </a:solidFill>
            <a:prstDash val="solid"/>
          </a:ln>
          <a:effectLst/>
        </p:spPr>
      </p:cxnSp>
      <p:cxnSp>
        <p:nvCxnSpPr>
          <p:cNvPr id="385" name="Gerade Verbindung 384"/>
          <p:cNvCxnSpPr/>
          <p:nvPr/>
        </p:nvCxnSpPr>
        <p:spPr>
          <a:xfrm flipV="1">
            <a:off x="863222" y="3447693"/>
            <a:ext cx="7879101" cy="6970"/>
          </a:xfrm>
          <a:prstGeom prst="line">
            <a:avLst/>
          </a:prstGeom>
          <a:noFill/>
          <a:ln w="9525" cap="flat" cmpd="sng" algn="ctr">
            <a:solidFill>
              <a:srgbClr val="C0C0C0"/>
            </a:solidFill>
            <a:prstDash val="solid"/>
          </a:ln>
          <a:effectLst/>
        </p:spPr>
      </p:cxnSp>
      <p:cxnSp>
        <p:nvCxnSpPr>
          <p:cNvPr id="386" name="Gerade Verbindung 385"/>
          <p:cNvCxnSpPr/>
          <p:nvPr/>
        </p:nvCxnSpPr>
        <p:spPr>
          <a:xfrm flipV="1">
            <a:off x="868348" y="3885854"/>
            <a:ext cx="7876351" cy="6598"/>
          </a:xfrm>
          <a:prstGeom prst="line">
            <a:avLst/>
          </a:prstGeom>
          <a:noFill/>
          <a:ln w="9525" cap="flat" cmpd="sng" algn="ctr">
            <a:solidFill>
              <a:srgbClr val="C0C0C0"/>
            </a:solidFill>
            <a:prstDash val="solid"/>
          </a:ln>
          <a:effectLst/>
        </p:spPr>
      </p:cxnSp>
      <p:cxnSp>
        <p:nvCxnSpPr>
          <p:cNvPr id="387" name="Gerade Verbindung 386"/>
          <p:cNvCxnSpPr/>
          <p:nvPr/>
        </p:nvCxnSpPr>
        <p:spPr>
          <a:xfrm>
            <a:off x="863222" y="4800301"/>
            <a:ext cx="7875591" cy="0"/>
          </a:xfrm>
          <a:prstGeom prst="line">
            <a:avLst/>
          </a:prstGeom>
          <a:noFill/>
          <a:ln w="9525" cap="flat" cmpd="sng" algn="ctr">
            <a:solidFill>
              <a:srgbClr val="C0C0C0"/>
            </a:solidFill>
            <a:prstDash val="solid"/>
          </a:ln>
          <a:effectLst/>
        </p:spPr>
      </p:cxnSp>
      <p:cxnSp>
        <p:nvCxnSpPr>
          <p:cNvPr id="388" name="Gerade Verbindung 387"/>
          <p:cNvCxnSpPr/>
          <p:nvPr/>
        </p:nvCxnSpPr>
        <p:spPr>
          <a:xfrm flipV="1">
            <a:off x="868348" y="5239939"/>
            <a:ext cx="7870453" cy="1305"/>
          </a:xfrm>
          <a:prstGeom prst="line">
            <a:avLst/>
          </a:prstGeom>
          <a:noFill/>
          <a:ln w="9525" cap="flat" cmpd="sng" algn="ctr">
            <a:solidFill>
              <a:srgbClr val="C0C0C0"/>
            </a:solidFill>
            <a:prstDash val="solid"/>
          </a:ln>
          <a:effectLst/>
        </p:spPr>
      </p:cxnSp>
      <p:sp>
        <p:nvSpPr>
          <p:cNvPr id="389" name="Pfeil nach rechts 388"/>
          <p:cNvSpPr/>
          <p:nvPr/>
        </p:nvSpPr>
        <p:spPr>
          <a:xfrm>
            <a:off x="4085432" y="4039781"/>
            <a:ext cx="1757958" cy="326744"/>
          </a:xfrm>
          <a:prstGeom prst="rightArrow">
            <a:avLst>
              <a:gd name="adj1" fmla="val 58411"/>
              <a:gd name="adj2" fmla="val 55011"/>
            </a:avLst>
          </a:prstGeom>
          <a:gradFill flip="none" rotWithShape="1">
            <a:gsLst>
              <a:gs pos="9000">
                <a:srgbClr val="FFFFFF"/>
              </a:gs>
              <a:gs pos="43000">
                <a:srgbClr val="FFFFFF">
                  <a:lumMod val="65000"/>
                </a:srgbClr>
              </a:gs>
            </a:gsLst>
            <a:lin ang="0" scaled="1"/>
            <a:tileRect/>
          </a:gradFill>
          <a:ln w="762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 err="1" smtClean="0">
              <a:ln>
                <a:noFill/>
              </a:ln>
              <a:solidFill>
                <a:srgbClr val="000000">
                  <a:lumMod val="95000"/>
                  <a:lumOff val="5000"/>
                </a:srgbClr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</p:txBody>
      </p:sp>
      <p:grpSp>
        <p:nvGrpSpPr>
          <p:cNvPr id="390" name="Gruppieren 389"/>
          <p:cNvGrpSpPr/>
          <p:nvPr/>
        </p:nvGrpSpPr>
        <p:grpSpPr>
          <a:xfrm>
            <a:off x="3887114" y="4012540"/>
            <a:ext cx="378978" cy="367155"/>
            <a:chOff x="4628845" y="5582963"/>
            <a:chExt cx="335731" cy="335732"/>
          </a:xfrm>
        </p:grpSpPr>
        <p:pic>
          <p:nvPicPr>
            <p:cNvPr id="391" name="Picture 7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 rot="18900000">
              <a:off x="4628845" y="5582963"/>
              <a:ext cx="335731" cy="3357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392" name="Textfeld 391"/>
            <p:cNvSpPr txBox="1"/>
            <p:nvPr/>
          </p:nvSpPr>
          <p:spPr>
            <a:xfrm>
              <a:off x="4632019" y="5627407"/>
              <a:ext cx="324193" cy="248601"/>
            </a:xfrm>
            <a:prstGeom prst="rect">
              <a:avLst/>
            </a:prstGeom>
            <a:noFill/>
          </p:spPr>
          <p:txBody>
            <a:bodyPr wrap="none" rIns="90000" rtlCol="0">
              <a:spAutoFit/>
            </a:bodyPr>
            <a:lstStyle/>
            <a:p>
              <a:pPr algn="ctr">
                <a:lnSpc>
                  <a:spcPts val="700"/>
                </a:lnSpc>
                <a:spcAft>
                  <a:spcPts val="0"/>
                </a:spcAft>
              </a:pPr>
              <a:r>
                <a:rPr lang="de-DE" sz="600" i="1" dirty="0" smtClean="0">
                  <a:solidFill>
                    <a:srgbClr val="000000"/>
                  </a:solidFill>
                  <a:latin typeface="CorpoS" pitchFamily="2" charset="0"/>
                  <a:ea typeface="+mn-ea"/>
                </a:rPr>
                <a:t>Task</a:t>
              </a:r>
            </a:p>
            <a:p>
              <a:pPr algn="ctr">
                <a:lnSpc>
                  <a:spcPts val="700"/>
                </a:lnSpc>
                <a:spcAft>
                  <a:spcPts val="0"/>
                </a:spcAft>
              </a:pPr>
              <a:r>
                <a:rPr lang="de-DE" sz="600" i="1" dirty="0" smtClean="0">
                  <a:solidFill>
                    <a:srgbClr val="000000"/>
                  </a:solidFill>
                  <a:latin typeface="CorpoS" pitchFamily="2" charset="0"/>
                  <a:ea typeface="+mn-ea"/>
                </a:rPr>
                <a:t>Force</a:t>
              </a:r>
            </a:p>
          </p:txBody>
        </p:sp>
      </p:grpSp>
      <p:sp>
        <p:nvSpPr>
          <p:cNvPr id="393" name="Pfeil nach rechts 392"/>
          <p:cNvSpPr/>
          <p:nvPr/>
        </p:nvSpPr>
        <p:spPr>
          <a:xfrm>
            <a:off x="4580531" y="3574200"/>
            <a:ext cx="528659" cy="326744"/>
          </a:xfrm>
          <a:prstGeom prst="rightArrow">
            <a:avLst>
              <a:gd name="adj1" fmla="val 58411"/>
              <a:gd name="adj2" fmla="val 55011"/>
            </a:avLst>
          </a:prstGeom>
          <a:gradFill flip="none" rotWithShape="1">
            <a:gsLst>
              <a:gs pos="0">
                <a:srgbClr val="FFFFFF"/>
              </a:gs>
              <a:gs pos="0">
                <a:srgbClr val="FFFFFF">
                  <a:lumMod val="65000"/>
                </a:srgbClr>
              </a:gs>
            </a:gsLst>
            <a:lin ang="0" scaled="1"/>
            <a:tileRect/>
          </a:gradFill>
          <a:ln w="762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 err="1" smtClean="0">
              <a:ln>
                <a:noFill/>
              </a:ln>
              <a:solidFill>
                <a:srgbClr val="000000">
                  <a:lumMod val="95000"/>
                  <a:lumOff val="5000"/>
                </a:srgbClr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</p:txBody>
      </p:sp>
      <p:sp>
        <p:nvSpPr>
          <p:cNvPr id="394" name="Rechteck 393"/>
          <p:cNvSpPr/>
          <p:nvPr/>
        </p:nvSpPr>
        <p:spPr>
          <a:xfrm>
            <a:off x="4197723" y="4086269"/>
            <a:ext cx="182293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900" b="0" kern="0" dirty="0">
                <a:solidFill>
                  <a:srgbClr val="404040"/>
                </a:solidFill>
                <a:latin typeface="CorpoS" pitchFamily="2" charset="0"/>
                <a:ea typeface="+mn-ea"/>
              </a:rPr>
              <a:t>Dates are still in </a:t>
            </a:r>
            <a:r>
              <a:rPr lang="en-US" sz="900" b="0" kern="0" dirty="0" smtClean="0">
                <a:solidFill>
                  <a:srgbClr val="404040"/>
                </a:solidFill>
                <a:latin typeface="CorpoS" pitchFamily="2" charset="0"/>
                <a:ea typeface="+mn-ea"/>
              </a:rPr>
              <a:t>clarification</a:t>
            </a:r>
            <a:endParaRPr lang="de-DE" sz="900" b="0" kern="0" dirty="0">
              <a:solidFill>
                <a:srgbClr val="404040"/>
              </a:solidFill>
              <a:latin typeface="CorpoS" pitchFamily="2" charset="0"/>
              <a:ea typeface="+mn-ea"/>
            </a:endParaRPr>
          </a:p>
        </p:txBody>
      </p:sp>
      <p:pic>
        <p:nvPicPr>
          <p:cNvPr id="395" name="Picture 1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6155" y="4040781"/>
            <a:ext cx="461733" cy="349132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96" name="Textfeld 55"/>
          <p:cNvSpPr txBox="1"/>
          <p:nvPr/>
        </p:nvSpPr>
        <p:spPr>
          <a:xfrm>
            <a:off x="4943252" y="3408223"/>
            <a:ext cx="54697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kern="0" dirty="0" smtClean="0">
                <a:solidFill>
                  <a:srgbClr val="404040"/>
                </a:solidFill>
                <a:latin typeface="CorpoS" pitchFamily="2" charset="0"/>
                <a:ea typeface="+mn-ea"/>
              </a:rPr>
              <a:t>09.02</a:t>
            </a:r>
          </a:p>
        </p:txBody>
      </p:sp>
      <p:grpSp>
        <p:nvGrpSpPr>
          <p:cNvPr id="397" name="Gruppieren 396"/>
          <p:cNvGrpSpPr/>
          <p:nvPr/>
        </p:nvGrpSpPr>
        <p:grpSpPr>
          <a:xfrm>
            <a:off x="4958326" y="3577666"/>
            <a:ext cx="546646" cy="403382"/>
            <a:chOff x="3300513" y="2482824"/>
            <a:chExt cx="546646" cy="403382"/>
          </a:xfrm>
        </p:grpSpPr>
        <p:pic>
          <p:nvPicPr>
            <p:cNvPr id="398" name="Picture 8" descr="C:\DATEN\sonstiges\PowerPoint Icons\Beispiele gute Präsis und Icons\03___Icons_PowerPoint\Icons\Dokumente\single_yellow_folder_1600_clr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09316" y="2482824"/>
              <a:ext cx="537843" cy="40338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99" name="Textfeld 398"/>
            <p:cNvSpPr txBox="1"/>
            <p:nvPr/>
          </p:nvSpPr>
          <p:spPr>
            <a:xfrm rot="794566">
              <a:off x="3300513" y="2525650"/>
              <a:ext cx="441146" cy="2000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700" dirty="0" smtClean="0">
                  <a:solidFill>
                    <a:srgbClr val="C00000"/>
                  </a:solidFill>
                  <a:latin typeface="CorpoS"/>
                  <a:ea typeface="+mn-ea"/>
                </a:rPr>
                <a:t>DRAFT</a:t>
              </a:r>
              <a:endParaRPr lang="de-DE" sz="700" dirty="0">
                <a:solidFill>
                  <a:srgbClr val="C00000"/>
                </a:solidFill>
                <a:latin typeface="CorpoS"/>
                <a:ea typeface="+mn-ea"/>
              </a:endParaRPr>
            </a:p>
          </p:txBody>
        </p:sp>
      </p:grpSp>
      <p:sp>
        <p:nvSpPr>
          <p:cNvPr id="400" name="Textfeld 55"/>
          <p:cNvSpPr txBox="1"/>
          <p:nvPr/>
        </p:nvSpPr>
        <p:spPr>
          <a:xfrm>
            <a:off x="4316006" y="3408211"/>
            <a:ext cx="54697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kern="0" dirty="0" smtClean="0">
                <a:solidFill>
                  <a:srgbClr val="404040"/>
                </a:solidFill>
                <a:latin typeface="CorpoS" pitchFamily="2" charset="0"/>
                <a:ea typeface="+mn-ea"/>
              </a:rPr>
              <a:t>20.01</a:t>
            </a:r>
          </a:p>
        </p:txBody>
      </p:sp>
      <p:pic>
        <p:nvPicPr>
          <p:cNvPr id="401" name="Picture 12" descr="C:\DATEN\sonstiges\PowerPoint Icons\Beispiele gute Präsis und Icons\03___Icons_PowerPoint\Icons\Dokumente\mailbox_open_letter_inbox_1600_clr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0933" y="4901497"/>
            <a:ext cx="376393" cy="329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02" name="Textfeld 55"/>
          <p:cNvSpPr txBox="1"/>
          <p:nvPr/>
        </p:nvSpPr>
        <p:spPr>
          <a:xfrm>
            <a:off x="4355051" y="4739621"/>
            <a:ext cx="54697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kern="0" dirty="0" smtClean="0">
                <a:solidFill>
                  <a:srgbClr val="404040"/>
                </a:solidFill>
                <a:latin typeface="CorpoS" pitchFamily="2" charset="0"/>
                <a:ea typeface="+mn-ea"/>
              </a:rPr>
              <a:t>20.01</a:t>
            </a:r>
          </a:p>
        </p:txBody>
      </p:sp>
      <p:sp>
        <p:nvSpPr>
          <p:cNvPr id="403" name="Rechteck 402"/>
          <p:cNvSpPr/>
          <p:nvPr/>
        </p:nvSpPr>
        <p:spPr bwMode="auto">
          <a:xfrm>
            <a:off x="647882" y="2275265"/>
            <a:ext cx="8094441" cy="442658"/>
          </a:xfrm>
          <a:prstGeom prst="rect">
            <a:avLst/>
          </a:prstGeom>
          <a:noFill/>
          <a:ln w="9525" cap="flat" cmpd="sng" algn="ctr">
            <a:solidFill>
              <a:srgbClr val="404040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endParaRPr lang="de-DE" sz="1800" b="0" smtClean="0">
              <a:solidFill>
                <a:srgbClr val="000000"/>
              </a:solidFill>
              <a:latin typeface="CorpoS" pitchFamily="2" charset="0"/>
              <a:ea typeface="+mn-ea"/>
            </a:endParaRPr>
          </a:p>
        </p:txBody>
      </p:sp>
      <p:sp>
        <p:nvSpPr>
          <p:cNvPr id="404" name="Rechteck 403"/>
          <p:cNvSpPr/>
          <p:nvPr/>
        </p:nvSpPr>
        <p:spPr bwMode="auto">
          <a:xfrm>
            <a:off x="647870" y="2717368"/>
            <a:ext cx="8094441" cy="442658"/>
          </a:xfrm>
          <a:prstGeom prst="rect">
            <a:avLst/>
          </a:prstGeom>
          <a:noFill/>
          <a:ln w="9525" cap="flat" cmpd="sng" algn="ctr">
            <a:solidFill>
              <a:srgbClr val="404040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endParaRPr lang="de-DE" sz="1800" b="0" smtClean="0">
              <a:solidFill>
                <a:srgbClr val="000000"/>
              </a:solidFill>
              <a:latin typeface="CorpoS" pitchFamily="2" charset="0"/>
              <a:ea typeface="+mn-ea"/>
            </a:endParaRPr>
          </a:p>
        </p:txBody>
      </p:sp>
      <p:sp>
        <p:nvSpPr>
          <p:cNvPr id="405" name="Rechteck 404"/>
          <p:cNvSpPr/>
          <p:nvPr/>
        </p:nvSpPr>
        <p:spPr bwMode="auto">
          <a:xfrm>
            <a:off x="647858" y="3160403"/>
            <a:ext cx="8094441" cy="1346810"/>
          </a:xfrm>
          <a:prstGeom prst="rect">
            <a:avLst/>
          </a:prstGeom>
          <a:noFill/>
          <a:ln w="9525" cap="flat" cmpd="sng" algn="ctr">
            <a:solidFill>
              <a:srgbClr val="404040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endParaRPr lang="de-DE" sz="1800" b="0" smtClean="0">
              <a:solidFill>
                <a:srgbClr val="000000"/>
              </a:solidFill>
              <a:latin typeface="CorpoS" pitchFamily="2" charset="0"/>
              <a:ea typeface="+mn-ea"/>
            </a:endParaRPr>
          </a:p>
        </p:txBody>
      </p:sp>
      <p:sp>
        <p:nvSpPr>
          <p:cNvPr id="406" name="Rechteck 405"/>
          <p:cNvSpPr/>
          <p:nvPr/>
        </p:nvSpPr>
        <p:spPr bwMode="auto">
          <a:xfrm>
            <a:off x="647846" y="4506350"/>
            <a:ext cx="8094441" cy="1889800"/>
          </a:xfrm>
          <a:prstGeom prst="rect">
            <a:avLst/>
          </a:prstGeom>
          <a:noFill/>
          <a:ln w="9525" cap="flat" cmpd="sng" algn="ctr">
            <a:solidFill>
              <a:srgbClr val="404040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endParaRPr lang="de-DE" sz="1800" b="0" smtClean="0">
              <a:solidFill>
                <a:srgbClr val="000000"/>
              </a:solidFill>
              <a:latin typeface="CorpoS" pitchFamily="2" charset="0"/>
              <a:ea typeface="+mn-ea"/>
            </a:endParaRPr>
          </a:p>
        </p:txBody>
      </p:sp>
      <p:sp>
        <p:nvSpPr>
          <p:cNvPr id="407" name="Pfeil nach rechts 406"/>
          <p:cNvSpPr/>
          <p:nvPr/>
        </p:nvSpPr>
        <p:spPr>
          <a:xfrm>
            <a:off x="5756813" y="6224148"/>
            <a:ext cx="627053" cy="251402"/>
          </a:xfrm>
          <a:prstGeom prst="rightArrow">
            <a:avLst>
              <a:gd name="adj1" fmla="val 58411"/>
              <a:gd name="adj2" fmla="val 55011"/>
            </a:avLst>
          </a:prstGeom>
          <a:gradFill flip="none" rotWithShape="1">
            <a:gsLst>
              <a:gs pos="0">
                <a:srgbClr val="FFFFFF"/>
              </a:gs>
              <a:gs pos="100000">
                <a:srgbClr val="FFFFFF">
                  <a:lumMod val="65000"/>
                </a:srgbClr>
              </a:gs>
            </a:gsLst>
            <a:lin ang="0" scaled="1"/>
            <a:tileRect/>
          </a:gradFill>
          <a:ln w="76200" cap="flat" cmpd="sng" algn="ctr">
            <a:noFill/>
            <a:prstDash val="solid"/>
          </a:ln>
          <a:effectLst/>
        </p:spPr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 err="1" smtClean="0">
              <a:ln>
                <a:noFill/>
              </a:ln>
              <a:solidFill>
                <a:srgbClr val="000000">
                  <a:lumMod val="95000"/>
                  <a:lumOff val="5000"/>
                </a:srgbClr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</p:txBody>
      </p:sp>
      <p:grpSp>
        <p:nvGrpSpPr>
          <p:cNvPr id="408" name="Gruppieren 407"/>
          <p:cNvGrpSpPr/>
          <p:nvPr/>
        </p:nvGrpSpPr>
        <p:grpSpPr>
          <a:xfrm>
            <a:off x="3263876" y="2387050"/>
            <a:ext cx="546646" cy="403382"/>
            <a:chOff x="3300513" y="2482824"/>
            <a:chExt cx="546646" cy="403382"/>
          </a:xfrm>
        </p:grpSpPr>
        <p:pic>
          <p:nvPicPr>
            <p:cNvPr id="409" name="Picture 8" descr="C:\DATEN\sonstiges\PowerPoint Icons\Beispiele gute Präsis und Icons\03___Icons_PowerPoint\Icons\Dokumente\single_yellow_folder_1600_clr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09316" y="2482824"/>
              <a:ext cx="537843" cy="40338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10" name="Textfeld 409"/>
            <p:cNvSpPr txBox="1"/>
            <p:nvPr/>
          </p:nvSpPr>
          <p:spPr>
            <a:xfrm rot="794566">
              <a:off x="3300513" y="2525650"/>
              <a:ext cx="441146" cy="2000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700" dirty="0" smtClean="0">
                  <a:solidFill>
                    <a:srgbClr val="C00000"/>
                  </a:solidFill>
                  <a:latin typeface="CorpoS"/>
                  <a:ea typeface="+mn-ea"/>
                </a:rPr>
                <a:t>DRAFT</a:t>
              </a:r>
              <a:endParaRPr lang="de-DE" sz="700" dirty="0">
                <a:solidFill>
                  <a:srgbClr val="C00000"/>
                </a:solidFill>
                <a:latin typeface="CorpoS"/>
                <a:ea typeface="+mn-ea"/>
              </a:endParaRPr>
            </a:p>
          </p:txBody>
        </p:sp>
      </p:grpSp>
      <p:sp>
        <p:nvSpPr>
          <p:cNvPr id="411" name="Textfeld 55"/>
          <p:cNvSpPr txBox="1"/>
          <p:nvPr/>
        </p:nvSpPr>
        <p:spPr>
          <a:xfrm>
            <a:off x="4421616" y="2677908"/>
            <a:ext cx="54697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kern="0" dirty="0" smtClean="0">
                <a:solidFill>
                  <a:srgbClr val="404040"/>
                </a:solidFill>
                <a:latin typeface="CorpoS" pitchFamily="2" charset="0"/>
                <a:ea typeface="+mn-ea"/>
              </a:rPr>
              <a:t>26.01</a:t>
            </a:r>
          </a:p>
        </p:txBody>
      </p:sp>
      <p:sp>
        <p:nvSpPr>
          <p:cNvPr id="412" name="Textfeld 55"/>
          <p:cNvSpPr txBox="1"/>
          <p:nvPr/>
        </p:nvSpPr>
        <p:spPr>
          <a:xfrm>
            <a:off x="5027483" y="2679250"/>
            <a:ext cx="54697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kern="0" dirty="0" smtClean="0">
                <a:solidFill>
                  <a:srgbClr val="404040"/>
                </a:solidFill>
                <a:latin typeface="CorpoS" pitchFamily="2" charset="0"/>
                <a:ea typeface="+mn-ea"/>
              </a:rPr>
              <a:t>09.02</a:t>
            </a:r>
          </a:p>
        </p:txBody>
      </p:sp>
      <p:sp>
        <p:nvSpPr>
          <p:cNvPr id="413" name="Textfeld 55"/>
          <p:cNvSpPr txBox="1"/>
          <p:nvPr/>
        </p:nvSpPr>
        <p:spPr>
          <a:xfrm>
            <a:off x="6235003" y="2680648"/>
            <a:ext cx="54697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kern="0" dirty="0" smtClean="0">
                <a:solidFill>
                  <a:srgbClr val="404040"/>
                </a:solidFill>
                <a:latin typeface="CorpoS" pitchFamily="2" charset="0"/>
                <a:ea typeface="+mn-ea"/>
              </a:rPr>
              <a:t>24.03</a:t>
            </a:r>
          </a:p>
        </p:txBody>
      </p:sp>
      <p:sp>
        <p:nvSpPr>
          <p:cNvPr id="414" name="Textfeld 55"/>
          <p:cNvSpPr txBox="1"/>
          <p:nvPr/>
        </p:nvSpPr>
        <p:spPr>
          <a:xfrm>
            <a:off x="7955862" y="2674930"/>
            <a:ext cx="54697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kern="0" dirty="0" smtClean="0">
                <a:solidFill>
                  <a:srgbClr val="404040"/>
                </a:solidFill>
                <a:latin typeface="CorpoS" pitchFamily="2" charset="0"/>
                <a:ea typeface="+mn-ea"/>
              </a:rPr>
              <a:t>19.05</a:t>
            </a:r>
          </a:p>
        </p:txBody>
      </p:sp>
      <p:pic>
        <p:nvPicPr>
          <p:cNvPr id="416" name="Picture 5"/>
          <p:cNvPicPr>
            <a:picLocks noChangeAspect="1" noChangeArrowheads="1"/>
          </p:cNvPicPr>
          <p:nvPr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72241" y="2387050"/>
            <a:ext cx="292469" cy="3213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7" name="Picture 5"/>
          <p:cNvPicPr>
            <a:picLocks noChangeAspect="1" noChangeArrowheads="1"/>
          </p:cNvPicPr>
          <p:nvPr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5157" y="4536998"/>
            <a:ext cx="292469" cy="3213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418" name="Gruppieren 417"/>
          <p:cNvGrpSpPr/>
          <p:nvPr/>
        </p:nvGrpSpPr>
        <p:grpSpPr>
          <a:xfrm>
            <a:off x="6140489" y="3318629"/>
            <a:ext cx="1083802" cy="1494310"/>
            <a:chOff x="6116545" y="3416603"/>
            <a:chExt cx="1083802" cy="1494310"/>
          </a:xfrm>
        </p:grpSpPr>
        <p:grpSp>
          <p:nvGrpSpPr>
            <p:cNvPr id="419" name="Gruppieren 418"/>
            <p:cNvGrpSpPr/>
            <p:nvPr/>
          </p:nvGrpSpPr>
          <p:grpSpPr>
            <a:xfrm>
              <a:off x="6116545" y="3416603"/>
              <a:ext cx="1083802" cy="1494310"/>
              <a:chOff x="6116545" y="3416603"/>
              <a:chExt cx="1083802" cy="1494310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421" name="Rechteck 420"/>
              <p:cNvSpPr/>
              <p:nvPr/>
            </p:nvSpPr>
            <p:spPr bwMode="auto">
              <a:xfrm rot="399921">
                <a:off x="6275204" y="4425001"/>
                <a:ext cx="639110" cy="208873"/>
              </a:xfrm>
              <a:prstGeom prst="rect">
                <a:avLst/>
              </a:prstGeom>
              <a:solidFill>
                <a:srgbClr val="FFFFFF"/>
              </a:solidFill>
              <a:ln w="9525" cap="flat" cmpd="sng" algn="ctr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  <p:txBody>
              <a:bodyPr vert="horz" wrap="square" lIns="90000" tIns="46800" rIns="90000" bIns="4680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pic>
            <p:nvPicPr>
              <p:cNvPr id="422" name="Picture 19"/>
              <p:cNvPicPr>
                <a:picLocks noChangeAspect="1" noChangeArrowheads="1"/>
              </p:cNvPicPr>
              <p:nvPr/>
            </p:nvPicPr>
            <p:blipFill>
              <a:blip r:embed="rId8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rot="370870">
                <a:off x="6116545" y="3416603"/>
                <a:ext cx="1083802" cy="14943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420" name="Textfeld 419"/>
            <p:cNvSpPr txBox="1"/>
            <p:nvPr/>
          </p:nvSpPr>
          <p:spPr>
            <a:xfrm rot="376827">
              <a:off x="6172186" y="3507444"/>
              <a:ext cx="999184" cy="126840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rPr>
                <a:t>Next Steps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rPr>
                <a:t>Package 1a:</a:t>
              </a:r>
            </a:p>
            <a:p>
              <a:pPr marL="0" marR="0" lvl="0" indent="0" defTabSz="914400" eaLnBrk="1" fontAlgn="auto" latinLnBrk="0" hangingPunct="1">
                <a:lnSpc>
                  <a:spcPts val="1100"/>
                </a:lnSpc>
                <a:spcBef>
                  <a:spcPts val="0"/>
                </a:spcBef>
                <a:spcAft>
                  <a:spcPts val="0"/>
                </a:spcAft>
                <a:buClr>
                  <a:srgbClr val="8D8F92"/>
                </a:buClr>
                <a:buSzPct val="80000"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0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rPr>
                <a:t>All BC‘s with</a:t>
              </a:r>
              <a:r>
                <a:rPr kumimoji="0" lang="en-US" sz="1050" b="0" i="0" u="none" strike="noStrike" kern="0" cap="none" spc="0" normalizeH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rPr>
                <a:t> </a:t>
              </a:r>
            </a:p>
            <a:p>
              <a:pPr marL="0" marR="0" lvl="0" indent="0" defTabSz="914400" eaLnBrk="1" fontAlgn="auto" latinLnBrk="0" hangingPunct="1">
                <a:lnSpc>
                  <a:spcPts val="1100"/>
                </a:lnSpc>
                <a:spcBef>
                  <a:spcPts val="0"/>
                </a:spcBef>
                <a:spcAft>
                  <a:spcPts val="0"/>
                </a:spcAft>
                <a:buClr>
                  <a:srgbClr val="8D8F92"/>
                </a:buClr>
                <a:buSzPct val="80000"/>
                <a:tabLst/>
                <a:defRPr/>
              </a:pPr>
              <a:r>
                <a:rPr lang="en-US" sz="1050" b="0" kern="0" noProof="0" dirty="0">
                  <a:solidFill>
                    <a:srgbClr val="000000"/>
                  </a:solidFill>
                  <a:latin typeface="CorpoS" pitchFamily="2" charset="0"/>
                  <a:ea typeface="+mn-ea"/>
                </a:rPr>
                <a:t>c</a:t>
              </a:r>
              <a:r>
                <a:rPr kumimoji="0" lang="en-US" sz="1050" b="0" i="0" u="none" strike="noStrike" kern="0" cap="none" spc="0" normalizeH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rPr>
                <a:t>oncrete values </a:t>
              </a:r>
              <a:endParaRPr kumimoji="0" 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  <a:p>
              <a:pPr marL="0" marR="0" lvl="0" indent="0" defTabSz="914400" eaLnBrk="1" fontAlgn="auto" latinLnBrk="0" hangingPunct="1">
                <a:lnSpc>
                  <a:spcPts val="1100"/>
                </a:lnSpc>
                <a:spcBef>
                  <a:spcPts val="0"/>
                </a:spcBef>
                <a:spcAft>
                  <a:spcPts val="0"/>
                </a:spcAft>
                <a:buClr>
                  <a:srgbClr val="8D8F92"/>
                </a:buClr>
                <a:buSzPct val="80000"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0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rPr>
                <a:t>2-step timing</a:t>
              </a:r>
            </a:p>
            <a:p>
              <a:pPr marL="0" marR="0" lvl="0" indent="0" defTabSz="914400" eaLnBrk="1" fontAlgn="auto" latinLnBrk="0" hangingPunct="1">
                <a:lnSpc>
                  <a:spcPts val="1100"/>
                </a:lnSpc>
                <a:spcBef>
                  <a:spcPts val="0"/>
                </a:spcBef>
                <a:spcAft>
                  <a:spcPts val="0"/>
                </a:spcAft>
                <a:buClr>
                  <a:srgbClr val="8D8F92"/>
                </a:buClr>
                <a:buSzPct val="80000"/>
                <a:buFont typeface="Wingdings" panose="05000000000000000000" pitchFamily="2" charset="2"/>
                <a:buChar char="§"/>
                <a:tabLst/>
                <a:defRPr/>
              </a:pPr>
              <a:r>
                <a:rPr lang="en-US" sz="1050" b="0" kern="0" dirty="0" smtClean="0">
                  <a:solidFill>
                    <a:srgbClr val="000000"/>
                  </a:solidFill>
                  <a:latin typeface="CorpoS" pitchFamily="2" charset="0"/>
                  <a:ea typeface="+mn-ea"/>
                </a:rPr>
                <a:t>Measuring </a:t>
              </a:r>
            </a:p>
            <a:p>
              <a:pPr marL="0" marR="0" lvl="0" indent="0" defTabSz="914400" eaLnBrk="1" fontAlgn="auto" latinLnBrk="0" hangingPunct="1">
                <a:lnSpc>
                  <a:spcPts val="1100"/>
                </a:lnSpc>
                <a:spcBef>
                  <a:spcPts val="0"/>
                </a:spcBef>
                <a:spcAft>
                  <a:spcPts val="0"/>
                </a:spcAft>
                <a:buClr>
                  <a:srgbClr val="8D8F92"/>
                </a:buClr>
                <a:buSzPct val="80000"/>
                <a:tabLst/>
                <a:defRPr/>
              </a:pPr>
              <a:r>
                <a:rPr lang="en-US" sz="1050" b="0" kern="0" dirty="0" smtClean="0">
                  <a:solidFill>
                    <a:srgbClr val="000000"/>
                  </a:solidFill>
                  <a:latin typeface="CorpoS" pitchFamily="2" charset="0"/>
                  <a:ea typeface="+mn-ea"/>
                </a:rPr>
                <a:t>  Technology</a:t>
              </a:r>
              <a:endParaRPr kumimoji="0" 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</p:grpSp>
      <p:grpSp>
        <p:nvGrpSpPr>
          <p:cNvPr id="423" name="Gruppieren 422"/>
          <p:cNvGrpSpPr/>
          <p:nvPr/>
        </p:nvGrpSpPr>
        <p:grpSpPr>
          <a:xfrm>
            <a:off x="7722028" y="3303903"/>
            <a:ext cx="1154200" cy="1494310"/>
            <a:chOff x="7763394" y="3408408"/>
            <a:chExt cx="1154200" cy="1494310"/>
          </a:xfrm>
        </p:grpSpPr>
        <p:grpSp>
          <p:nvGrpSpPr>
            <p:cNvPr id="424" name="Gruppieren 423"/>
            <p:cNvGrpSpPr/>
            <p:nvPr/>
          </p:nvGrpSpPr>
          <p:grpSpPr>
            <a:xfrm>
              <a:off x="7763394" y="3408408"/>
              <a:ext cx="1154200" cy="1494310"/>
              <a:chOff x="7763319" y="3408408"/>
              <a:chExt cx="960282" cy="1494310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426" name="Rechteck 425"/>
              <p:cNvSpPr/>
              <p:nvPr/>
            </p:nvSpPr>
            <p:spPr bwMode="auto">
              <a:xfrm rot="399921">
                <a:off x="7931491" y="4427321"/>
                <a:ext cx="639110" cy="208873"/>
              </a:xfrm>
              <a:prstGeom prst="rect">
                <a:avLst/>
              </a:prstGeom>
              <a:solidFill>
                <a:srgbClr val="FFFFFF"/>
              </a:solidFill>
              <a:ln w="9525" cap="flat" cmpd="sng" algn="ctr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  <p:txBody>
              <a:bodyPr vert="horz" wrap="square" lIns="90000" tIns="46800" rIns="90000" bIns="4680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pic>
            <p:nvPicPr>
              <p:cNvPr id="427" name="Picture 19"/>
              <p:cNvPicPr>
                <a:picLocks noChangeAspect="1" noChangeArrowheads="1"/>
              </p:cNvPicPr>
              <p:nvPr/>
            </p:nvPicPr>
            <p:blipFill>
              <a:blip r:embed="rId9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rot="370870">
                <a:off x="7763319" y="3408408"/>
                <a:ext cx="960282" cy="14943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425" name="Textfeld 424"/>
            <p:cNvSpPr txBox="1"/>
            <p:nvPr/>
          </p:nvSpPr>
          <p:spPr>
            <a:xfrm rot="376827">
              <a:off x="7849529" y="3506737"/>
              <a:ext cx="999184" cy="126840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orpoS" pitchFamily="2" charset="0"/>
                  <a:ea typeface="+mn-ea"/>
                </a:rPr>
                <a:t>Next </a:t>
              </a:r>
              <a:r>
                <a:rPr kumimoji="0" lang="de-DE" sz="1200" i="0" u="none" strike="noStrike" kern="0" cap="none" spc="0" normalizeH="0" baseline="0" noProof="0" dirty="0" err="1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orpoS" pitchFamily="2" charset="0"/>
                  <a:ea typeface="+mn-ea"/>
                </a:rPr>
                <a:t>Steps</a:t>
              </a:r>
              <a:endParaRPr kumimoji="0" lang="de-DE" sz="120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orpoS" pitchFamily="2" charset="0"/>
                  <a:ea typeface="+mn-ea"/>
                </a:rPr>
                <a:t>Package 1b</a:t>
              </a:r>
              <a:r>
                <a:rPr kumimoji="0" lang="de-DE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rPr>
                <a:t>: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8D8F92"/>
                </a:buClr>
                <a:buSzPct val="80000"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de-DE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rPr>
                <a:t>Timing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8D8F92"/>
                </a:buClr>
                <a:buSzPct val="80000"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de-DE" sz="10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rPr>
                <a:t>CF‘s</a:t>
              </a:r>
              <a:endParaRPr kumimoji="0" lang="de-DE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</p:grpSp>
      <p:sp>
        <p:nvSpPr>
          <p:cNvPr id="428" name="Textfeld 55"/>
          <p:cNvSpPr txBox="1"/>
          <p:nvPr/>
        </p:nvSpPr>
        <p:spPr>
          <a:xfrm>
            <a:off x="6152356" y="4601688"/>
            <a:ext cx="54697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kern="0" dirty="0" smtClean="0">
                <a:solidFill>
                  <a:srgbClr val="404040"/>
                </a:solidFill>
                <a:latin typeface="CorpoS" pitchFamily="2" charset="0"/>
                <a:ea typeface="+mn-ea"/>
              </a:rPr>
              <a:t>24.03</a:t>
            </a:r>
          </a:p>
        </p:txBody>
      </p:sp>
      <p:sp>
        <p:nvSpPr>
          <p:cNvPr id="429" name="Textfeld 55"/>
          <p:cNvSpPr txBox="1"/>
          <p:nvPr/>
        </p:nvSpPr>
        <p:spPr>
          <a:xfrm>
            <a:off x="7747002" y="4596743"/>
            <a:ext cx="54697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kern="0" dirty="0" smtClean="0">
                <a:solidFill>
                  <a:srgbClr val="404040"/>
                </a:solidFill>
                <a:latin typeface="CorpoS" pitchFamily="2" charset="0"/>
                <a:ea typeface="+mn-ea"/>
              </a:rPr>
              <a:t>19.05</a:t>
            </a:r>
          </a:p>
        </p:txBody>
      </p:sp>
      <p:pic>
        <p:nvPicPr>
          <p:cNvPr id="430" name="Picture 7" descr="C:\Users\rsr\Desktop\meeting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0435" y="2869098"/>
            <a:ext cx="264329" cy="2643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1" name="Picture 7" descr="C:\Users\rsr\Desktop\meeting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73598" y="2869954"/>
            <a:ext cx="264329" cy="2643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2" name="Picture 7" descr="C:\Users\rsr\Desktop\meeting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81091" y="2869097"/>
            <a:ext cx="264329" cy="2643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3" name="Picture 7" descr="C:\Users\rsr\Desktop\meeting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82110" y="2869096"/>
            <a:ext cx="264329" cy="2643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4" name="Picture 11" descr="http://www.sch-holz.de/image/kreuz.png"/>
          <p:cNvPicPr>
            <a:picLocks noChangeAspect="1" noChangeArrowheads="1"/>
          </p:cNvPicPr>
          <p:nvPr/>
        </p:nvPicPr>
        <p:blipFill>
          <a:blip r:embed="rId11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08157" y="2869954"/>
            <a:ext cx="410836" cy="2934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5" name="Picture 11" descr="http://www.sch-holz.de/image/kreuz.png"/>
          <p:cNvPicPr>
            <a:picLocks noChangeAspect="1" noChangeArrowheads="1"/>
          </p:cNvPicPr>
          <p:nvPr/>
        </p:nvPicPr>
        <p:blipFill>
          <a:blip r:embed="rId11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28906" y="2875627"/>
            <a:ext cx="410836" cy="2934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0" name="Gekrümmte Verbindung 9"/>
          <p:cNvCxnSpPr/>
          <p:nvPr/>
        </p:nvCxnSpPr>
        <p:spPr bwMode="auto">
          <a:xfrm rot="16200000" flipH="1">
            <a:off x="2686785" y="3425874"/>
            <a:ext cx="2438898" cy="889398"/>
          </a:xfrm>
          <a:prstGeom prst="curvedConnector2">
            <a:avLst/>
          </a:prstGeom>
          <a:solidFill>
            <a:srgbClr val="DDDDDD"/>
          </a:solidFill>
          <a:ln w="12700" cap="flat" cmpd="sng" algn="ctr">
            <a:solidFill>
              <a:schemeClr val="bg2"/>
            </a:solidFill>
            <a:prstDash val="solid"/>
            <a:round/>
            <a:headEnd type="oval" w="med" len="med"/>
            <a:tailEnd type="triangle" w="med" len="med"/>
          </a:ln>
          <a:effectLst>
            <a:outerShdw blurRad="63500" dist="35921" dir="2700000" algn="ctr" rotWithShape="0">
              <a:schemeClr val="bg2"/>
            </a:outerShdw>
          </a:effectLst>
          <a:extLst/>
        </p:spPr>
      </p:cxnSp>
      <p:sp>
        <p:nvSpPr>
          <p:cNvPr id="237" name="Textplatzhalter 2"/>
          <p:cNvSpPr txBox="1">
            <a:spLocks/>
          </p:cNvSpPr>
          <p:nvPr/>
        </p:nvSpPr>
        <p:spPr>
          <a:xfrm>
            <a:off x="727660" y="2729905"/>
            <a:ext cx="2398139" cy="362906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C0C0"/>
              </a:buClr>
              <a:buSzTx/>
              <a:buFontTx/>
              <a:buNone/>
              <a:tabLst/>
              <a:defRPr sz="1400" b="1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184150" marR="0" indent="-1841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C0C0"/>
              </a:buClr>
              <a:buSzTx/>
              <a:buFont typeface="Arial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361950" marR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C0C0"/>
              </a:buClr>
              <a:buSzTx/>
              <a:buFont typeface="Symbol" pitchFamily="18" charset="2"/>
              <a:buChar char="-"/>
              <a:tabLst/>
              <a:defRPr sz="1400" b="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3pPr>
            <a:lvl4pPr marL="542925" marR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C0C0"/>
              </a:buClr>
              <a:buSzTx/>
              <a:buFont typeface="Arial" pitchFamily="34" charset="0"/>
              <a:buChar char="•"/>
              <a:tabLst/>
              <a:defRPr sz="1400" b="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4pPr>
            <a:lvl5pPr marL="715963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C0C0"/>
              </a:buClr>
              <a:buSzTx/>
              <a:buFont typeface="Symbol" pitchFamily="18" charset="2"/>
              <a:buChar char="-"/>
              <a:tabLst/>
              <a:defRPr sz="1400" kern="1200" baseline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5pPr>
            <a:lvl6pPr marL="1520825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97050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062163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328863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600"/>
              </a:lnSpc>
              <a:spcAft>
                <a:spcPts val="0"/>
              </a:spcAft>
              <a:defRPr/>
            </a:pPr>
            <a:r>
              <a:rPr lang="en-US" sz="1100" kern="0" dirty="0" smtClean="0">
                <a:solidFill>
                  <a:srgbClr val="404040"/>
                </a:solidFill>
                <a:cs typeface="Times New Roman"/>
              </a:rPr>
              <a:t>  TCMV </a:t>
            </a:r>
            <a:r>
              <a:rPr lang="en-US" sz="1100" kern="0" dirty="0">
                <a:solidFill>
                  <a:srgbClr val="404040"/>
                </a:solidFill>
                <a:cs typeface="Times New Roman"/>
              </a:rPr>
              <a:t>Meetings</a:t>
            </a:r>
          </a:p>
          <a:p>
            <a:pPr>
              <a:lnSpc>
                <a:spcPts val="700"/>
              </a:lnSpc>
              <a:spcAft>
                <a:spcPts val="0"/>
              </a:spcAft>
              <a:defRPr/>
            </a:pPr>
            <a:r>
              <a:rPr lang="en-US" sz="1100" kern="0" dirty="0">
                <a:solidFill>
                  <a:srgbClr val="404040"/>
                </a:solidFill>
                <a:cs typeface="Times New Roman"/>
              </a:rPr>
              <a:t>    </a:t>
            </a:r>
            <a:endParaRPr lang="en-US" sz="1100" kern="0" dirty="0" smtClean="0">
              <a:solidFill>
                <a:srgbClr val="404040"/>
              </a:solidFill>
              <a:cs typeface="Times New Roman"/>
            </a:endParaRPr>
          </a:p>
          <a:p>
            <a:pPr>
              <a:lnSpc>
                <a:spcPts val="700"/>
              </a:lnSpc>
              <a:spcAft>
                <a:spcPts val="0"/>
              </a:spcAft>
              <a:defRPr/>
            </a:pPr>
            <a:r>
              <a:rPr lang="en-US" sz="1100" kern="0" dirty="0" smtClean="0">
                <a:solidFill>
                  <a:srgbClr val="404040"/>
                </a:solidFill>
                <a:cs typeface="Times New Roman"/>
              </a:rPr>
              <a:t>      </a:t>
            </a:r>
            <a:r>
              <a:rPr lang="en-US" sz="1100" b="0" kern="0" dirty="0" smtClean="0">
                <a:solidFill>
                  <a:srgbClr val="404040"/>
                </a:solidFill>
                <a:cs typeface="Times New Roman"/>
              </a:rPr>
              <a:t>- </a:t>
            </a:r>
            <a:r>
              <a:rPr lang="pt-BR" sz="1100" b="0" kern="0" dirty="0">
                <a:solidFill>
                  <a:srgbClr val="404040"/>
                </a:solidFill>
                <a:cs typeface="Times New Roman"/>
              </a:rPr>
              <a:t> compromise package by EU com</a:t>
            </a:r>
          </a:p>
        </p:txBody>
      </p:sp>
      <p:pic>
        <p:nvPicPr>
          <p:cNvPr id="415" name="Picture 2" descr="European Commission logo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42088" y="2818643"/>
            <a:ext cx="357341" cy="24723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0" name="Picture 7" descr="C:\Users\rsr\Desktop\meeting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55278" y="2874796"/>
            <a:ext cx="264329" cy="2643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1" name="Textfeld 55"/>
          <p:cNvSpPr txBox="1"/>
          <p:nvPr/>
        </p:nvSpPr>
        <p:spPr>
          <a:xfrm>
            <a:off x="3209597" y="2667002"/>
            <a:ext cx="54697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fontAlgn="auto">
              <a:spcBef>
                <a:spcPts val="0"/>
              </a:spcBef>
              <a:spcAft>
                <a:spcPts val="0"/>
              </a:spcAft>
              <a:defRPr sz="1100" kern="0">
                <a:solidFill>
                  <a:srgbClr val="404040"/>
                </a:solidFill>
                <a:latin typeface="CorpoS" pitchFamily="2" charset="0"/>
                <a:ea typeface="+mn-ea"/>
              </a:defRPr>
            </a:lvl1pPr>
          </a:lstStyle>
          <a:p>
            <a:r>
              <a:rPr lang="en-US" dirty="0"/>
              <a:t>18.12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6062129" y="4936069"/>
            <a:ext cx="1051240" cy="811873"/>
            <a:chOff x="5102871" y="5449291"/>
            <a:chExt cx="764014" cy="573011"/>
          </a:xfrm>
        </p:grpSpPr>
        <p:pic>
          <p:nvPicPr>
            <p:cNvPr id="381" name="Picture 10" descr="C:\DATEN\sonstiges\PowerPoint Icons\Beispiele gute Präsis und Icons\03___Icons_PowerPoint\Icons\Stopp\discussion_icon_1600_clr.png"/>
            <p:cNvPicPr>
              <a:picLocks noChangeAspect="1" noChangeArrowheads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02871" y="5449291"/>
              <a:ext cx="764014" cy="57301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82" name="Textfeld 55"/>
            <p:cNvSpPr txBox="1"/>
            <p:nvPr/>
          </p:nvSpPr>
          <p:spPr>
            <a:xfrm rot="322047">
              <a:off x="5313573" y="5477679"/>
              <a:ext cx="546971" cy="28239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auto">
                <a:lnSpc>
                  <a:spcPts val="8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de-DE" sz="900" kern="0" dirty="0" err="1" smtClean="0">
                  <a:solidFill>
                    <a:srgbClr val="002060"/>
                  </a:solidFill>
                  <a:latin typeface="CorpoS" pitchFamily="2" charset="0"/>
                  <a:ea typeface="+mn-ea"/>
                </a:rPr>
                <a:t>Latest</a:t>
              </a:r>
              <a:r>
                <a:rPr lang="de-DE" sz="900" kern="0" dirty="0" smtClean="0">
                  <a:solidFill>
                    <a:srgbClr val="002060"/>
                  </a:solidFill>
                  <a:latin typeface="CorpoS" pitchFamily="2" charset="0"/>
                  <a:ea typeface="+mn-ea"/>
                </a:rPr>
                <a:t> </a:t>
              </a:r>
            </a:p>
            <a:p>
              <a:pPr algn="ctr" fontAlgn="auto">
                <a:lnSpc>
                  <a:spcPts val="8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de-DE" sz="900" kern="0" dirty="0" smtClean="0">
                  <a:solidFill>
                    <a:srgbClr val="002060"/>
                  </a:solidFill>
                  <a:latin typeface="CorpoS" pitchFamily="2" charset="0"/>
                  <a:ea typeface="+mn-ea"/>
                </a:rPr>
                <a:t>09- 16. </a:t>
              </a:r>
            </a:p>
            <a:p>
              <a:pPr algn="ctr" fontAlgn="auto">
                <a:lnSpc>
                  <a:spcPts val="8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de-DE" sz="900" kern="0" dirty="0" smtClean="0">
                  <a:solidFill>
                    <a:srgbClr val="002060"/>
                  </a:solidFill>
                  <a:latin typeface="CorpoS" pitchFamily="2" charset="0"/>
                  <a:ea typeface="+mn-ea"/>
                </a:rPr>
                <a:t>March</a:t>
              </a:r>
            </a:p>
          </p:txBody>
        </p:sp>
      </p:grpSp>
      <p:sp>
        <p:nvSpPr>
          <p:cNvPr id="384" name="Textfeld 55"/>
          <p:cNvSpPr txBox="1"/>
          <p:nvPr/>
        </p:nvSpPr>
        <p:spPr>
          <a:xfrm>
            <a:off x="5644265" y="6265614"/>
            <a:ext cx="106133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eaLnBrk="1" fontAlgn="auto" hangingPunct="1">
              <a:spcBef>
                <a:spcPts val="0"/>
              </a:spcBef>
              <a:spcAft>
                <a:spcPts val="0"/>
              </a:spcAft>
              <a:defRPr sz="1100" kern="0">
                <a:solidFill>
                  <a:srgbClr val="404040"/>
                </a:solidFill>
                <a:cs typeface="Times New Roman"/>
              </a:defRPr>
            </a:lvl1pPr>
          </a:lstStyle>
          <a:p>
            <a:r>
              <a:rPr lang="en-US" dirty="0" smtClean="0">
                <a:latin typeface="CorpoS" pitchFamily="2" charset="0"/>
                <a:ea typeface="+mn-ea"/>
              </a:rPr>
              <a:t>02-.13.03</a:t>
            </a:r>
            <a:endParaRPr lang="en-US" dirty="0">
              <a:latin typeface="CorpoS" pitchFamily="2" charset="0"/>
              <a:ea typeface="+mn-ea"/>
            </a:endParaRPr>
          </a:p>
        </p:txBody>
      </p:sp>
      <p:grpSp>
        <p:nvGrpSpPr>
          <p:cNvPr id="4" name="Gruppieren 3"/>
          <p:cNvGrpSpPr/>
          <p:nvPr/>
        </p:nvGrpSpPr>
        <p:grpSpPr>
          <a:xfrm>
            <a:off x="4197724" y="5378952"/>
            <a:ext cx="1872616" cy="1096598"/>
            <a:chOff x="4197724" y="5378952"/>
            <a:chExt cx="1872616" cy="945170"/>
          </a:xfrm>
        </p:grpSpPr>
        <p:pic>
          <p:nvPicPr>
            <p:cNvPr id="1028" name="Picture 4"/>
            <p:cNvPicPr>
              <a:picLocks noChangeAspect="1" noChangeArrowheads="1"/>
            </p:cNvPicPr>
            <p:nvPr/>
          </p:nvPicPr>
          <p:blipFill>
            <a:blip r:embed="rId14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97724" y="5378952"/>
              <a:ext cx="1872616" cy="9451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37" name="Textfeld 436"/>
            <p:cNvSpPr txBox="1"/>
            <p:nvPr/>
          </p:nvSpPr>
          <p:spPr>
            <a:xfrm>
              <a:off x="4328697" y="5463990"/>
              <a:ext cx="1546245" cy="85028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ts val="1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200" kern="0" dirty="0" smtClean="0">
                  <a:solidFill>
                    <a:schemeClr val="bg1"/>
                  </a:solidFill>
                  <a:latin typeface="CorpoS" pitchFamily="2" charset="0"/>
                  <a:ea typeface="+mn-ea"/>
                </a:rPr>
                <a:t> Define</a:t>
              </a:r>
              <a:r>
                <a:rPr kumimoji="0" lang="en-US" sz="1200" i="0" u="none" strike="noStrike" kern="0" cap="none" spc="0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orpoS" pitchFamily="2" charset="0"/>
                  <a:ea typeface="+mn-ea"/>
                </a:rPr>
                <a:t> MS</a:t>
              </a:r>
              <a:r>
                <a:rPr kumimoji="0" lang="en-US" sz="1200" i="0" u="none" strike="noStrike" kern="0" cap="none" spc="0" normalizeH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orpoS" pitchFamily="2" charset="0"/>
                  <a:ea typeface="+mn-ea"/>
                </a:rPr>
                <a:t> for:</a:t>
              </a:r>
              <a:endParaRPr kumimoji="0" lang="en-US" sz="1200" i="0" u="none" strike="noStrike" kern="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  <a:p>
              <a:pPr marL="0" marR="0" lvl="0" indent="0" defTabSz="914400" eaLnBrk="1" fontAlgn="auto" latinLnBrk="0" hangingPunct="1">
                <a:lnSpc>
                  <a:spcPts val="1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orpoS" pitchFamily="2" charset="0"/>
                  <a:ea typeface="+mn-ea"/>
                </a:rPr>
                <a:t> Introduction of </a:t>
              </a:r>
            </a:p>
            <a:p>
              <a:pPr marL="0" marR="0" lvl="0" indent="0" defTabSz="914400" eaLnBrk="1" fontAlgn="auto" latinLnBrk="0" hangingPunct="1">
                <a:lnSpc>
                  <a:spcPts val="1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orpoS" pitchFamily="2" charset="0"/>
                  <a:ea typeface="+mn-ea"/>
                </a:rPr>
                <a:t> ACEA compromise</a:t>
              </a:r>
            </a:p>
            <a:p>
              <a:pPr marL="0" marR="0" lvl="0" indent="0" defTabSz="914400" eaLnBrk="1" fontAlgn="auto" latinLnBrk="0" hangingPunct="1">
                <a:lnSpc>
                  <a:spcPts val="1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200" b="0" kern="0" dirty="0">
                  <a:solidFill>
                    <a:schemeClr val="bg1"/>
                  </a:solidFill>
                  <a:latin typeface="CorpoS" pitchFamily="2" charset="0"/>
                  <a:ea typeface="+mn-ea"/>
                </a:rPr>
                <a:t>i</a:t>
              </a:r>
              <a:r>
                <a:rPr lang="en-US" sz="1200" b="0" kern="0" dirty="0" smtClean="0">
                  <a:solidFill>
                    <a:schemeClr val="bg1"/>
                  </a:solidFill>
                  <a:latin typeface="CorpoS" pitchFamily="2" charset="0"/>
                  <a:ea typeface="+mn-ea"/>
                </a:rPr>
                <a:t>n 1</a:t>
              </a:r>
              <a:r>
                <a:rPr lang="en-US" sz="1200" b="0" kern="0" baseline="30000" dirty="0" smtClean="0">
                  <a:solidFill>
                    <a:schemeClr val="bg1"/>
                  </a:solidFill>
                  <a:latin typeface="CorpoS" pitchFamily="2" charset="0"/>
                  <a:ea typeface="+mn-ea"/>
                </a:rPr>
                <a:t>st</a:t>
              </a:r>
              <a:r>
                <a:rPr lang="en-US" sz="1200" b="0" kern="0" dirty="0" smtClean="0">
                  <a:solidFill>
                    <a:schemeClr val="bg1"/>
                  </a:solidFill>
                  <a:latin typeface="CorpoS" pitchFamily="2" charset="0"/>
                  <a:ea typeface="+mn-ea"/>
                </a:rPr>
                <a:t> week</a:t>
              </a:r>
              <a:r>
                <a:rPr kumimoji="0" lang="en-US" sz="1200" b="0" i="0" u="none" strike="noStrike" kern="0" cap="none" spc="0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orpoS" pitchFamily="2" charset="0"/>
                  <a:ea typeface="+mn-ea"/>
                </a:rPr>
                <a:t> of March</a:t>
              </a:r>
            </a:p>
            <a:p>
              <a:pPr marL="0" marR="0" lvl="0" indent="0" defTabSz="914400" eaLnBrk="1" fontAlgn="auto" latinLnBrk="0" hangingPunct="1">
                <a:lnSpc>
                  <a:spcPts val="1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200" b="0" kern="0" dirty="0" smtClean="0">
                  <a:solidFill>
                    <a:srgbClr val="FF0000"/>
                  </a:solidFill>
                  <a:latin typeface="CorpoS" pitchFamily="2" charset="0"/>
                  <a:ea typeface="+mn-ea"/>
                </a:rPr>
                <a:t>Or ahead of 24.02</a:t>
              </a:r>
              <a:endParaRPr kumimoji="0" lang="en-US" sz="1050" b="0" i="0" u="none" strike="noStrike" kern="0" cap="none" spc="0" normalizeH="0" baseline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</p:grpSp>
      <p:pic>
        <p:nvPicPr>
          <p:cNvPr id="222" name="Picture 7" descr="C:\Users\rsr\Desktop\meeting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96944" y="2478871"/>
            <a:ext cx="264329" cy="264329"/>
          </a:xfrm>
          <a:prstGeom prst="rect">
            <a:avLst/>
          </a:prstGeom>
          <a:solidFill>
            <a:srgbClr val="FF0000"/>
          </a:solidFill>
          <a:ln>
            <a:solidFill>
              <a:srgbClr val="FF0000"/>
            </a:solidFill>
          </a:ln>
          <a:extLst/>
        </p:spPr>
      </p:pic>
      <p:sp>
        <p:nvSpPr>
          <p:cNvPr id="223" name="Textfeld 55"/>
          <p:cNvSpPr txBox="1"/>
          <p:nvPr/>
        </p:nvSpPr>
        <p:spPr>
          <a:xfrm>
            <a:off x="5174079" y="2235817"/>
            <a:ext cx="155422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kern="0" dirty="0" smtClean="0">
                <a:solidFill>
                  <a:srgbClr val="FF0000"/>
                </a:solidFill>
                <a:latin typeface="CorpoS" pitchFamily="2" charset="0"/>
                <a:ea typeface="+mn-ea"/>
              </a:rPr>
              <a:t>Pre small TCMV24.02</a:t>
            </a:r>
          </a:p>
        </p:txBody>
      </p:sp>
      <p:cxnSp>
        <p:nvCxnSpPr>
          <p:cNvPr id="224" name="Gerade Verbindung mit Pfeil 223"/>
          <p:cNvCxnSpPr/>
          <p:nvPr/>
        </p:nvCxnSpPr>
        <p:spPr bwMode="auto">
          <a:xfrm>
            <a:off x="5845792" y="2756296"/>
            <a:ext cx="0" cy="3042833"/>
          </a:xfrm>
          <a:prstGeom prst="straightConnector1">
            <a:avLst/>
          </a:prstGeom>
          <a:solidFill>
            <a:srgbClr val="DDDDDD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 w="med" len="med"/>
          </a:ln>
          <a:effectLst>
            <a:outerShdw blurRad="63500" dist="35921" dir="2700000" algn="ctr" rotWithShape="0">
              <a:schemeClr val="bg2"/>
            </a:outerShdw>
          </a:effectLst>
          <a:extLst/>
        </p:spPr>
      </p:cxnSp>
      <p:sp>
        <p:nvSpPr>
          <p:cNvPr id="3" name="Pfeil nach rechts 2"/>
          <p:cNvSpPr/>
          <p:nvPr/>
        </p:nvSpPr>
        <p:spPr bwMode="auto">
          <a:xfrm rot="10800000">
            <a:off x="5791201" y="5334000"/>
            <a:ext cx="396326" cy="108768"/>
          </a:xfrm>
          <a:prstGeom prst="rightArrow">
            <a:avLst/>
          </a:prstGeom>
          <a:solidFill>
            <a:srgbClr val="FF0000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3200" b="1" i="0" u="none" strike="noStrike" cap="none" normalizeH="0" baseline="0">
              <a:ln>
                <a:noFill/>
              </a:ln>
              <a:solidFill>
                <a:srgbClr val="336699"/>
              </a:solidFill>
              <a:effectLst/>
              <a:latin typeface="Verdana" charset="0"/>
              <a:ea typeface="ＭＳ Ｐゴシック" charset="0"/>
              <a:cs typeface="Arial" charset="0"/>
            </a:endParaRPr>
          </a:p>
        </p:txBody>
      </p:sp>
      <p:sp>
        <p:nvSpPr>
          <p:cNvPr id="436" name="Textfeld 55"/>
          <p:cNvSpPr txBox="1"/>
          <p:nvPr/>
        </p:nvSpPr>
        <p:spPr>
          <a:xfrm>
            <a:off x="5907021" y="5100036"/>
            <a:ext cx="32159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kern="0" dirty="0" smtClean="0">
                <a:solidFill>
                  <a:srgbClr val="FF0000"/>
                </a:solidFill>
                <a:latin typeface="CorpoS" pitchFamily="2" charset="0"/>
                <a:ea typeface="+mn-ea"/>
              </a:rPr>
              <a:t>?</a:t>
            </a:r>
          </a:p>
        </p:txBody>
      </p:sp>
      <p:sp>
        <p:nvSpPr>
          <p:cNvPr id="438" name="Textfeld 55"/>
          <p:cNvSpPr txBox="1"/>
          <p:nvPr/>
        </p:nvSpPr>
        <p:spPr>
          <a:xfrm>
            <a:off x="5684995" y="5785443"/>
            <a:ext cx="32159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kern="0" dirty="0" smtClean="0">
                <a:solidFill>
                  <a:srgbClr val="FF0000"/>
                </a:solidFill>
                <a:latin typeface="CorpoS" pitchFamily="2" charset="0"/>
                <a:ea typeface="+mn-ea"/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12353559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/>
        </p:nvSpPr>
        <p:spPr bwMode="auto">
          <a:xfrm>
            <a:off x="609600" y="1297168"/>
            <a:ext cx="8153399" cy="5256032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180000" tIns="144000" rIns="91440" bIns="45720" numCol="1" rtlCol="0" anchor="t" anchorCtr="0" compatLnSpc="1">
            <a:prstTxWarp prst="textNoShape">
              <a:avLst/>
            </a:prstTxWarp>
          </a:bodyPr>
          <a:lstStyle/>
          <a:p>
            <a:pPr marL="285750" lvl="1" indent="-285750"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Wingdings" panose="05000000000000000000" pitchFamily="2" charset="2"/>
              <a:buChar char="§"/>
            </a:pPr>
            <a:endParaRPr lang="en-US" sz="100" b="0" dirty="0" smtClean="0"/>
          </a:p>
          <a:p>
            <a:pPr marL="285750" lvl="1" indent="-285750"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cs typeface="Arial" panose="020B0604020202020204" pitchFamily="34" charset="0"/>
              </a:rPr>
              <a:t>Target: complete RDE Package vote by TCMV in March 2015</a:t>
            </a:r>
          </a:p>
          <a:p>
            <a:pPr marL="285750" lvl="1" indent="-285750"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Wingdings" panose="05000000000000000000" pitchFamily="2" charset="2"/>
              <a:buChar char="§"/>
            </a:pPr>
            <a:endParaRPr lang="en-US" sz="1400" dirty="0">
              <a:cs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lIns="36000" rIns="36000"/>
          <a:lstStyle/>
          <a:p>
            <a:r>
              <a:rPr lang="de-DE" sz="2400" dirty="0"/>
              <a:t>ACEA Action Plan</a:t>
            </a:r>
            <a:endParaRPr lang="en-US" sz="2600" dirty="0"/>
          </a:p>
        </p:txBody>
      </p:sp>
      <p:sp>
        <p:nvSpPr>
          <p:cNvPr id="9" name="Rechteck 8"/>
          <p:cNvSpPr/>
          <p:nvPr/>
        </p:nvSpPr>
        <p:spPr>
          <a:xfrm>
            <a:off x="807719" y="1127892"/>
            <a:ext cx="3820817" cy="338554"/>
          </a:xfrm>
          <a:prstGeom prst="rect">
            <a:avLst/>
          </a:prstGeom>
          <a:solidFill>
            <a:schemeClr val="bg1"/>
          </a:solidFill>
        </p:spPr>
        <p:txBody>
          <a:bodyPr wrap="square" rIns="0">
            <a:spAutoFit/>
          </a:bodyPr>
          <a:lstStyle/>
          <a:p>
            <a:pPr>
              <a:spcAft>
                <a:spcPts val="300"/>
              </a:spcAft>
              <a:buClr>
                <a:schemeClr val="bg1">
                  <a:lumMod val="65000"/>
                </a:schemeClr>
              </a:buClr>
            </a:pPr>
            <a:r>
              <a:rPr lang="en-US" sz="1600" dirty="0" smtClean="0"/>
              <a:t>ACEA RDE Lobbying – </a:t>
            </a:r>
            <a:r>
              <a:rPr lang="en-US" sz="1600" dirty="0" smtClean="0">
                <a:solidFill>
                  <a:srgbClr val="C00000"/>
                </a:solidFill>
              </a:rPr>
              <a:t>Backup</a:t>
            </a:r>
            <a:endParaRPr lang="en-US" sz="1600" dirty="0">
              <a:solidFill>
                <a:srgbClr val="C00000"/>
              </a:solidFill>
            </a:endParaRPr>
          </a:p>
        </p:txBody>
      </p:sp>
      <p:grpSp>
        <p:nvGrpSpPr>
          <p:cNvPr id="225" name="Group 2"/>
          <p:cNvGrpSpPr>
            <a:grpSpLocks/>
          </p:cNvGrpSpPr>
          <p:nvPr/>
        </p:nvGrpSpPr>
        <p:grpSpPr bwMode="auto">
          <a:xfrm>
            <a:off x="647883" y="1810101"/>
            <a:ext cx="8100266" cy="4577516"/>
            <a:chOff x="0" y="2086"/>
            <a:chExt cx="5760" cy="985"/>
          </a:xfrm>
        </p:grpSpPr>
        <p:sp>
          <p:nvSpPr>
            <p:cNvPr id="226" name="Rectangle 3"/>
            <p:cNvSpPr>
              <a:spLocks noChangeArrowheads="1"/>
            </p:cNvSpPr>
            <p:nvPr/>
          </p:nvSpPr>
          <p:spPr bwMode="gray">
            <a:xfrm>
              <a:off x="0" y="2325"/>
              <a:ext cx="5760" cy="746"/>
            </a:xfrm>
            <a:prstGeom prst="rect">
              <a:avLst/>
            </a:prstGeom>
            <a:gradFill rotWithShape="1">
              <a:gsLst>
                <a:gs pos="0">
                  <a:srgbClr val="DDDDDD"/>
                </a:gs>
                <a:gs pos="100000">
                  <a:srgbClr val="FFFFFF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90000" rIns="72000" bIns="90000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b="0" kern="0" smtClean="0">
                <a:solidFill>
                  <a:srgbClr val="000000"/>
                </a:solidFill>
                <a:latin typeface="CorpoS"/>
                <a:ea typeface="+mn-ea"/>
              </a:endParaRPr>
            </a:p>
          </p:txBody>
        </p:sp>
        <p:sp>
          <p:nvSpPr>
            <p:cNvPr id="227" name="Rectangle 4"/>
            <p:cNvSpPr>
              <a:spLocks noChangeArrowheads="1"/>
            </p:cNvSpPr>
            <p:nvPr/>
          </p:nvSpPr>
          <p:spPr bwMode="gray">
            <a:xfrm flipV="1">
              <a:off x="0" y="2086"/>
              <a:ext cx="5760" cy="246"/>
            </a:xfrm>
            <a:prstGeom prst="rect">
              <a:avLst/>
            </a:prstGeom>
            <a:gradFill rotWithShape="1">
              <a:gsLst>
                <a:gs pos="0">
                  <a:srgbClr val="DBDBDB"/>
                </a:gs>
                <a:gs pos="100000">
                  <a:srgbClr val="FFFFFF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10800000" wrap="none" lIns="90000" tIns="90000" rIns="72000" bIns="90000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b="0" kern="0" smtClean="0">
                <a:solidFill>
                  <a:srgbClr val="000000"/>
                </a:solidFill>
                <a:latin typeface="CorpoS"/>
                <a:ea typeface="+mn-ea"/>
              </a:endParaRPr>
            </a:p>
          </p:txBody>
        </p:sp>
      </p:grpSp>
      <p:sp>
        <p:nvSpPr>
          <p:cNvPr id="228" name="Textplatzhalter 2"/>
          <p:cNvSpPr txBox="1">
            <a:spLocks/>
          </p:cNvSpPr>
          <p:nvPr/>
        </p:nvSpPr>
        <p:spPr>
          <a:xfrm>
            <a:off x="727660" y="2305393"/>
            <a:ext cx="2398139" cy="373989"/>
          </a:xfrm>
          <a:prstGeom prst="rect">
            <a:avLst/>
          </a:prstGeom>
          <a:noFill/>
        </p:spPr>
        <p:txBody>
          <a:bodyPr vert="horz" lIns="0" tIns="0" rIns="0" bIns="0" rtlCol="0"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C0C0"/>
              </a:buClr>
              <a:buSzTx/>
              <a:buFontTx/>
              <a:buNone/>
              <a:tabLst/>
              <a:defRPr sz="1400" b="1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184150" marR="0" indent="-1841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C0C0"/>
              </a:buClr>
              <a:buSzTx/>
              <a:buFont typeface="Arial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361950" marR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C0C0"/>
              </a:buClr>
              <a:buSzTx/>
              <a:buFont typeface="Symbol" pitchFamily="18" charset="2"/>
              <a:buChar char="-"/>
              <a:tabLst/>
              <a:defRPr sz="1400" b="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3pPr>
            <a:lvl4pPr marL="542925" marR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C0C0"/>
              </a:buClr>
              <a:buSzTx/>
              <a:buFont typeface="Arial" pitchFamily="34" charset="0"/>
              <a:buChar char="•"/>
              <a:tabLst/>
              <a:defRPr sz="1400" b="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4pPr>
            <a:lvl5pPr marL="715963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C0C0"/>
              </a:buClr>
              <a:buSzTx/>
              <a:buFont typeface="Symbol" pitchFamily="18" charset="2"/>
              <a:buChar char="-"/>
              <a:tabLst/>
              <a:defRPr sz="1400" kern="1200" baseline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5pPr>
            <a:lvl6pPr marL="1520825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97050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062163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328863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0"/>
              </a:spcAft>
              <a:defRPr/>
            </a:pPr>
            <a:r>
              <a:rPr lang="en-US" sz="1100" kern="0" dirty="0" smtClean="0">
                <a:solidFill>
                  <a:srgbClr val="404040"/>
                </a:solidFill>
                <a:cs typeface="Times New Roman"/>
              </a:rPr>
              <a:t>  ACEA </a:t>
            </a:r>
            <a:r>
              <a:rPr lang="en-US" sz="1100" kern="0" dirty="0">
                <a:solidFill>
                  <a:srgbClr val="404040"/>
                </a:solidFill>
                <a:cs typeface="Times New Roman"/>
              </a:rPr>
              <a:t>RDE regulation draft</a:t>
            </a:r>
          </a:p>
        </p:txBody>
      </p:sp>
      <p:sp>
        <p:nvSpPr>
          <p:cNvPr id="229" name="Rechteck 228"/>
          <p:cNvSpPr/>
          <p:nvPr/>
        </p:nvSpPr>
        <p:spPr>
          <a:xfrm>
            <a:off x="727660" y="2053916"/>
            <a:ext cx="2371335" cy="180734"/>
          </a:xfrm>
          <a:prstGeom prst="rect">
            <a:avLst/>
          </a:prstGeom>
          <a:solidFill>
            <a:srgbClr val="EAEAEA"/>
          </a:solidFill>
          <a:ln w="3175" cap="flat" cmpd="sng" algn="ctr">
            <a:noFill/>
            <a:prstDash val="solid"/>
          </a:ln>
          <a:effectLst/>
        </p:spPr>
        <p:txBody>
          <a:bodyPr wrap="none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kern="0" dirty="0">
                <a:solidFill>
                  <a:srgbClr val="404040"/>
                </a:solidFill>
                <a:latin typeface="Calibri"/>
                <a:cs typeface="Calibri" pitchFamily="34" charset="0"/>
              </a:rPr>
              <a:t>Activities</a:t>
            </a:r>
          </a:p>
        </p:txBody>
      </p:sp>
      <p:cxnSp>
        <p:nvCxnSpPr>
          <p:cNvPr id="230" name="Gerade Verbindung 229"/>
          <p:cNvCxnSpPr/>
          <p:nvPr/>
        </p:nvCxnSpPr>
        <p:spPr>
          <a:xfrm>
            <a:off x="8744719" y="1810101"/>
            <a:ext cx="3429" cy="4574715"/>
          </a:xfrm>
          <a:prstGeom prst="line">
            <a:avLst/>
          </a:prstGeom>
          <a:noFill/>
          <a:ln w="9525" cap="flat" cmpd="sng" algn="ctr">
            <a:solidFill>
              <a:srgbClr val="808080"/>
            </a:solidFill>
            <a:prstDash val="solid"/>
          </a:ln>
          <a:effectLst/>
        </p:spPr>
      </p:cxnSp>
      <p:sp>
        <p:nvSpPr>
          <p:cNvPr id="231" name="Rechteck 230"/>
          <p:cNvSpPr/>
          <p:nvPr/>
        </p:nvSpPr>
        <p:spPr>
          <a:xfrm>
            <a:off x="4072442" y="1810101"/>
            <a:ext cx="4651159" cy="199794"/>
          </a:xfrm>
          <a:prstGeom prst="rect">
            <a:avLst/>
          </a:prstGeom>
          <a:solidFill>
            <a:srgbClr val="69A2E1"/>
          </a:solidFill>
          <a:ln w="3175" cap="flat" cmpd="sng" algn="ctr">
            <a:noFill/>
            <a:prstDash val="solid"/>
          </a:ln>
          <a:effectLst/>
        </p:spPr>
        <p:txBody>
          <a:bodyPr wrap="none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kern="0" dirty="0" smtClean="0">
                <a:solidFill>
                  <a:srgbClr val="FFFFFF"/>
                </a:solidFill>
                <a:latin typeface="Calibri"/>
                <a:ea typeface="+mn-ea"/>
                <a:cs typeface="Calibri" pitchFamily="34" charset="0"/>
              </a:rPr>
              <a:t>2015</a:t>
            </a:r>
          </a:p>
        </p:txBody>
      </p:sp>
      <p:cxnSp>
        <p:nvCxnSpPr>
          <p:cNvPr id="232" name="Gerade Verbindung 231"/>
          <p:cNvCxnSpPr/>
          <p:nvPr/>
        </p:nvCxnSpPr>
        <p:spPr>
          <a:xfrm>
            <a:off x="6860372" y="2157180"/>
            <a:ext cx="0" cy="4227636"/>
          </a:xfrm>
          <a:prstGeom prst="line">
            <a:avLst/>
          </a:prstGeom>
          <a:noFill/>
          <a:ln w="9525" cap="flat" cmpd="sng" algn="ctr">
            <a:solidFill>
              <a:srgbClr val="C0C0C0"/>
            </a:solidFill>
            <a:prstDash val="solid"/>
          </a:ln>
          <a:effectLst/>
        </p:spPr>
      </p:cxnSp>
      <p:cxnSp>
        <p:nvCxnSpPr>
          <p:cNvPr id="233" name="Gerade Verbindung 232"/>
          <p:cNvCxnSpPr/>
          <p:nvPr/>
        </p:nvCxnSpPr>
        <p:spPr>
          <a:xfrm flipH="1">
            <a:off x="7781149" y="2157180"/>
            <a:ext cx="23601" cy="4227636"/>
          </a:xfrm>
          <a:prstGeom prst="line">
            <a:avLst/>
          </a:prstGeom>
          <a:noFill/>
          <a:ln w="9525" cap="flat" cmpd="sng" algn="ctr">
            <a:solidFill>
              <a:srgbClr val="C0C0C0"/>
            </a:solidFill>
            <a:prstDash val="solid"/>
          </a:ln>
          <a:effectLst/>
        </p:spPr>
      </p:cxnSp>
      <p:cxnSp>
        <p:nvCxnSpPr>
          <p:cNvPr id="234" name="Gerade Verbindung 233"/>
          <p:cNvCxnSpPr/>
          <p:nvPr/>
        </p:nvCxnSpPr>
        <p:spPr>
          <a:xfrm>
            <a:off x="4975614" y="2157180"/>
            <a:ext cx="0" cy="4227636"/>
          </a:xfrm>
          <a:prstGeom prst="line">
            <a:avLst/>
          </a:prstGeom>
          <a:noFill/>
          <a:ln w="9525" cap="flat" cmpd="sng" algn="ctr">
            <a:solidFill>
              <a:srgbClr val="C0C0C0"/>
            </a:solidFill>
            <a:prstDash val="solid"/>
          </a:ln>
          <a:effectLst/>
        </p:spPr>
      </p:cxnSp>
      <p:cxnSp>
        <p:nvCxnSpPr>
          <p:cNvPr id="235" name="Gerade Verbindung 234"/>
          <p:cNvCxnSpPr/>
          <p:nvPr/>
        </p:nvCxnSpPr>
        <p:spPr>
          <a:xfrm>
            <a:off x="735224" y="2275265"/>
            <a:ext cx="8012924" cy="0"/>
          </a:xfrm>
          <a:prstGeom prst="line">
            <a:avLst/>
          </a:prstGeom>
          <a:noFill/>
          <a:ln w="9525" cap="flat" cmpd="sng" algn="ctr">
            <a:solidFill>
              <a:srgbClr val="C0C0C0"/>
            </a:solidFill>
            <a:prstDash val="solid"/>
          </a:ln>
          <a:effectLst/>
        </p:spPr>
      </p:cxnSp>
      <p:sp>
        <p:nvSpPr>
          <p:cNvPr id="236" name="Rechteck 235"/>
          <p:cNvSpPr/>
          <p:nvPr/>
        </p:nvSpPr>
        <p:spPr>
          <a:xfrm>
            <a:off x="4072442" y="2053916"/>
            <a:ext cx="881355" cy="180734"/>
          </a:xfrm>
          <a:prstGeom prst="rect">
            <a:avLst/>
          </a:prstGeom>
          <a:solidFill>
            <a:srgbClr val="EAEAEA"/>
          </a:solidFill>
          <a:ln w="3175" cap="flat" cmpd="sng" algn="ctr">
            <a:noFill/>
            <a:prstDash val="solid"/>
          </a:ln>
          <a:effectLst/>
        </p:spPr>
        <p:txBody>
          <a:bodyPr wrap="none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b="0" kern="0" dirty="0" smtClean="0">
                <a:solidFill>
                  <a:srgbClr val="404040"/>
                </a:solidFill>
                <a:latin typeface="Calibri"/>
                <a:ea typeface="+mn-ea"/>
                <a:cs typeface="Calibri" pitchFamily="34" charset="0"/>
              </a:rPr>
              <a:t>Jan</a:t>
            </a:r>
          </a:p>
        </p:txBody>
      </p:sp>
      <p:cxnSp>
        <p:nvCxnSpPr>
          <p:cNvPr id="238" name="Gerade Verbindung 237"/>
          <p:cNvCxnSpPr/>
          <p:nvPr/>
        </p:nvCxnSpPr>
        <p:spPr>
          <a:xfrm>
            <a:off x="735224" y="2717923"/>
            <a:ext cx="8009491" cy="0"/>
          </a:xfrm>
          <a:prstGeom prst="line">
            <a:avLst/>
          </a:prstGeom>
          <a:noFill/>
          <a:ln w="9525" cap="flat" cmpd="sng" algn="ctr">
            <a:solidFill>
              <a:srgbClr val="C0C0C0"/>
            </a:solidFill>
            <a:prstDash val="solid"/>
          </a:ln>
          <a:effectLst/>
        </p:spPr>
      </p:cxnSp>
      <p:sp>
        <p:nvSpPr>
          <p:cNvPr id="239" name="Textplatzhalter 2"/>
          <p:cNvSpPr txBox="1">
            <a:spLocks/>
          </p:cNvSpPr>
          <p:nvPr/>
        </p:nvSpPr>
        <p:spPr>
          <a:xfrm>
            <a:off x="727660" y="3243900"/>
            <a:ext cx="2398139" cy="362906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C0C0"/>
              </a:buClr>
              <a:buSzTx/>
              <a:buFontTx/>
              <a:buNone/>
              <a:tabLst/>
              <a:defRPr sz="1400" b="1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184150" marR="0" indent="-1841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C0C0"/>
              </a:buClr>
              <a:buSzTx/>
              <a:buFont typeface="Arial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361950" marR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C0C0"/>
              </a:buClr>
              <a:buSzTx/>
              <a:buFont typeface="Symbol" pitchFamily="18" charset="2"/>
              <a:buChar char="-"/>
              <a:tabLst/>
              <a:defRPr sz="1400" b="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3pPr>
            <a:lvl4pPr marL="542925" marR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C0C0"/>
              </a:buClr>
              <a:buSzTx/>
              <a:buFont typeface="Arial" pitchFamily="34" charset="0"/>
              <a:buChar char="•"/>
              <a:tabLst/>
              <a:defRPr sz="1400" b="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4pPr>
            <a:lvl5pPr marL="715963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C0C0"/>
              </a:buClr>
              <a:buSzTx/>
              <a:buFont typeface="Symbol" pitchFamily="18" charset="2"/>
              <a:buChar char="-"/>
              <a:tabLst/>
              <a:defRPr sz="1400" kern="1200" baseline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5pPr>
            <a:lvl6pPr marL="1520825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97050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062163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328863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0"/>
              </a:spcAft>
              <a:defRPr/>
            </a:pPr>
            <a:r>
              <a:rPr lang="en-US" sz="1100" kern="0" dirty="0" smtClean="0">
                <a:solidFill>
                  <a:srgbClr val="404040"/>
                </a:solidFill>
                <a:cs typeface="Times New Roman"/>
              </a:rPr>
              <a:t>  ACEA </a:t>
            </a:r>
            <a:r>
              <a:rPr lang="en-US" sz="1100" kern="0" dirty="0">
                <a:solidFill>
                  <a:srgbClr val="404040"/>
                </a:solidFill>
                <a:cs typeface="Times New Roman"/>
              </a:rPr>
              <a:t>Topics</a:t>
            </a:r>
          </a:p>
        </p:txBody>
      </p:sp>
      <p:sp>
        <p:nvSpPr>
          <p:cNvPr id="240" name="Textplatzhalter 2"/>
          <p:cNvSpPr txBox="1">
            <a:spLocks/>
          </p:cNvSpPr>
          <p:nvPr/>
        </p:nvSpPr>
        <p:spPr>
          <a:xfrm>
            <a:off x="859959" y="3493927"/>
            <a:ext cx="2275388" cy="362906"/>
          </a:xfrm>
          <a:prstGeom prst="rect">
            <a:avLst/>
          </a:prstGeom>
          <a:noFill/>
        </p:spPr>
        <p:txBody>
          <a:bodyPr vert="horz" lIns="0" tIns="0" rIns="0" bIns="0" rtlCol="0"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C0C0"/>
              </a:buClr>
              <a:buSzTx/>
              <a:buFontTx/>
              <a:buNone/>
              <a:tabLst/>
              <a:defRPr sz="1400" b="1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184150" marR="0" indent="-1841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C0C0"/>
              </a:buClr>
              <a:buSzTx/>
              <a:buFont typeface="Arial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361950" marR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C0C0"/>
              </a:buClr>
              <a:buSzTx/>
              <a:buFont typeface="Symbol" pitchFamily="18" charset="2"/>
              <a:buChar char="-"/>
              <a:tabLst/>
              <a:defRPr sz="1400" b="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3pPr>
            <a:lvl4pPr marL="542925" marR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C0C0"/>
              </a:buClr>
              <a:buSzTx/>
              <a:buFont typeface="Arial" pitchFamily="34" charset="0"/>
              <a:buChar char="•"/>
              <a:tabLst/>
              <a:defRPr sz="1400" b="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4pPr>
            <a:lvl5pPr marL="715963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C0C0"/>
              </a:buClr>
              <a:buSzTx/>
              <a:buFont typeface="Symbol" pitchFamily="18" charset="2"/>
              <a:buChar char="-"/>
              <a:tabLst/>
              <a:defRPr sz="1400" kern="1200" baseline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5pPr>
            <a:lvl6pPr marL="1520825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97050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062163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328863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0"/>
              </a:spcAft>
              <a:defRPr/>
            </a:pPr>
            <a:r>
              <a:rPr lang="en-US" sz="1100" b="0" kern="0" dirty="0">
                <a:solidFill>
                  <a:srgbClr val="404040"/>
                </a:solidFill>
                <a:cs typeface="Times New Roman"/>
              </a:rPr>
              <a:t>- compromise proposal   ACEA &amp; </a:t>
            </a:r>
            <a:r>
              <a:rPr lang="en-US" sz="1100" b="0" kern="0" dirty="0" smtClean="0">
                <a:solidFill>
                  <a:srgbClr val="404040"/>
                </a:solidFill>
                <a:cs typeface="Times New Roman"/>
              </a:rPr>
              <a:t>JAMA</a:t>
            </a:r>
            <a:endParaRPr lang="en-US" sz="1100" b="0" kern="0" dirty="0">
              <a:solidFill>
                <a:srgbClr val="404040"/>
              </a:solidFill>
              <a:cs typeface="Times New Roman"/>
            </a:endParaRPr>
          </a:p>
        </p:txBody>
      </p:sp>
      <p:sp>
        <p:nvSpPr>
          <p:cNvPr id="241" name="Rechteck 240"/>
          <p:cNvSpPr/>
          <p:nvPr/>
        </p:nvSpPr>
        <p:spPr>
          <a:xfrm>
            <a:off x="5014893" y="2053916"/>
            <a:ext cx="881355" cy="180734"/>
          </a:xfrm>
          <a:prstGeom prst="rect">
            <a:avLst/>
          </a:prstGeom>
          <a:solidFill>
            <a:srgbClr val="EAEAEA"/>
          </a:solidFill>
          <a:ln w="3175" cap="flat" cmpd="sng" algn="ctr">
            <a:noFill/>
            <a:prstDash val="solid"/>
          </a:ln>
          <a:effectLst/>
        </p:spPr>
        <p:txBody>
          <a:bodyPr wrap="none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b="0" kern="0" dirty="0" smtClean="0">
                <a:solidFill>
                  <a:srgbClr val="404040"/>
                </a:solidFill>
                <a:latin typeface="Calibri"/>
                <a:ea typeface="+mn-ea"/>
                <a:cs typeface="Calibri" pitchFamily="34" charset="0"/>
              </a:rPr>
              <a:t>Feb</a:t>
            </a:r>
          </a:p>
        </p:txBody>
      </p:sp>
      <p:sp>
        <p:nvSpPr>
          <p:cNvPr id="242" name="Rechteck 241"/>
          <p:cNvSpPr/>
          <p:nvPr/>
        </p:nvSpPr>
        <p:spPr>
          <a:xfrm>
            <a:off x="5957343" y="2053916"/>
            <a:ext cx="881355" cy="180734"/>
          </a:xfrm>
          <a:prstGeom prst="rect">
            <a:avLst/>
          </a:prstGeom>
          <a:solidFill>
            <a:srgbClr val="EAEAEA"/>
          </a:solidFill>
          <a:ln w="3175" cap="flat" cmpd="sng" algn="ctr">
            <a:noFill/>
            <a:prstDash val="solid"/>
          </a:ln>
          <a:effectLst/>
        </p:spPr>
        <p:txBody>
          <a:bodyPr wrap="none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b="0" kern="0" dirty="0" smtClean="0">
                <a:solidFill>
                  <a:srgbClr val="404040"/>
                </a:solidFill>
                <a:latin typeface="Calibri"/>
                <a:ea typeface="+mn-ea"/>
                <a:cs typeface="Calibri" pitchFamily="34" charset="0"/>
              </a:rPr>
              <a:t>Mrz</a:t>
            </a:r>
          </a:p>
        </p:txBody>
      </p:sp>
      <p:sp>
        <p:nvSpPr>
          <p:cNvPr id="243" name="Rechteck 242"/>
          <p:cNvSpPr/>
          <p:nvPr/>
        </p:nvSpPr>
        <p:spPr>
          <a:xfrm>
            <a:off x="7842245" y="2053916"/>
            <a:ext cx="881355" cy="180734"/>
          </a:xfrm>
          <a:prstGeom prst="rect">
            <a:avLst/>
          </a:prstGeom>
          <a:solidFill>
            <a:srgbClr val="EAEAEA"/>
          </a:solidFill>
          <a:ln w="3175" cap="flat" cmpd="sng" algn="ctr">
            <a:noFill/>
            <a:prstDash val="solid"/>
          </a:ln>
          <a:effectLst/>
        </p:spPr>
        <p:txBody>
          <a:bodyPr wrap="none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b="0" kern="0" dirty="0" smtClean="0">
                <a:solidFill>
                  <a:srgbClr val="404040"/>
                </a:solidFill>
                <a:latin typeface="Calibri"/>
                <a:ea typeface="+mn-ea"/>
                <a:cs typeface="Calibri" pitchFamily="34" charset="0"/>
              </a:rPr>
              <a:t>Mai</a:t>
            </a:r>
          </a:p>
        </p:txBody>
      </p:sp>
      <p:sp>
        <p:nvSpPr>
          <p:cNvPr id="244" name="Rechteck 243"/>
          <p:cNvSpPr/>
          <p:nvPr/>
        </p:nvSpPr>
        <p:spPr>
          <a:xfrm>
            <a:off x="6899794" y="2053916"/>
            <a:ext cx="881355" cy="180734"/>
          </a:xfrm>
          <a:prstGeom prst="rect">
            <a:avLst/>
          </a:prstGeom>
          <a:solidFill>
            <a:srgbClr val="EAEAEA"/>
          </a:solidFill>
          <a:ln w="3175" cap="flat" cmpd="sng" algn="ctr">
            <a:noFill/>
            <a:prstDash val="solid"/>
          </a:ln>
          <a:effectLst/>
        </p:spPr>
        <p:txBody>
          <a:bodyPr wrap="none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b="0" kern="0" dirty="0" smtClean="0">
                <a:solidFill>
                  <a:srgbClr val="404040"/>
                </a:solidFill>
                <a:latin typeface="Calibri"/>
                <a:ea typeface="+mn-ea"/>
                <a:cs typeface="Calibri" pitchFamily="34" charset="0"/>
              </a:rPr>
              <a:t>Apr</a:t>
            </a:r>
          </a:p>
        </p:txBody>
      </p:sp>
      <p:sp>
        <p:nvSpPr>
          <p:cNvPr id="245" name="Textplatzhalter 2"/>
          <p:cNvSpPr txBox="1">
            <a:spLocks/>
          </p:cNvSpPr>
          <p:nvPr/>
        </p:nvSpPr>
        <p:spPr>
          <a:xfrm>
            <a:off x="846444" y="3910037"/>
            <a:ext cx="2279356" cy="597175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C0C0"/>
              </a:buClr>
              <a:buSzTx/>
              <a:buFontTx/>
              <a:buNone/>
              <a:tabLst/>
              <a:defRPr sz="1400" b="1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184150" marR="0" indent="-1841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C0C0"/>
              </a:buClr>
              <a:buSzTx/>
              <a:buFont typeface="Arial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361950" marR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C0C0"/>
              </a:buClr>
              <a:buSzTx/>
              <a:buFont typeface="Symbol" pitchFamily="18" charset="2"/>
              <a:buChar char="-"/>
              <a:tabLst/>
              <a:defRPr sz="1400" b="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3pPr>
            <a:lvl4pPr marL="542925" marR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C0C0"/>
              </a:buClr>
              <a:buSzTx/>
              <a:buFont typeface="Arial" pitchFamily="34" charset="0"/>
              <a:buChar char="•"/>
              <a:tabLst/>
              <a:defRPr sz="1400" b="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4pPr>
            <a:lvl5pPr marL="715963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C0C0"/>
              </a:buClr>
              <a:buSzTx/>
              <a:buFont typeface="Symbol" pitchFamily="18" charset="2"/>
              <a:buChar char="-"/>
              <a:tabLst/>
              <a:defRPr sz="1400" kern="1200" baseline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5pPr>
            <a:lvl6pPr marL="1520825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97050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062163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328863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200"/>
              </a:lnSpc>
              <a:spcAft>
                <a:spcPts val="0"/>
              </a:spcAft>
              <a:defRPr/>
            </a:pPr>
            <a:r>
              <a:rPr lang="en-US" sz="1100" b="0" kern="0" dirty="0" smtClean="0">
                <a:solidFill>
                  <a:srgbClr val="404040"/>
                </a:solidFill>
                <a:cs typeface="Times New Roman"/>
              </a:rPr>
              <a:t>- Technical Task Force Team for dynamic BCs &amp; CFs (ACEA Experts Carsten Nagel, EU COM, Hausberger, Steven, JRC, TÜV NORD)</a:t>
            </a:r>
            <a:endParaRPr lang="en-US" sz="1100" b="0" i="1" kern="0" dirty="0">
              <a:solidFill>
                <a:srgbClr val="404040"/>
              </a:solidFill>
              <a:cs typeface="Times New Roman"/>
            </a:endParaRPr>
          </a:p>
        </p:txBody>
      </p:sp>
      <p:sp>
        <p:nvSpPr>
          <p:cNvPr id="246" name="Textplatzhalter 2"/>
          <p:cNvSpPr txBox="1">
            <a:spLocks/>
          </p:cNvSpPr>
          <p:nvPr/>
        </p:nvSpPr>
        <p:spPr>
          <a:xfrm>
            <a:off x="727660" y="4589960"/>
            <a:ext cx="2398139" cy="362906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C0C0"/>
              </a:buClr>
              <a:buSzTx/>
              <a:buFontTx/>
              <a:buNone/>
              <a:tabLst/>
              <a:defRPr sz="1400" b="1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184150" marR="0" indent="-1841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C0C0"/>
              </a:buClr>
              <a:buSzTx/>
              <a:buFont typeface="Arial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361950" marR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C0C0"/>
              </a:buClr>
              <a:buSzTx/>
              <a:buFont typeface="Symbol" pitchFamily="18" charset="2"/>
              <a:buChar char="-"/>
              <a:tabLst/>
              <a:defRPr sz="1400" b="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3pPr>
            <a:lvl4pPr marL="542925" marR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C0C0"/>
              </a:buClr>
              <a:buSzTx/>
              <a:buFont typeface="Arial" pitchFamily="34" charset="0"/>
              <a:buChar char="•"/>
              <a:tabLst/>
              <a:defRPr sz="1400" b="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4pPr>
            <a:lvl5pPr marL="715963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C0C0"/>
              </a:buClr>
              <a:buSzTx/>
              <a:buFont typeface="Symbol" pitchFamily="18" charset="2"/>
              <a:buChar char="-"/>
              <a:tabLst/>
              <a:defRPr sz="1400" kern="1200" baseline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5pPr>
            <a:lvl6pPr marL="1520825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97050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062163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328863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Aft>
                <a:spcPts val="0"/>
              </a:spcAft>
              <a:defRPr/>
            </a:pPr>
            <a:r>
              <a:rPr lang="en-US" sz="1100" kern="0" dirty="0" smtClean="0">
                <a:solidFill>
                  <a:srgbClr val="404040"/>
                </a:solidFill>
                <a:cs typeface="Times New Roman"/>
              </a:rPr>
              <a:t>ACEA lobby activities </a:t>
            </a:r>
            <a:r>
              <a:rPr kumimoji="0" lang="en-US" sz="1100" b="1" i="0" u="none" strike="noStrike" kern="0" cap="none" spc="0" normalizeH="0" baseline="0" noProof="0" dirty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cs typeface="Times New Roman"/>
              </a:rPr>
              <a:t>&amp; Next Step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0C0C0"/>
              </a:buClr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cs typeface="Times New Roman"/>
              </a:rPr>
              <a:t>     </a:t>
            </a:r>
            <a:endParaRPr kumimoji="0" lang="en-US" sz="1100" b="0" i="0" u="none" strike="noStrike" kern="1200" cap="none" spc="0" normalizeH="0" baseline="0" noProof="0" dirty="0" smtClean="0">
              <a:ln>
                <a:noFill/>
              </a:ln>
              <a:solidFill>
                <a:srgbClr val="404040"/>
              </a:solidFill>
              <a:effectLst/>
              <a:uLnTx/>
              <a:uFillTx/>
            </a:endParaRPr>
          </a:p>
        </p:txBody>
      </p:sp>
      <p:sp>
        <p:nvSpPr>
          <p:cNvPr id="247" name="Textplatzhalter 2"/>
          <p:cNvSpPr txBox="1">
            <a:spLocks/>
          </p:cNvSpPr>
          <p:nvPr/>
        </p:nvSpPr>
        <p:spPr>
          <a:xfrm>
            <a:off x="863222" y="4828262"/>
            <a:ext cx="2262577" cy="362906"/>
          </a:xfrm>
          <a:prstGeom prst="rect">
            <a:avLst/>
          </a:prstGeom>
          <a:noFill/>
        </p:spPr>
        <p:txBody>
          <a:bodyPr vert="horz" lIns="0" tIns="0" rIns="0" bIns="0" rtlCol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C0C0"/>
              </a:buClr>
              <a:buSzTx/>
              <a:buFontTx/>
              <a:buNone/>
              <a:tabLst/>
              <a:defRPr sz="1400" b="1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184150" marR="0" indent="-1841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C0C0"/>
              </a:buClr>
              <a:buSzTx/>
              <a:buFont typeface="Arial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361950" marR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C0C0"/>
              </a:buClr>
              <a:buSzTx/>
              <a:buFont typeface="Symbol" pitchFamily="18" charset="2"/>
              <a:buChar char="-"/>
              <a:tabLst/>
              <a:defRPr sz="1400" b="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3pPr>
            <a:lvl4pPr marL="542925" marR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C0C0"/>
              </a:buClr>
              <a:buSzTx/>
              <a:buFont typeface="Arial" pitchFamily="34" charset="0"/>
              <a:buChar char="•"/>
              <a:tabLst/>
              <a:defRPr sz="1400" b="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4pPr>
            <a:lvl5pPr marL="715963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C0C0"/>
              </a:buClr>
              <a:buSzTx/>
              <a:buFont typeface="Symbol" pitchFamily="18" charset="2"/>
              <a:buChar char="-"/>
              <a:tabLst/>
              <a:defRPr sz="1400" kern="1200" baseline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5pPr>
            <a:lvl6pPr marL="1520825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97050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062163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328863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0"/>
              </a:spcAft>
              <a:defRPr/>
            </a:pPr>
            <a:r>
              <a:rPr lang="de-DE" sz="1100" b="0" kern="0" dirty="0" smtClean="0">
                <a:solidFill>
                  <a:srgbClr val="404040"/>
                </a:solidFill>
                <a:cs typeface="Times New Roman"/>
              </a:rPr>
              <a:t> - </a:t>
            </a:r>
            <a:r>
              <a:rPr lang="en-US" sz="1100" b="0" kern="0" dirty="0">
                <a:solidFill>
                  <a:srgbClr val="404040"/>
                </a:solidFill>
                <a:cs typeface="Times New Roman"/>
              </a:rPr>
              <a:t>ACEA RDE draft  of 17.12. distribute to MS</a:t>
            </a:r>
            <a:endParaRPr lang="de-DE" sz="1100" b="0" kern="0" dirty="0">
              <a:solidFill>
                <a:srgbClr val="404040"/>
              </a:solidFill>
              <a:cs typeface="Times New Roman"/>
            </a:endParaRPr>
          </a:p>
        </p:txBody>
      </p:sp>
      <p:cxnSp>
        <p:nvCxnSpPr>
          <p:cNvPr id="248" name="Gerade Verbindung 247"/>
          <p:cNvCxnSpPr/>
          <p:nvPr/>
        </p:nvCxnSpPr>
        <p:spPr>
          <a:xfrm>
            <a:off x="863222" y="5738593"/>
            <a:ext cx="7865162" cy="0"/>
          </a:xfrm>
          <a:prstGeom prst="line">
            <a:avLst/>
          </a:prstGeom>
          <a:noFill/>
          <a:ln w="9525" cap="flat" cmpd="sng" algn="ctr">
            <a:solidFill>
              <a:srgbClr val="C0C0C0"/>
            </a:solidFill>
            <a:prstDash val="solid"/>
          </a:ln>
          <a:effectLst/>
        </p:spPr>
      </p:cxnSp>
      <p:sp>
        <p:nvSpPr>
          <p:cNvPr id="249" name="Textplatzhalter 2"/>
          <p:cNvSpPr txBox="1">
            <a:spLocks/>
          </p:cNvSpPr>
          <p:nvPr/>
        </p:nvSpPr>
        <p:spPr>
          <a:xfrm>
            <a:off x="868348" y="5269539"/>
            <a:ext cx="2263313" cy="362906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C0C0"/>
              </a:buClr>
              <a:buSzTx/>
              <a:buFontTx/>
              <a:buNone/>
              <a:tabLst/>
              <a:defRPr sz="1400" b="1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184150" marR="0" indent="-1841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C0C0"/>
              </a:buClr>
              <a:buSzTx/>
              <a:buFont typeface="Arial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361950" marR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C0C0"/>
              </a:buClr>
              <a:buSzTx/>
              <a:buFont typeface="Symbol" pitchFamily="18" charset="2"/>
              <a:buChar char="-"/>
              <a:tabLst/>
              <a:defRPr sz="1400" b="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3pPr>
            <a:lvl4pPr marL="542925" marR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C0C0"/>
              </a:buClr>
              <a:buSzTx/>
              <a:buFont typeface="Arial" pitchFamily="34" charset="0"/>
              <a:buChar char="•"/>
              <a:tabLst/>
              <a:defRPr sz="1400" b="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4pPr>
            <a:lvl5pPr marL="715963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C0C0"/>
              </a:buClr>
              <a:buSzTx/>
              <a:buFont typeface="Symbol" pitchFamily="18" charset="2"/>
              <a:buChar char="-"/>
              <a:tabLst/>
              <a:defRPr sz="1400" kern="1200" baseline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5pPr>
            <a:lvl6pPr marL="1520825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97050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062163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328863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200"/>
              </a:lnSpc>
              <a:spcAft>
                <a:spcPts val="0"/>
              </a:spcAft>
              <a:defRPr/>
            </a:pPr>
            <a:r>
              <a:rPr lang="en-US" sz="1100" b="0" kern="0" dirty="0" smtClean="0">
                <a:solidFill>
                  <a:srgbClr val="404040"/>
                </a:solidFill>
                <a:cs typeface="Times New Roman"/>
              </a:rPr>
              <a:t>- ACEA compromise discussion with     EU COM ( ACEA Delegation, Mr. Jean, Mr. Steininger …)</a:t>
            </a:r>
            <a:endParaRPr lang="en-US" sz="1100" b="0" kern="0" dirty="0">
              <a:solidFill>
                <a:srgbClr val="404040"/>
              </a:solidFill>
              <a:cs typeface="Times New Roman"/>
            </a:endParaRPr>
          </a:p>
        </p:txBody>
      </p:sp>
      <p:sp>
        <p:nvSpPr>
          <p:cNvPr id="250" name="Textplatzhalter 2"/>
          <p:cNvSpPr txBox="1">
            <a:spLocks/>
          </p:cNvSpPr>
          <p:nvPr/>
        </p:nvSpPr>
        <p:spPr>
          <a:xfrm>
            <a:off x="857361" y="5736712"/>
            <a:ext cx="2291722" cy="362906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C0C0"/>
              </a:buClr>
              <a:buSzTx/>
              <a:buFontTx/>
              <a:buNone/>
              <a:tabLst/>
              <a:defRPr sz="1400" b="1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184150" marR="0" indent="-1841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C0C0"/>
              </a:buClr>
              <a:buSzTx/>
              <a:buFont typeface="Arial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361950" marR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C0C0"/>
              </a:buClr>
              <a:buSzTx/>
              <a:buFont typeface="Symbol" pitchFamily="18" charset="2"/>
              <a:buChar char="-"/>
              <a:tabLst/>
              <a:defRPr sz="1400" b="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3pPr>
            <a:lvl4pPr marL="542925" marR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C0C0"/>
              </a:buClr>
              <a:buSzTx/>
              <a:buFont typeface="Arial" pitchFamily="34" charset="0"/>
              <a:buChar char="•"/>
              <a:tabLst/>
              <a:defRPr sz="1400" b="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4pPr>
            <a:lvl5pPr marL="715963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C0C0"/>
              </a:buClr>
              <a:buSzTx/>
              <a:buFont typeface="Symbol" pitchFamily="18" charset="2"/>
              <a:buChar char="-"/>
              <a:tabLst/>
              <a:defRPr sz="1400" kern="1200" baseline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5pPr>
            <a:lvl6pPr marL="1520825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97050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062163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328863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Aft>
                <a:spcPts val="0"/>
              </a:spcAft>
              <a:defRPr/>
            </a:pPr>
            <a:r>
              <a:rPr kumimoji="0" 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cs typeface="Times New Roman"/>
              </a:rPr>
              <a:t> - 2nd</a:t>
            </a:r>
            <a:r>
              <a:rPr kumimoji="0" lang="en-US" sz="1100" b="0" i="0" u="none" strike="noStrike" kern="0" cap="none" spc="0" normalizeH="0" noProof="0" dirty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cs typeface="Times New Roman"/>
              </a:rPr>
              <a:t> r</a:t>
            </a:r>
            <a:r>
              <a:rPr kumimoji="0" 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cs typeface="Times New Roman"/>
              </a:rPr>
              <a:t>oadshow to Green Camp MS &amp; others: Explanations to </a:t>
            </a:r>
            <a:r>
              <a:rPr lang="en-US" sz="1100" b="0" kern="0" dirty="0" smtClean="0">
                <a:solidFill>
                  <a:srgbClr val="404040"/>
                </a:solidFill>
                <a:cs typeface="Times New Roman"/>
              </a:rPr>
              <a:t>ACEA compromise</a:t>
            </a:r>
            <a:r>
              <a:rPr kumimoji="0" 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cs typeface="Times New Roman"/>
              </a:rPr>
              <a:t> &amp; technical</a:t>
            </a:r>
            <a:r>
              <a:rPr kumimoji="0" lang="en-US" sz="1100" b="0" i="0" u="none" strike="noStrike" kern="0" cap="none" spc="0" normalizeH="0" noProof="0" dirty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cs typeface="Times New Roman"/>
              </a:rPr>
              <a:t> explanations  to</a:t>
            </a:r>
            <a:r>
              <a:rPr kumimoji="0" 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cs typeface="Times New Roman"/>
              </a:rPr>
              <a:t> dynamic BCs und CFs</a:t>
            </a:r>
            <a:endParaRPr kumimoji="0" lang="en-US" sz="1100" b="0" i="0" u="none" strike="noStrike" kern="1200" cap="none" spc="0" normalizeH="0" baseline="0" noProof="0" dirty="0" smtClean="0">
              <a:ln>
                <a:noFill/>
              </a:ln>
              <a:solidFill>
                <a:srgbClr val="404040"/>
              </a:solidFill>
              <a:effectLst/>
              <a:uLnTx/>
              <a:uFillTx/>
            </a:endParaRPr>
          </a:p>
        </p:txBody>
      </p:sp>
      <p:cxnSp>
        <p:nvCxnSpPr>
          <p:cNvPr id="251" name="Gerade Verbindung 250"/>
          <p:cNvCxnSpPr/>
          <p:nvPr/>
        </p:nvCxnSpPr>
        <p:spPr>
          <a:xfrm>
            <a:off x="4052254" y="2163584"/>
            <a:ext cx="0" cy="4227636"/>
          </a:xfrm>
          <a:prstGeom prst="line">
            <a:avLst/>
          </a:prstGeom>
          <a:noFill/>
          <a:ln w="9525" cap="flat" cmpd="sng" algn="ctr">
            <a:solidFill>
              <a:srgbClr val="C0C0C0"/>
            </a:solidFill>
            <a:prstDash val="solid"/>
          </a:ln>
          <a:effectLst/>
        </p:spPr>
      </p:cxnSp>
      <p:cxnSp>
        <p:nvCxnSpPr>
          <p:cNvPr id="252" name="Gerade Verbindung 251"/>
          <p:cNvCxnSpPr/>
          <p:nvPr/>
        </p:nvCxnSpPr>
        <p:spPr>
          <a:xfrm>
            <a:off x="3131392" y="1816505"/>
            <a:ext cx="0" cy="4577516"/>
          </a:xfrm>
          <a:prstGeom prst="line">
            <a:avLst/>
          </a:prstGeom>
          <a:noFill/>
          <a:ln w="9525" cap="flat" cmpd="sng" algn="ctr">
            <a:solidFill>
              <a:srgbClr val="808080"/>
            </a:solidFill>
            <a:prstDash val="solid"/>
          </a:ln>
          <a:effectLst/>
        </p:spPr>
      </p:cxnSp>
      <p:sp>
        <p:nvSpPr>
          <p:cNvPr id="253" name="Rechteck 252"/>
          <p:cNvSpPr/>
          <p:nvPr/>
        </p:nvSpPr>
        <p:spPr>
          <a:xfrm>
            <a:off x="3149082" y="2060320"/>
            <a:ext cx="881355" cy="180734"/>
          </a:xfrm>
          <a:prstGeom prst="rect">
            <a:avLst/>
          </a:prstGeom>
          <a:solidFill>
            <a:srgbClr val="EAEAEA"/>
          </a:solidFill>
          <a:ln w="3175" cap="flat" cmpd="sng" algn="ctr">
            <a:noFill/>
            <a:prstDash val="solid"/>
          </a:ln>
          <a:effectLst/>
        </p:spPr>
        <p:txBody>
          <a:bodyPr wrap="none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b="0" kern="0" dirty="0" smtClean="0">
                <a:solidFill>
                  <a:srgbClr val="404040"/>
                </a:solidFill>
                <a:latin typeface="Calibri"/>
                <a:ea typeface="+mn-ea"/>
                <a:cs typeface="Calibri" pitchFamily="34" charset="0"/>
              </a:rPr>
              <a:t>Dez</a:t>
            </a:r>
          </a:p>
        </p:txBody>
      </p:sp>
      <p:cxnSp>
        <p:nvCxnSpPr>
          <p:cNvPr id="254" name="Gerade Verbindung 253"/>
          <p:cNvCxnSpPr/>
          <p:nvPr/>
        </p:nvCxnSpPr>
        <p:spPr bwMode="auto">
          <a:xfrm>
            <a:off x="647882" y="2060320"/>
            <a:ext cx="0" cy="4257874"/>
          </a:xfrm>
          <a:prstGeom prst="line">
            <a:avLst/>
          </a:prstGeom>
          <a:solidFill>
            <a:srgbClr val="FFFFFF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  <a:effectLst/>
        </p:spPr>
      </p:cxnSp>
      <p:sp>
        <p:nvSpPr>
          <p:cNvPr id="255" name="Rechteck 254"/>
          <p:cNvSpPr/>
          <p:nvPr/>
        </p:nvSpPr>
        <p:spPr>
          <a:xfrm>
            <a:off x="3149082" y="1803944"/>
            <a:ext cx="881355" cy="199794"/>
          </a:xfrm>
          <a:prstGeom prst="rect">
            <a:avLst/>
          </a:prstGeom>
          <a:solidFill>
            <a:srgbClr val="69A2E1"/>
          </a:solidFill>
          <a:ln w="3175" cap="flat" cmpd="sng" algn="ctr">
            <a:noFill/>
            <a:prstDash val="solid"/>
          </a:ln>
          <a:effectLst/>
        </p:spPr>
        <p:txBody>
          <a:bodyPr wrap="none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kern="0" dirty="0" smtClean="0">
                <a:solidFill>
                  <a:srgbClr val="FFFFFF"/>
                </a:solidFill>
                <a:latin typeface="Calibri"/>
                <a:ea typeface="+mn-ea"/>
                <a:cs typeface="Calibri" pitchFamily="34" charset="0"/>
              </a:rPr>
              <a:t>2014</a:t>
            </a:r>
          </a:p>
        </p:txBody>
      </p:sp>
      <p:grpSp>
        <p:nvGrpSpPr>
          <p:cNvPr id="256" name="Group 4"/>
          <p:cNvGrpSpPr>
            <a:grpSpLocks/>
          </p:cNvGrpSpPr>
          <p:nvPr/>
        </p:nvGrpSpPr>
        <p:grpSpPr bwMode="auto">
          <a:xfrm>
            <a:off x="6273501" y="5672482"/>
            <a:ext cx="779324" cy="747185"/>
            <a:chOff x="1415" y="1338"/>
            <a:chExt cx="2621" cy="2687"/>
          </a:xfrm>
          <a:solidFill>
            <a:srgbClr val="FFFFFF">
              <a:lumMod val="50000"/>
            </a:srgbClr>
          </a:solidFill>
        </p:grpSpPr>
        <p:sp>
          <p:nvSpPr>
            <p:cNvPr id="257" name="Freeform 5"/>
            <p:cNvSpPr>
              <a:spLocks noChangeAspect="1"/>
            </p:cNvSpPr>
            <p:nvPr/>
          </p:nvSpPr>
          <p:spPr bwMode="auto">
            <a:xfrm>
              <a:off x="2804" y="3997"/>
              <a:ext cx="25" cy="28"/>
            </a:xfrm>
            <a:custGeom>
              <a:avLst/>
              <a:gdLst>
                <a:gd name="T0" fmla="*/ 0 w 24"/>
                <a:gd name="T1" fmla="*/ 0 h 28"/>
                <a:gd name="T2" fmla="*/ 213 w 24"/>
                <a:gd name="T3" fmla="*/ 13 h 28"/>
                <a:gd name="T4" fmla="*/ 272 w 24"/>
                <a:gd name="T5" fmla="*/ 22 h 28"/>
                <a:gd name="T6" fmla="*/ 180 w 24"/>
                <a:gd name="T7" fmla="*/ 25 h 28"/>
                <a:gd name="T8" fmla="*/ 8 w 24"/>
                <a:gd name="T9" fmla="*/ 17 h 28"/>
                <a:gd name="T10" fmla="*/ 2 w 24"/>
                <a:gd name="T11" fmla="*/ 10 h 28"/>
                <a:gd name="T12" fmla="*/ 7 w 24"/>
                <a:gd name="T13" fmla="*/ 3 h 28"/>
                <a:gd name="T14" fmla="*/ 0 w 24"/>
                <a:gd name="T15" fmla="*/ 0 h 2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4"/>
                <a:gd name="T25" fmla="*/ 0 h 28"/>
                <a:gd name="T26" fmla="*/ 24 w 24"/>
                <a:gd name="T27" fmla="*/ 28 h 2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4" h="28">
                  <a:moveTo>
                    <a:pt x="0" y="0"/>
                  </a:moveTo>
                  <a:cubicBezTo>
                    <a:pt x="10" y="1"/>
                    <a:pt x="13" y="5"/>
                    <a:pt x="18" y="13"/>
                  </a:cubicBezTo>
                  <a:cubicBezTo>
                    <a:pt x="20" y="16"/>
                    <a:pt x="24" y="22"/>
                    <a:pt x="24" y="22"/>
                  </a:cubicBezTo>
                  <a:cubicBezTo>
                    <a:pt x="22" y="28"/>
                    <a:pt x="19" y="27"/>
                    <a:pt x="14" y="25"/>
                  </a:cubicBezTo>
                  <a:cubicBezTo>
                    <a:pt x="12" y="21"/>
                    <a:pt x="12" y="19"/>
                    <a:pt x="8" y="17"/>
                  </a:cubicBezTo>
                  <a:cubicBezTo>
                    <a:pt x="7" y="14"/>
                    <a:pt x="3" y="13"/>
                    <a:pt x="2" y="10"/>
                  </a:cubicBezTo>
                  <a:cubicBezTo>
                    <a:pt x="1" y="7"/>
                    <a:pt x="9" y="5"/>
                    <a:pt x="7" y="3"/>
                  </a:cubicBezTo>
                  <a:cubicBezTo>
                    <a:pt x="5" y="1"/>
                    <a:pt x="2" y="1"/>
                    <a:pt x="0" y="0"/>
                  </a:cubicBez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  <p:sp>
          <p:nvSpPr>
            <p:cNvPr id="258" name="Freeform 6"/>
            <p:cNvSpPr>
              <a:spLocks noChangeAspect="1"/>
            </p:cNvSpPr>
            <p:nvPr/>
          </p:nvSpPr>
          <p:spPr bwMode="auto">
            <a:xfrm>
              <a:off x="3919" y="3781"/>
              <a:ext cx="117" cy="114"/>
            </a:xfrm>
            <a:custGeom>
              <a:avLst/>
              <a:gdLst>
                <a:gd name="T0" fmla="*/ 26 w 116"/>
                <a:gd name="T1" fmla="*/ 194 h 112"/>
                <a:gd name="T2" fmla="*/ 36 w 116"/>
                <a:gd name="T3" fmla="*/ 179 h 112"/>
                <a:gd name="T4" fmla="*/ 33 w 116"/>
                <a:gd name="T5" fmla="*/ 149 h 112"/>
                <a:gd name="T6" fmla="*/ 120 w 116"/>
                <a:gd name="T7" fmla="*/ 130 h 112"/>
                <a:gd name="T8" fmla="*/ 134 w 116"/>
                <a:gd name="T9" fmla="*/ 114 h 112"/>
                <a:gd name="T10" fmla="*/ 146 w 116"/>
                <a:gd name="T11" fmla="*/ 94 h 112"/>
                <a:gd name="T12" fmla="*/ 176 w 116"/>
                <a:gd name="T13" fmla="*/ 0 h 112"/>
                <a:gd name="T14" fmla="*/ 156 w 116"/>
                <a:gd name="T15" fmla="*/ 122 h 112"/>
                <a:gd name="T16" fmla="*/ 163 w 116"/>
                <a:gd name="T17" fmla="*/ 161 h 112"/>
                <a:gd name="T18" fmla="*/ 148 w 116"/>
                <a:gd name="T19" fmla="*/ 194 h 112"/>
                <a:gd name="T20" fmla="*/ 135 w 116"/>
                <a:gd name="T21" fmla="*/ 245 h 112"/>
                <a:gd name="T22" fmla="*/ 57 w 116"/>
                <a:gd name="T23" fmla="*/ 293 h 112"/>
                <a:gd name="T24" fmla="*/ 48 w 116"/>
                <a:gd name="T25" fmla="*/ 321 h 112"/>
                <a:gd name="T26" fmla="*/ 12 w 116"/>
                <a:gd name="T27" fmla="*/ 314 h 112"/>
                <a:gd name="T28" fmla="*/ 0 w 116"/>
                <a:gd name="T29" fmla="*/ 269 h 112"/>
                <a:gd name="T30" fmla="*/ 15 w 116"/>
                <a:gd name="T31" fmla="*/ 213 h 112"/>
                <a:gd name="T32" fmla="*/ 23 w 116"/>
                <a:gd name="T33" fmla="*/ 205 h 112"/>
                <a:gd name="T34" fmla="*/ 26 w 116"/>
                <a:gd name="T35" fmla="*/ 194 h 11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16"/>
                <a:gd name="T55" fmla="*/ 0 h 112"/>
                <a:gd name="T56" fmla="*/ 116 w 116"/>
                <a:gd name="T57" fmla="*/ 112 h 112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16" h="112">
                  <a:moveTo>
                    <a:pt x="26" y="69"/>
                  </a:moveTo>
                  <a:cubicBezTo>
                    <a:pt x="31" y="68"/>
                    <a:pt x="31" y="66"/>
                    <a:pt x="36" y="64"/>
                  </a:cubicBezTo>
                  <a:cubicBezTo>
                    <a:pt x="37" y="62"/>
                    <a:pt x="30" y="57"/>
                    <a:pt x="33" y="54"/>
                  </a:cubicBezTo>
                  <a:cubicBezTo>
                    <a:pt x="27" y="48"/>
                    <a:pt x="50" y="47"/>
                    <a:pt x="59" y="46"/>
                  </a:cubicBezTo>
                  <a:cubicBezTo>
                    <a:pt x="66" y="44"/>
                    <a:pt x="65" y="39"/>
                    <a:pt x="73" y="38"/>
                  </a:cubicBezTo>
                  <a:cubicBezTo>
                    <a:pt x="78" y="37"/>
                    <a:pt x="85" y="28"/>
                    <a:pt x="85" y="28"/>
                  </a:cubicBezTo>
                  <a:cubicBezTo>
                    <a:pt x="99" y="20"/>
                    <a:pt x="98" y="5"/>
                    <a:pt x="114" y="0"/>
                  </a:cubicBezTo>
                  <a:cubicBezTo>
                    <a:pt x="116" y="2"/>
                    <a:pt x="97" y="32"/>
                    <a:pt x="95" y="42"/>
                  </a:cubicBezTo>
                  <a:cubicBezTo>
                    <a:pt x="91" y="49"/>
                    <a:pt x="96" y="49"/>
                    <a:pt x="102" y="58"/>
                  </a:cubicBezTo>
                  <a:cubicBezTo>
                    <a:pt x="101" y="61"/>
                    <a:pt x="91" y="67"/>
                    <a:pt x="87" y="69"/>
                  </a:cubicBezTo>
                  <a:cubicBezTo>
                    <a:pt x="85" y="75"/>
                    <a:pt x="80" y="80"/>
                    <a:pt x="74" y="82"/>
                  </a:cubicBezTo>
                  <a:cubicBezTo>
                    <a:pt x="73" y="84"/>
                    <a:pt x="60" y="99"/>
                    <a:pt x="57" y="100"/>
                  </a:cubicBezTo>
                  <a:cubicBezTo>
                    <a:pt x="54" y="104"/>
                    <a:pt x="51" y="108"/>
                    <a:pt x="48" y="111"/>
                  </a:cubicBezTo>
                  <a:cubicBezTo>
                    <a:pt x="32" y="110"/>
                    <a:pt x="24" y="112"/>
                    <a:pt x="12" y="108"/>
                  </a:cubicBezTo>
                  <a:cubicBezTo>
                    <a:pt x="9" y="100"/>
                    <a:pt x="4" y="97"/>
                    <a:pt x="0" y="91"/>
                  </a:cubicBezTo>
                  <a:cubicBezTo>
                    <a:pt x="1" y="85"/>
                    <a:pt x="8" y="76"/>
                    <a:pt x="15" y="74"/>
                  </a:cubicBezTo>
                  <a:cubicBezTo>
                    <a:pt x="18" y="73"/>
                    <a:pt x="23" y="72"/>
                    <a:pt x="23" y="72"/>
                  </a:cubicBezTo>
                  <a:cubicBezTo>
                    <a:pt x="26" y="70"/>
                    <a:pt x="26" y="71"/>
                    <a:pt x="26" y="69"/>
                  </a:cubicBez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  <p:grpSp>
          <p:nvGrpSpPr>
            <p:cNvPr id="259" name="Group 8"/>
            <p:cNvGrpSpPr>
              <a:grpSpLocks noChangeAspect="1"/>
            </p:cNvGrpSpPr>
            <p:nvPr/>
          </p:nvGrpSpPr>
          <p:grpSpPr bwMode="auto">
            <a:xfrm>
              <a:off x="3000" y="2184"/>
              <a:ext cx="229" cy="165"/>
              <a:chOff x="3131" y="2031"/>
              <a:chExt cx="227" cy="163"/>
            </a:xfrm>
            <a:grpFill/>
          </p:grpSpPr>
          <p:sp>
            <p:nvSpPr>
              <p:cNvPr id="375" name="Freeform 9"/>
              <p:cNvSpPr>
                <a:spLocks noChangeAspect="1"/>
              </p:cNvSpPr>
              <p:nvPr/>
            </p:nvSpPr>
            <p:spPr bwMode="auto">
              <a:xfrm>
                <a:off x="3131" y="2103"/>
                <a:ext cx="40" cy="31"/>
              </a:xfrm>
              <a:custGeom>
                <a:avLst/>
                <a:gdLst>
                  <a:gd name="T0" fmla="*/ 18 w 40"/>
                  <a:gd name="T1" fmla="*/ 1 h 31"/>
                  <a:gd name="T2" fmla="*/ 26 w 40"/>
                  <a:gd name="T3" fmla="*/ 4 h 31"/>
                  <a:gd name="T4" fmla="*/ 36 w 40"/>
                  <a:gd name="T5" fmla="*/ 13 h 31"/>
                  <a:gd name="T6" fmla="*/ 26 w 40"/>
                  <a:gd name="T7" fmla="*/ 25 h 31"/>
                  <a:gd name="T8" fmla="*/ 16 w 40"/>
                  <a:gd name="T9" fmla="*/ 30 h 31"/>
                  <a:gd name="T10" fmla="*/ 12 w 40"/>
                  <a:gd name="T11" fmla="*/ 19 h 31"/>
                  <a:gd name="T12" fmla="*/ 0 w 40"/>
                  <a:gd name="T13" fmla="*/ 23 h 31"/>
                  <a:gd name="T14" fmla="*/ 15 w 40"/>
                  <a:gd name="T15" fmla="*/ 12 h 31"/>
                  <a:gd name="T16" fmla="*/ 18 w 40"/>
                  <a:gd name="T17" fmla="*/ 1 h 31"/>
                  <a:gd name="T18" fmla="*/ 22 w 40"/>
                  <a:gd name="T19" fmla="*/ 3 h 31"/>
                  <a:gd name="T20" fmla="*/ 18 w 40"/>
                  <a:gd name="T21" fmla="*/ 1 h 31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40"/>
                  <a:gd name="T34" fmla="*/ 0 h 31"/>
                  <a:gd name="T35" fmla="*/ 40 w 40"/>
                  <a:gd name="T36" fmla="*/ 31 h 31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40" h="31">
                    <a:moveTo>
                      <a:pt x="18" y="1"/>
                    </a:moveTo>
                    <a:cubicBezTo>
                      <a:pt x="21" y="2"/>
                      <a:pt x="24" y="2"/>
                      <a:pt x="26" y="4"/>
                    </a:cubicBezTo>
                    <a:cubicBezTo>
                      <a:pt x="32" y="9"/>
                      <a:pt x="29" y="11"/>
                      <a:pt x="36" y="13"/>
                    </a:cubicBezTo>
                    <a:cubicBezTo>
                      <a:pt x="40" y="22"/>
                      <a:pt x="32" y="21"/>
                      <a:pt x="26" y="25"/>
                    </a:cubicBezTo>
                    <a:cubicBezTo>
                      <a:pt x="22" y="31"/>
                      <a:pt x="25" y="31"/>
                      <a:pt x="16" y="30"/>
                    </a:cubicBezTo>
                    <a:cubicBezTo>
                      <a:pt x="15" y="26"/>
                      <a:pt x="14" y="23"/>
                      <a:pt x="12" y="19"/>
                    </a:cubicBezTo>
                    <a:cubicBezTo>
                      <a:pt x="5" y="21"/>
                      <a:pt x="6" y="24"/>
                      <a:pt x="0" y="23"/>
                    </a:cubicBezTo>
                    <a:cubicBezTo>
                      <a:pt x="4" y="16"/>
                      <a:pt x="7" y="15"/>
                      <a:pt x="15" y="12"/>
                    </a:cubicBezTo>
                    <a:cubicBezTo>
                      <a:pt x="17" y="9"/>
                      <a:pt x="16" y="4"/>
                      <a:pt x="18" y="1"/>
                    </a:cubicBezTo>
                    <a:cubicBezTo>
                      <a:pt x="19" y="0"/>
                      <a:pt x="22" y="3"/>
                      <a:pt x="22" y="3"/>
                    </a:cubicBezTo>
                    <a:cubicBezTo>
                      <a:pt x="22" y="3"/>
                      <a:pt x="19" y="2"/>
                      <a:pt x="18" y="1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76" name="Freeform 10"/>
              <p:cNvSpPr>
                <a:spLocks noChangeAspect="1"/>
              </p:cNvSpPr>
              <p:nvPr/>
            </p:nvSpPr>
            <p:spPr bwMode="auto">
              <a:xfrm>
                <a:off x="3131" y="2136"/>
                <a:ext cx="52" cy="58"/>
              </a:xfrm>
              <a:custGeom>
                <a:avLst/>
                <a:gdLst>
                  <a:gd name="T0" fmla="*/ 35 w 52"/>
                  <a:gd name="T1" fmla="*/ 3 h 58"/>
                  <a:gd name="T2" fmla="*/ 51 w 52"/>
                  <a:gd name="T3" fmla="*/ 10 h 58"/>
                  <a:gd name="T4" fmla="*/ 44 w 52"/>
                  <a:gd name="T5" fmla="*/ 15 h 58"/>
                  <a:gd name="T6" fmla="*/ 33 w 52"/>
                  <a:gd name="T7" fmla="*/ 33 h 58"/>
                  <a:gd name="T8" fmla="*/ 18 w 52"/>
                  <a:gd name="T9" fmla="*/ 34 h 58"/>
                  <a:gd name="T10" fmla="*/ 11 w 52"/>
                  <a:gd name="T11" fmla="*/ 58 h 58"/>
                  <a:gd name="T12" fmla="*/ 14 w 52"/>
                  <a:gd name="T13" fmla="*/ 44 h 58"/>
                  <a:gd name="T14" fmla="*/ 0 w 52"/>
                  <a:gd name="T15" fmla="*/ 33 h 58"/>
                  <a:gd name="T16" fmla="*/ 15 w 52"/>
                  <a:gd name="T17" fmla="*/ 13 h 58"/>
                  <a:gd name="T18" fmla="*/ 35 w 52"/>
                  <a:gd name="T19" fmla="*/ 3 h 58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52"/>
                  <a:gd name="T31" fmla="*/ 0 h 58"/>
                  <a:gd name="T32" fmla="*/ 52 w 52"/>
                  <a:gd name="T33" fmla="*/ 58 h 58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52" h="58">
                    <a:moveTo>
                      <a:pt x="35" y="3"/>
                    </a:moveTo>
                    <a:cubicBezTo>
                      <a:pt x="41" y="4"/>
                      <a:pt x="45" y="8"/>
                      <a:pt x="51" y="10"/>
                    </a:cubicBezTo>
                    <a:cubicBezTo>
                      <a:pt x="49" y="19"/>
                      <a:pt x="52" y="10"/>
                      <a:pt x="44" y="15"/>
                    </a:cubicBezTo>
                    <a:cubicBezTo>
                      <a:pt x="38" y="19"/>
                      <a:pt x="41" y="30"/>
                      <a:pt x="33" y="33"/>
                    </a:cubicBezTo>
                    <a:cubicBezTo>
                      <a:pt x="29" y="30"/>
                      <a:pt x="18" y="34"/>
                      <a:pt x="18" y="34"/>
                    </a:cubicBezTo>
                    <a:cubicBezTo>
                      <a:pt x="15" y="42"/>
                      <a:pt x="18" y="53"/>
                      <a:pt x="11" y="58"/>
                    </a:cubicBezTo>
                    <a:cubicBezTo>
                      <a:pt x="3" y="55"/>
                      <a:pt x="10" y="47"/>
                      <a:pt x="14" y="44"/>
                    </a:cubicBezTo>
                    <a:cubicBezTo>
                      <a:pt x="11" y="32"/>
                      <a:pt x="6" y="42"/>
                      <a:pt x="0" y="33"/>
                    </a:cubicBezTo>
                    <a:cubicBezTo>
                      <a:pt x="2" y="24"/>
                      <a:pt x="5" y="16"/>
                      <a:pt x="15" y="13"/>
                    </a:cubicBezTo>
                    <a:cubicBezTo>
                      <a:pt x="18" y="0"/>
                      <a:pt x="17" y="3"/>
                      <a:pt x="35" y="3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77" name="Freeform 11"/>
              <p:cNvSpPr>
                <a:spLocks noChangeAspect="1"/>
              </p:cNvSpPr>
              <p:nvPr/>
            </p:nvSpPr>
            <p:spPr bwMode="auto">
              <a:xfrm>
                <a:off x="3177" y="2031"/>
                <a:ext cx="181" cy="157"/>
              </a:xfrm>
              <a:custGeom>
                <a:avLst/>
                <a:gdLst>
                  <a:gd name="T0" fmla="*/ 176 w 181"/>
                  <a:gd name="T1" fmla="*/ 145 h 157"/>
                  <a:gd name="T2" fmla="*/ 181 w 181"/>
                  <a:gd name="T3" fmla="*/ 121 h 157"/>
                  <a:gd name="T4" fmla="*/ 169 w 181"/>
                  <a:gd name="T5" fmla="*/ 101 h 157"/>
                  <a:gd name="T6" fmla="*/ 157 w 181"/>
                  <a:gd name="T7" fmla="*/ 82 h 157"/>
                  <a:gd name="T8" fmla="*/ 139 w 181"/>
                  <a:gd name="T9" fmla="*/ 58 h 157"/>
                  <a:gd name="T10" fmla="*/ 155 w 181"/>
                  <a:gd name="T11" fmla="*/ 45 h 157"/>
                  <a:gd name="T12" fmla="*/ 166 w 181"/>
                  <a:gd name="T13" fmla="*/ 41 h 157"/>
                  <a:gd name="T14" fmla="*/ 173 w 181"/>
                  <a:gd name="T15" fmla="*/ 21 h 157"/>
                  <a:gd name="T16" fmla="*/ 169 w 181"/>
                  <a:gd name="T17" fmla="*/ 5 h 157"/>
                  <a:gd name="T18" fmla="*/ 168 w 181"/>
                  <a:gd name="T19" fmla="*/ 1 h 157"/>
                  <a:gd name="T20" fmla="*/ 157 w 181"/>
                  <a:gd name="T21" fmla="*/ 7 h 157"/>
                  <a:gd name="T22" fmla="*/ 139 w 181"/>
                  <a:gd name="T23" fmla="*/ 12 h 157"/>
                  <a:gd name="T24" fmla="*/ 74 w 181"/>
                  <a:gd name="T25" fmla="*/ 18 h 157"/>
                  <a:gd name="T26" fmla="*/ 50 w 181"/>
                  <a:gd name="T27" fmla="*/ 33 h 157"/>
                  <a:gd name="T28" fmla="*/ 20 w 181"/>
                  <a:gd name="T29" fmla="*/ 49 h 157"/>
                  <a:gd name="T30" fmla="*/ 11 w 181"/>
                  <a:gd name="T31" fmla="*/ 55 h 157"/>
                  <a:gd name="T32" fmla="*/ 2 w 181"/>
                  <a:gd name="T33" fmla="*/ 65 h 157"/>
                  <a:gd name="T34" fmla="*/ 10 w 181"/>
                  <a:gd name="T35" fmla="*/ 89 h 157"/>
                  <a:gd name="T36" fmla="*/ 17 w 181"/>
                  <a:gd name="T37" fmla="*/ 101 h 157"/>
                  <a:gd name="T38" fmla="*/ 26 w 181"/>
                  <a:gd name="T39" fmla="*/ 111 h 157"/>
                  <a:gd name="T40" fmla="*/ 53 w 181"/>
                  <a:gd name="T41" fmla="*/ 114 h 157"/>
                  <a:gd name="T42" fmla="*/ 54 w 181"/>
                  <a:gd name="T43" fmla="*/ 126 h 157"/>
                  <a:gd name="T44" fmla="*/ 58 w 181"/>
                  <a:gd name="T45" fmla="*/ 132 h 157"/>
                  <a:gd name="T46" fmla="*/ 58 w 181"/>
                  <a:gd name="T47" fmla="*/ 144 h 157"/>
                  <a:gd name="T48" fmla="*/ 85 w 181"/>
                  <a:gd name="T49" fmla="*/ 131 h 157"/>
                  <a:gd name="T50" fmla="*/ 109 w 181"/>
                  <a:gd name="T51" fmla="*/ 138 h 157"/>
                  <a:gd name="T52" fmla="*/ 119 w 181"/>
                  <a:gd name="T53" fmla="*/ 147 h 157"/>
                  <a:gd name="T54" fmla="*/ 128 w 181"/>
                  <a:gd name="T55" fmla="*/ 150 h 157"/>
                  <a:gd name="T56" fmla="*/ 146 w 181"/>
                  <a:gd name="T57" fmla="*/ 154 h 157"/>
                  <a:gd name="T58" fmla="*/ 176 w 181"/>
                  <a:gd name="T59" fmla="*/ 145 h 157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w 181"/>
                  <a:gd name="T91" fmla="*/ 0 h 157"/>
                  <a:gd name="T92" fmla="*/ 181 w 181"/>
                  <a:gd name="T93" fmla="*/ 157 h 157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T90" t="T91" r="T92" b="T93"/>
                <a:pathLst>
                  <a:path w="181" h="157">
                    <a:moveTo>
                      <a:pt x="176" y="145"/>
                    </a:moveTo>
                    <a:cubicBezTo>
                      <a:pt x="165" y="141"/>
                      <a:pt x="179" y="128"/>
                      <a:pt x="181" y="121"/>
                    </a:cubicBezTo>
                    <a:cubicBezTo>
                      <a:pt x="179" y="111"/>
                      <a:pt x="178" y="107"/>
                      <a:pt x="169" y="101"/>
                    </a:cubicBezTo>
                    <a:cubicBezTo>
                      <a:pt x="166" y="95"/>
                      <a:pt x="162" y="87"/>
                      <a:pt x="157" y="82"/>
                    </a:cubicBezTo>
                    <a:cubicBezTo>
                      <a:pt x="154" y="73"/>
                      <a:pt x="142" y="68"/>
                      <a:pt x="139" y="58"/>
                    </a:cubicBezTo>
                    <a:cubicBezTo>
                      <a:pt x="140" y="45"/>
                      <a:pt x="143" y="46"/>
                      <a:pt x="155" y="45"/>
                    </a:cubicBezTo>
                    <a:cubicBezTo>
                      <a:pt x="158" y="43"/>
                      <a:pt x="166" y="41"/>
                      <a:pt x="166" y="41"/>
                    </a:cubicBezTo>
                    <a:cubicBezTo>
                      <a:pt x="169" y="37"/>
                      <a:pt x="172" y="27"/>
                      <a:pt x="173" y="21"/>
                    </a:cubicBezTo>
                    <a:cubicBezTo>
                      <a:pt x="175" y="15"/>
                      <a:pt x="174" y="8"/>
                      <a:pt x="169" y="5"/>
                    </a:cubicBezTo>
                    <a:cubicBezTo>
                      <a:pt x="169" y="4"/>
                      <a:pt x="169" y="1"/>
                      <a:pt x="168" y="1"/>
                    </a:cubicBezTo>
                    <a:cubicBezTo>
                      <a:pt x="164" y="0"/>
                      <a:pt x="157" y="7"/>
                      <a:pt x="157" y="7"/>
                    </a:cubicBezTo>
                    <a:cubicBezTo>
                      <a:pt x="153" y="18"/>
                      <a:pt x="157" y="13"/>
                      <a:pt x="139" y="12"/>
                    </a:cubicBezTo>
                    <a:cubicBezTo>
                      <a:pt x="116" y="14"/>
                      <a:pt x="98" y="17"/>
                      <a:pt x="74" y="18"/>
                    </a:cubicBezTo>
                    <a:cubicBezTo>
                      <a:pt x="69" y="26"/>
                      <a:pt x="58" y="28"/>
                      <a:pt x="50" y="33"/>
                    </a:cubicBezTo>
                    <a:cubicBezTo>
                      <a:pt x="40" y="39"/>
                      <a:pt x="29" y="43"/>
                      <a:pt x="20" y="49"/>
                    </a:cubicBezTo>
                    <a:cubicBezTo>
                      <a:pt x="17" y="53"/>
                      <a:pt x="15" y="52"/>
                      <a:pt x="11" y="55"/>
                    </a:cubicBezTo>
                    <a:cubicBezTo>
                      <a:pt x="10" y="58"/>
                      <a:pt x="5" y="63"/>
                      <a:pt x="2" y="65"/>
                    </a:cubicBezTo>
                    <a:cubicBezTo>
                      <a:pt x="0" y="74"/>
                      <a:pt x="2" y="84"/>
                      <a:pt x="10" y="89"/>
                    </a:cubicBezTo>
                    <a:cubicBezTo>
                      <a:pt x="11" y="94"/>
                      <a:pt x="13" y="98"/>
                      <a:pt x="17" y="101"/>
                    </a:cubicBezTo>
                    <a:cubicBezTo>
                      <a:pt x="18" y="106"/>
                      <a:pt x="21" y="109"/>
                      <a:pt x="26" y="111"/>
                    </a:cubicBezTo>
                    <a:cubicBezTo>
                      <a:pt x="31" y="118"/>
                      <a:pt x="46" y="113"/>
                      <a:pt x="53" y="114"/>
                    </a:cubicBezTo>
                    <a:cubicBezTo>
                      <a:pt x="60" y="119"/>
                      <a:pt x="47" y="116"/>
                      <a:pt x="54" y="126"/>
                    </a:cubicBezTo>
                    <a:cubicBezTo>
                      <a:pt x="55" y="128"/>
                      <a:pt x="58" y="132"/>
                      <a:pt x="58" y="132"/>
                    </a:cubicBezTo>
                    <a:cubicBezTo>
                      <a:pt x="58" y="136"/>
                      <a:pt x="55" y="141"/>
                      <a:pt x="58" y="144"/>
                    </a:cubicBezTo>
                    <a:cubicBezTo>
                      <a:pt x="62" y="144"/>
                      <a:pt x="77" y="132"/>
                      <a:pt x="85" y="131"/>
                    </a:cubicBezTo>
                    <a:cubicBezTo>
                      <a:pt x="93" y="132"/>
                      <a:pt x="101" y="131"/>
                      <a:pt x="109" y="138"/>
                    </a:cubicBezTo>
                    <a:cubicBezTo>
                      <a:pt x="110" y="141"/>
                      <a:pt x="115" y="145"/>
                      <a:pt x="119" y="147"/>
                    </a:cubicBezTo>
                    <a:cubicBezTo>
                      <a:pt x="122" y="148"/>
                      <a:pt x="128" y="150"/>
                      <a:pt x="128" y="150"/>
                    </a:cubicBezTo>
                    <a:cubicBezTo>
                      <a:pt x="135" y="157"/>
                      <a:pt x="134" y="155"/>
                      <a:pt x="146" y="154"/>
                    </a:cubicBezTo>
                    <a:cubicBezTo>
                      <a:pt x="160" y="149"/>
                      <a:pt x="151" y="150"/>
                      <a:pt x="176" y="145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</p:grpSp>
        <p:sp>
          <p:nvSpPr>
            <p:cNvPr id="260" name="Freeform 12"/>
            <p:cNvSpPr>
              <a:spLocks noChangeAspect="1"/>
            </p:cNvSpPr>
            <p:nvPr/>
          </p:nvSpPr>
          <p:spPr bwMode="auto">
            <a:xfrm>
              <a:off x="3185" y="1986"/>
              <a:ext cx="279" cy="252"/>
            </a:xfrm>
            <a:custGeom>
              <a:avLst/>
              <a:gdLst>
                <a:gd name="T0" fmla="*/ 0 w 1104"/>
                <a:gd name="T1" fmla="*/ 0 h 995"/>
                <a:gd name="T2" fmla="*/ 0 w 1104"/>
                <a:gd name="T3" fmla="*/ 0 h 995"/>
                <a:gd name="T4" fmla="*/ 0 w 1104"/>
                <a:gd name="T5" fmla="*/ 0 h 995"/>
                <a:gd name="T6" fmla="*/ 0 w 1104"/>
                <a:gd name="T7" fmla="*/ 0 h 995"/>
                <a:gd name="T8" fmla="*/ 0 w 1104"/>
                <a:gd name="T9" fmla="*/ 0 h 995"/>
                <a:gd name="T10" fmla="*/ 0 w 1104"/>
                <a:gd name="T11" fmla="*/ 0 h 995"/>
                <a:gd name="T12" fmla="*/ 0 w 1104"/>
                <a:gd name="T13" fmla="*/ 0 h 995"/>
                <a:gd name="T14" fmla="*/ 0 w 1104"/>
                <a:gd name="T15" fmla="*/ 0 h 995"/>
                <a:gd name="T16" fmla="*/ 0 w 1104"/>
                <a:gd name="T17" fmla="*/ 0 h 995"/>
                <a:gd name="T18" fmla="*/ 0 w 1104"/>
                <a:gd name="T19" fmla="*/ 0 h 995"/>
                <a:gd name="T20" fmla="*/ 0 w 1104"/>
                <a:gd name="T21" fmla="*/ 0 h 995"/>
                <a:gd name="T22" fmla="*/ 0 w 1104"/>
                <a:gd name="T23" fmla="*/ 0 h 995"/>
                <a:gd name="T24" fmla="*/ 0 w 1104"/>
                <a:gd name="T25" fmla="*/ 0 h 995"/>
                <a:gd name="T26" fmla="*/ 0 w 1104"/>
                <a:gd name="T27" fmla="*/ 0 h 995"/>
                <a:gd name="T28" fmla="*/ 0 w 1104"/>
                <a:gd name="T29" fmla="*/ 0 h 995"/>
                <a:gd name="T30" fmla="*/ 0 w 1104"/>
                <a:gd name="T31" fmla="*/ 0 h 995"/>
                <a:gd name="T32" fmla="*/ 0 w 1104"/>
                <a:gd name="T33" fmla="*/ 0 h 995"/>
                <a:gd name="T34" fmla="*/ 0 w 1104"/>
                <a:gd name="T35" fmla="*/ 0 h 995"/>
                <a:gd name="T36" fmla="*/ 0 w 1104"/>
                <a:gd name="T37" fmla="*/ 0 h 995"/>
                <a:gd name="T38" fmla="*/ 0 w 1104"/>
                <a:gd name="T39" fmla="*/ 0 h 995"/>
                <a:gd name="T40" fmla="*/ 0 w 1104"/>
                <a:gd name="T41" fmla="*/ 0 h 995"/>
                <a:gd name="T42" fmla="*/ 0 w 1104"/>
                <a:gd name="T43" fmla="*/ 0 h 995"/>
                <a:gd name="T44" fmla="*/ 0 w 1104"/>
                <a:gd name="T45" fmla="*/ 0 h 995"/>
                <a:gd name="T46" fmla="*/ 0 w 1104"/>
                <a:gd name="T47" fmla="*/ 0 h 995"/>
                <a:gd name="T48" fmla="*/ 0 w 1104"/>
                <a:gd name="T49" fmla="*/ 0 h 995"/>
                <a:gd name="T50" fmla="*/ 0 w 1104"/>
                <a:gd name="T51" fmla="*/ 0 h 995"/>
                <a:gd name="T52" fmla="*/ 0 w 1104"/>
                <a:gd name="T53" fmla="*/ 0 h 995"/>
                <a:gd name="T54" fmla="*/ 0 w 1104"/>
                <a:gd name="T55" fmla="*/ 0 h 995"/>
                <a:gd name="T56" fmla="*/ 0 w 1104"/>
                <a:gd name="T57" fmla="*/ 0 h 995"/>
                <a:gd name="T58" fmla="*/ 0 w 1104"/>
                <a:gd name="T59" fmla="*/ 0 h 995"/>
                <a:gd name="T60" fmla="*/ 0 w 1104"/>
                <a:gd name="T61" fmla="*/ 0 h 995"/>
                <a:gd name="T62" fmla="*/ 0 w 1104"/>
                <a:gd name="T63" fmla="*/ 0 h 995"/>
                <a:gd name="T64" fmla="*/ 0 w 1104"/>
                <a:gd name="T65" fmla="*/ 0 h 995"/>
                <a:gd name="T66" fmla="*/ 0 w 1104"/>
                <a:gd name="T67" fmla="*/ 0 h 995"/>
                <a:gd name="T68" fmla="*/ 0 w 1104"/>
                <a:gd name="T69" fmla="*/ 0 h 995"/>
                <a:gd name="T70" fmla="*/ 0 w 1104"/>
                <a:gd name="T71" fmla="*/ 0 h 995"/>
                <a:gd name="T72" fmla="*/ 0 w 1104"/>
                <a:gd name="T73" fmla="*/ 0 h 995"/>
                <a:gd name="T74" fmla="*/ 0 w 1104"/>
                <a:gd name="T75" fmla="*/ 0 h 995"/>
                <a:gd name="T76" fmla="*/ 0 w 1104"/>
                <a:gd name="T77" fmla="*/ 0 h 995"/>
                <a:gd name="T78" fmla="*/ 0 w 1104"/>
                <a:gd name="T79" fmla="*/ 0 h 995"/>
                <a:gd name="T80" fmla="*/ 0 w 1104"/>
                <a:gd name="T81" fmla="*/ 0 h 995"/>
                <a:gd name="T82" fmla="*/ 0 w 1104"/>
                <a:gd name="T83" fmla="*/ 0 h 995"/>
                <a:gd name="T84" fmla="*/ 0 w 1104"/>
                <a:gd name="T85" fmla="*/ 0 h 995"/>
                <a:gd name="T86" fmla="*/ 0 w 1104"/>
                <a:gd name="T87" fmla="*/ 0 h 995"/>
                <a:gd name="T88" fmla="*/ 0 w 1104"/>
                <a:gd name="T89" fmla="*/ 0 h 995"/>
                <a:gd name="T90" fmla="*/ 0 w 1104"/>
                <a:gd name="T91" fmla="*/ 0 h 995"/>
                <a:gd name="T92" fmla="*/ 0 w 1104"/>
                <a:gd name="T93" fmla="*/ 0 h 995"/>
                <a:gd name="T94" fmla="*/ 0 w 1104"/>
                <a:gd name="T95" fmla="*/ 0 h 995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1104"/>
                <a:gd name="T145" fmla="*/ 0 h 995"/>
                <a:gd name="T146" fmla="*/ 1104 w 1104"/>
                <a:gd name="T147" fmla="*/ 995 h 995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1104" h="995">
                  <a:moveTo>
                    <a:pt x="172" y="927"/>
                  </a:moveTo>
                  <a:cubicBezTo>
                    <a:pt x="228" y="935"/>
                    <a:pt x="260" y="955"/>
                    <a:pt x="312" y="967"/>
                  </a:cubicBezTo>
                  <a:cubicBezTo>
                    <a:pt x="336" y="971"/>
                    <a:pt x="352" y="983"/>
                    <a:pt x="372" y="991"/>
                  </a:cubicBezTo>
                  <a:cubicBezTo>
                    <a:pt x="376" y="991"/>
                    <a:pt x="384" y="995"/>
                    <a:pt x="384" y="995"/>
                  </a:cubicBezTo>
                  <a:cubicBezTo>
                    <a:pt x="412" y="987"/>
                    <a:pt x="404" y="983"/>
                    <a:pt x="428" y="967"/>
                  </a:cubicBezTo>
                  <a:cubicBezTo>
                    <a:pt x="440" y="927"/>
                    <a:pt x="448" y="875"/>
                    <a:pt x="480" y="843"/>
                  </a:cubicBezTo>
                  <a:cubicBezTo>
                    <a:pt x="500" y="823"/>
                    <a:pt x="532" y="823"/>
                    <a:pt x="552" y="803"/>
                  </a:cubicBezTo>
                  <a:cubicBezTo>
                    <a:pt x="564" y="763"/>
                    <a:pt x="532" y="695"/>
                    <a:pt x="576" y="679"/>
                  </a:cubicBezTo>
                  <a:cubicBezTo>
                    <a:pt x="604" y="687"/>
                    <a:pt x="636" y="703"/>
                    <a:pt x="660" y="719"/>
                  </a:cubicBezTo>
                  <a:cubicBezTo>
                    <a:pt x="688" y="715"/>
                    <a:pt x="724" y="727"/>
                    <a:pt x="748" y="711"/>
                  </a:cubicBezTo>
                  <a:cubicBezTo>
                    <a:pt x="808" y="671"/>
                    <a:pt x="732" y="667"/>
                    <a:pt x="756" y="639"/>
                  </a:cubicBezTo>
                  <a:cubicBezTo>
                    <a:pt x="764" y="627"/>
                    <a:pt x="792" y="615"/>
                    <a:pt x="792" y="615"/>
                  </a:cubicBezTo>
                  <a:cubicBezTo>
                    <a:pt x="944" y="631"/>
                    <a:pt x="872" y="627"/>
                    <a:pt x="1008" y="623"/>
                  </a:cubicBezTo>
                  <a:cubicBezTo>
                    <a:pt x="1024" y="615"/>
                    <a:pt x="1036" y="611"/>
                    <a:pt x="1052" y="603"/>
                  </a:cubicBezTo>
                  <a:cubicBezTo>
                    <a:pt x="1056" y="587"/>
                    <a:pt x="1060" y="579"/>
                    <a:pt x="1076" y="575"/>
                  </a:cubicBezTo>
                  <a:cubicBezTo>
                    <a:pt x="1084" y="555"/>
                    <a:pt x="1096" y="547"/>
                    <a:pt x="1104" y="527"/>
                  </a:cubicBezTo>
                  <a:cubicBezTo>
                    <a:pt x="1100" y="476"/>
                    <a:pt x="1068" y="352"/>
                    <a:pt x="1020" y="320"/>
                  </a:cubicBezTo>
                  <a:cubicBezTo>
                    <a:pt x="1008" y="296"/>
                    <a:pt x="984" y="280"/>
                    <a:pt x="972" y="252"/>
                  </a:cubicBezTo>
                  <a:cubicBezTo>
                    <a:pt x="960" y="184"/>
                    <a:pt x="956" y="116"/>
                    <a:pt x="936" y="52"/>
                  </a:cubicBezTo>
                  <a:cubicBezTo>
                    <a:pt x="932" y="44"/>
                    <a:pt x="956" y="8"/>
                    <a:pt x="948" y="4"/>
                  </a:cubicBezTo>
                  <a:cubicBezTo>
                    <a:pt x="932" y="0"/>
                    <a:pt x="888" y="0"/>
                    <a:pt x="872" y="0"/>
                  </a:cubicBezTo>
                  <a:cubicBezTo>
                    <a:pt x="816" y="4"/>
                    <a:pt x="764" y="8"/>
                    <a:pt x="708" y="16"/>
                  </a:cubicBezTo>
                  <a:cubicBezTo>
                    <a:pt x="680" y="36"/>
                    <a:pt x="688" y="24"/>
                    <a:pt x="680" y="48"/>
                  </a:cubicBezTo>
                  <a:cubicBezTo>
                    <a:pt x="680" y="76"/>
                    <a:pt x="660" y="236"/>
                    <a:pt x="632" y="256"/>
                  </a:cubicBezTo>
                  <a:cubicBezTo>
                    <a:pt x="600" y="280"/>
                    <a:pt x="480" y="276"/>
                    <a:pt x="476" y="276"/>
                  </a:cubicBezTo>
                  <a:cubicBezTo>
                    <a:pt x="392" y="272"/>
                    <a:pt x="324" y="260"/>
                    <a:pt x="244" y="252"/>
                  </a:cubicBezTo>
                  <a:cubicBezTo>
                    <a:pt x="212" y="252"/>
                    <a:pt x="176" y="252"/>
                    <a:pt x="144" y="256"/>
                  </a:cubicBezTo>
                  <a:cubicBezTo>
                    <a:pt x="128" y="260"/>
                    <a:pt x="108" y="280"/>
                    <a:pt x="108" y="280"/>
                  </a:cubicBezTo>
                  <a:cubicBezTo>
                    <a:pt x="84" y="316"/>
                    <a:pt x="16" y="440"/>
                    <a:pt x="0" y="480"/>
                  </a:cubicBezTo>
                  <a:cubicBezTo>
                    <a:pt x="0" y="488"/>
                    <a:pt x="0" y="499"/>
                    <a:pt x="4" y="507"/>
                  </a:cubicBezTo>
                  <a:cubicBezTo>
                    <a:pt x="8" y="511"/>
                    <a:pt x="8" y="499"/>
                    <a:pt x="12" y="496"/>
                  </a:cubicBezTo>
                  <a:cubicBezTo>
                    <a:pt x="20" y="488"/>
                    <a:pt x="36" y="480"/>
                    <a:pt x="36" y="480"/>
                  </a:cubicBezTo>
                  <a:cubicBezTo>
                    <a:pt x="44" y="468"/>
                    <a:pt x="48" y="448"/>
                    <a:pt x="60" y="444"/>
                  </a:cubicBezTo>
                  <a:cubicBezTo>
                    <a:pt x="68" y="440"/>
                    <a:pt x="84" y="436"/>
                    <a:pt x="84" y="436"/>
                  </a:cubicBezTo>
                  <a:cubicBezTo>
                    <a:pt x="128" y="444"/>
                    <a:pt x="120" y="488"/>
                    <a:pt x="140" y="519"/>
                  </a:cubicBezTo>
                  <a:cubicBezTo>
                    <a:pt x="156" y="583"/>
                    <a:pt x="136" y="551"/>
                    <a:pt x="248" y="543"/>
                  </a:cubicBezTo>
                  <a:cubicBezTo>
                    <a:pt x="276" y="535"/>
                    <a:pt x="264" y="539"/>
                    <a:pt x="284" y="527"/>
                  </a:cubicBezTo>
                  <a:cubicBezTo>
                    <a:pt x="308" y="527"/>
                    <a:pt x="340" y="515"/>
                    <a:pt x="356" y="535"/>
                  </a:cubicBezTo>
                  <a:cubicBezTo>
                    <a:pt x="364" y="547"/>
                    <a:pt x="368" y="575"/>
                    <a:pt x="368" y="575"/>
                  </a:cubicBezTo>
                  <a:cubicBezTo>
                    <a:pt x="320" y="623"/>
                    <a:pt x="268" y="623"/>
                    <a:pt x="216" y="631"/>
                  </a:cubicBezTo>
                  <a:cubicBezTo>
                    <a:pt x="208" y="635"/>
                    <a:pt x="200" y="635"/>
                    <a:pt x="192" y="639"/>
                  </a:cubicBezTo>
                  <a:cubicBezTo>
                    <a:pt x="188" y="643"/>
                    <a:pt x="184" y="647"/>
                    <a:pt x="180" y="647"/>
                  </a:cubicBezTo>
                  <a:cubicBezTo>
                    <a:pt x="166" y="664"/>
                    <a:pt x="118" y="720"/>
                    <a:pt x="108" y="743"/>
                  </a:cubicBezTo>
                  <a:cubicBezTo>
                    <a:pt x="104" y="763"/>
                    <a:pt x="100" y="775"/>
                    <a:pt x="120" y="783"/>
                  </a:cubicBezTo>
                  <a:cubicBezTo>
                    <a:pt x="124" y="803"/>
                    <a:pt x="124" y="811"/>
                    <a:pt x="140" y="823"/>
                  </a:cubicBezTo>
                  <a:cubicBezTo>
                    <a:pt x="148" y="855"/>
                    <a:pt x="124" y="895"/>
                    <a:pt x="108" y="923"/>
                  </a:cubicBezTo>
                  <a:cubicBezTo>
                    <a:pt x="112" y="927"/>
                    <a:pt x="112" y="931"/>
                    <a:pt x="116" y="935"/>
                  </a:cubicBezTo>
                  <a:cubicBezTo>
                    <a:pt x="128" y="935"/>
                    <a:pt x="140" y="923"/>
                    <a:pt x="172" y="927"/>
                  </a:cubicBez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  <p:grpSp>
          <p:nvGrpSpPr>
            <p:cNvPr id="261" name="Group 13"/>
            <p:cNvGrpSpPr>
              <a:grpSpLocks/>
            </p:cNvGrpSpPr>
            <p:nvPr/>
          </p:nvGrpSpPr>
          <p:grpSpPr bwMode="auto">
            <a:xfrm>
              <a:off x="3091" y="3473"/>
              <a:ext cx="555" cy="524"/>
              <a:chOff x="4862" y="8018"/>
              <a:chExt cx="2196" cy="2072"/>
            </a:xfrm>
            <a:grpFill/>
          </p:grpSpPr>
          <p:sp>
            <p:nvSpPr>
              <p:cNvPr id="353" name="Freeform 14"/>
              <p:cNvSpPr>
                <a:spLocks noChangeAspect="1"/>
              </p:cNvSpPr>
              <p:nvPr/>
            </p:nvSpPr>
            <p:spPr bwMode="auto">
              <a:xfrm>
                <a:off x="5802" y="9746"/>
                <a:ext cx="60" cy="96"/>
              </a:xfrm>
              <a:custGeom>
                <a:avLst/>
                <a:gdLst>
                  <a:gd name="T0" fmla="*/ 2147483647 w 15"/>
                  <a:gd name="T1" fmla="*/ 0 h 24"/>
                  <a:gd name="T2" fmla="*/ 2147483647 w 15"/>
                  <a:gd name="T3" fmla="*/ 2147483647 h 24"/>
                  <a:gd name="T4" fmla="*/ 2147483647 w 15"/>
                  <a:gd name="T5" fmla="*/ 2147483647 h 24"/>
                  <a:gd name="T6" fmla="*/ 2147483647 w 15"/>
                  <a:gd name="T7" fmla="*/ 2147483647 h 24"/>
                  <a:gd name="T8" fmla="*/ 0 w 15"/>
                  <a:gd name="T9" fmla="*/ 2147483647 h 24"/>
                  <a:gd name="T10" fmla="*/ 2147483647 w 15"/>
                  <a:gd name="T11" fmla="*/ 0 h 2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5"/>
                  <a:gd name="T19" fmla="*/ 0 h 24"/>
                  <a:gd name="T20" fmla="*/ 15 w 15"/>
                  <a:gd name="T21" fmla="*/ 24 h 2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5" h="24">
                    <a:moveTo>
                      <a:pt x="3" y="0"/>
                    </a:moveTo>
                    <a:cubicBezTo>
                      <a:pt x="11" y="1"/>
                      <a:pt x="13" y="0"/>
                      <a:pt x="14" y="8"/>
                    </a:cubicBezTo>
                    <a:cubicBezTo>
                      <a:pt x="12" y="19"/>
                      <a:pt x="15" y="12"/>
                      <a:pt x="10" y="18"/>
                    </a:cubicBezTo>
                    <a:cubicBezTo>
                      <a:pt x="9" y="20"/>
                      <a:pt x="6" y="24"/>
                      <a:pt x="6" y="24"/>
                    </a:cubicBezTo>
                    <a:cubicBezTo>
                      <a:pt x="3" y="21"/>
                      <a:pt x="0" y="12"/>
                      <a:pt x="0" y="12"/>
                    </a:cubicBezTo>
                    <a:cubicBezTo>
                      <a:pt x="1" y="8"/>
                      <a:pt x="2" y="4"/>
                      <a:pt x="3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54" name="Freeform 15"/>
              <p:cNvSpPr>
                <a:spLocks noChangeAspect="1"/>
              </p:cNvSpPr>
              <p:nvPr/>
            </p:nvSpPr>
            <p:spPr bwMode="auto">
              <a:xfrm>
                <a:off x="4862" y="8862"/>
                <a:ext cx="136" cy="116"/>
              </a:xfrm>
              <a:custGeom>
                <a:avLst/>
                <a:gdLst>
                  <a:gd name="T0" fmla="*/ 2147483647 w 34"/>
                  <a:gd name="T1" fmla="*/ 2147483647 h 29"/>
                  <a:gd name="T2" fmla="*/ 2147483647 w 34"/>
                  <a:gd name="T3" fmla="*/ 2147483647 h 29"/>
                  <a:gd name="T4" fmla="*/ 2147483647 w 34"/>
                  <a:gd name="T5" fmla="*/ 2147483647 h 29"/>
                  <a:gd name="T6" fmla="*/ 2147483647 w 34"/>
                  <a:gd name="T7" fmla="*/ 2147483647 h 29"/>
                  <a:gd name="T8" fmla="*/ 2147483647 w 34"/>
                  <a:gd name="T9" fmla="*/ 2147483647 h 29"/>
                  <a:gd name="T10" fmla="*/ 2147483647 w 34"/>
                  <a:gd name="T11" fmla="*/ 2147483647 h 29"/>
                  <a:gd name="T12" fmla="*/ 2147483647 w 34"/>
                  <a:gd name="T13" fmla="*/ 0 h 29"/>
                  <a:gd name="T14" fmla="*/ 2147483647 w 34"/>
                  <a:gd name="T15" fmla="*/ 2147483647 h 2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"/>
                  <a:gd name="T25" fmla="*/ 0 h 29"/>
                  <a:gd name="T26" fmla="*/ 34 w 34"/>
                  <a:gd name="T27" fmla="*/ 29 h 29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" h="29">
                    <a:moveTo>
                      <a:pt x="16" y="1"/>
                    </a:moveTo>
                    <a:cubicBezTo>
                      <a:pt x="2" y="3"/>
                      <a:pt x="0" y="8"/>
                      <a:pt x="14" y="13"/>
                    </a:cubicBezTo>
                    <a:cubicBezTo>
                      <a:pt x="17" y="16"/>
                      <a:pt x="20" y="17"/>
                      <a:pt x="23" y="19"/>
                    </a:cubicBezTo>
                    <a:cubicBezTo>
                      <a:pt x="26" y="28"/>
                      <a:pt x="25" y="29"/>
                      <a:pt x="34" y="26"/>
                    </a:cubicBezTo>
                    <a:cubicBezTo>
                      <a:pt x="33" y="22"/>
                      <a:pt x="27" y="21"/>
                      <a:pt x="23" y="17"/>
                    </a:cubicBezTo>
                    <a:cubicBezTo>
                      <a:pt x="22" y="14"/>
                      <a:pt x="21" y="4"/>
                      <a:pt x="19" y="2"/>
                    </a:cubicBezTo>
                    <a:cubicBezTo>
                      <a:pt x="17" y="0"/>
                      <a:pt x="11" y="0"/>
                      <a:pt x="11" y="0"/>
                    </a:cubicBezTo>
                    <a:cubicBezTo>
                      <a:pt x="11" y="0"/>
                      <a:pt x="14" y="1"/>
                      <a:pt x="16" y="1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55" name="Freeform 16"/>
              <p:cNvSpPr>
                <a:spLocks noChangeAspect="1"/>
              </p:cNvSpPr>
              <p:nvPr/>
            </p:nvSpPr>
            <p:spPr bwMode="auto">
              <a:xfrm>
                <a:off x="5122" y="9110"/>
                <a:ext cx="64" cy="92"/>
              </a:xfrm>
              <a:custGeom>
                <a:avLst/>
                <a:gdLst>
                  <a:gd name="T0" fmla="*/ 2147483647 w 16"/>
                  <a:gd name="T1" fmla="*/ 0 h 23"/>
                  <a:gd name="T2" fmla="*/ 2147483647 w 16"/>
                  <a:gd name="T3" fmla="*/ 2147483647 h 23"/>
                  <a:gd name="T4" fmla="*/ 2147483647 w 16"/>
                  <a:gd name="T5" fmla="*/ 2147483647 h 23"/>
                  <a:gd name="T6" fmla="*/ 0 w 16"/>
                  <a:gd name="T7" fmla="*/ 2147483647 h 23"/>
                  <a:gd name="T8" fmla="*/ 2147483647 w 16"/>
                  <a:gd name="T9" fmla="*/ 0 h 2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6"/>
                  <a:gd name="T16" fmla="*/ 0 h 23"/>
                  <a:gd name="T17" fmla="*/ 16 w 16"/>
                  <a:gd name="T18" fmla="*/ 23 h 2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6" h="23">
                    <a:moveTo>
                      <a:pt x="8" y="0"/>
                    </a:moveTo>
                    <a:cubicBezTo>
                      <a:pt x="11" y="3"/>
                      <a:pt x="14" y="4"/>
                      <a:pt x="15" y="8"/>
                    </a:cubicBezTo>
                    <a:cubicBezTo>
                      <a:pt x="14" y="19"/>
                      <a:pt x="16" y="20"/>
                      <a:pt x="8" y="23"/>
                    </a:cubicBezTo>
                    <a:cubicBezTo>
                      <a:pt x="2" y="22"/>
                      <a:pt x="5" y="19"/>
                      <a:pt x="0" y="16"/>
                    </a:cubicBezTo>
                    <a:cubicBezTo>
                      <a:pt x="1" y="13"/>
                      <a:pt x="8" y="0"/>
                      <a:pt x="8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56" name="Freeform 17"/>
              <p:cNvSpPr>
                <a:spLocks noChangeAspect="1"/>
              </p:cNvSpPr>
              <p:nvPr/>
            </p:nvSpPr>
            <p:spPr bwMode="auto">
              <a:xfrm>
                <a:off x="5098" y="9198"/>
                <a:ext cx="124" cy="144"/>
              </a:xfrm>
              <a:custGeom>
                <a:avLst/>
                <a:gdLst>
                  <a:gd name="T0" fmla="*/ 2147483647 w 31"/>
                  <a:gd name="T1" fmla="*/ 2147483647 h 36"/>
                  <a:gd name="T2" fmla="*/ 2147483647 w 31"/>
                  <a:gd name="T3" fmla="*/ 2147483647 h 36"/>
                  <a:gd name="T4" fmla="*/ 2147483647 w 31"/>
                  <a:gd name="T5" fmla="*/ 2147483647 h 36"/>
                  <a:gd name="T6" fmla="*/ 2147483647 w 31"/>
                  <a:gd name="T7" fmla="*/ 2147483647 h 36"/>
                  <a:gd name="T8" fmla="*/ 2147483647 w 31"/>
                  <a:gd name="T9" fmla="*/ 2147483647 h 36"/>
                  <a:gd name="T10" fmla="*/ 2147483647 w 31"/>
                  <a:gd name="T11" fmla="*/ 2147483647 h 36"/>
                  <a:gd name="T12" fmla="*/ 0 w 31"/>
                  <a:gd name="T13" fmla="*/ 2147483647 h 36"/>
                  <a:gd name="T14" fmla="*/ 2147483647 w 31"/>
                  <a:gd name="T15" fmla="*/ 2147483647 h 36"/>
                  <a:gd name="T16" fmla="*/ 2147483647 w 31"/>
                  <a:gd name="T17" fmla="*/ 2147483647 h 36"/>
                  <a:gd name="T18" fmla="*/ 2147483647 w 31"/>
                  <a:gd name="T19" fmla="*/ 2147483647 h 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31"/>
                  <a:gd name="T31" fmla="*/ 0 h 36"/>
                  <a:gd name="T32" fmla="*/ 31 w 31"/>
                  <a:gd name="T33" fmla="*/ 36 h 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31" h="36">
                    <a:moveTo>
                      <a:pt x="16" y="6"/>
                    </a:moveTo>
                    <a:cubicBezTo>
                      <a:pt x="20" y="8"/>
                      <a:pt x="23" y="9"/>
                      <a:pt x="24" y="13"/>
                    </a:cubicBezTo>
                    <a:cubicBezTo>
                      <a:pt x="23" y="19"/>
                      <a:pt x="21" y="22"/>
                      <a:pt x="27" y="24"/>
                    </a:cubicBezTo>
                    <a:cubicBezTo>
                      <a:pt x="28" y="29"/>
                      <a:pt x="31" y="34"/>
                      <a:pt x="24" y="36"/>
                    </a:cubicBezTo>
                    <a:cubicBezTo>
                      <a:pt x="21" y="35"/>
                      <a:pt x="17" y="34"/>
                      <a:pt x="14" y="34"/>
                    </a:cubicBezTo>
                    <a:cubicBezTo>
                      <a:pt x="12" y="34"/>
                      <a:pt x="8" y="36"/>
                      <a:pt x="8" y="36"/>
                    </a:cubicBezTo>
                    <a:cubicBezTo>
                      <a:pt x="5" y="31"/>
                      <a:pt x="3" y="33"/>
                      <a:pt x="0" y="28"/>
                    </a:cubicBezTo>
                    <a:cubicBezTo>
                      <a:pt x="3" y="23"/>
                      <a:pt x="6" y="21"/>
                      <a:pt x="11" y="19"/>
                    </a:cubicBezTo>
                    <a:cubicBezTo>
                      <a:pt x="11" y="13"/>
                      <a:pt x="11" y="8"/>
                      <a:pt x="12" y="2"/>
                    </a:cubicBezTo>
                    <a:cubicBezTo>
                      <a:pt x="12" y="0"/>
                      <a:pt x="16" y="4"/>
                      <a:pt x="16" y="6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57" name="Freeform 18"/>
              <p:cNvSpPr>
                <a:spLocks noChangeAspect="1"/>
              </p:cNvSpPr>
              <p:nvPr/>
            </p:nvSpPr>
            <p:spPr bwMode="auto">
              <a:xfrm>
                <a:off x="5182" y="9370"/>
                <a:ext cx="104" cy="88"/>
              </a:xfrm>
              <a:custGeom>
                <a:avLst/>
                <a:gdLst>
                  <a:gd name="T0" fmla="*/ 2147483647 w 26"/>
                  <a:gd name="T1" fmla="*/ 2147483647 h 22"/>
                  <a:gd name="T2" fmla="*/ 2147483647 w 26"/>
                  <a:gd name="T3" fmla="*/ 2147483647 h 22"/>
                  <a:gd name="T4" fmla="*/ 2147483647 w 26"/>
                  <a:gd name="T5" fmla="*/ 2147483647 h 22"/>
                  <a:gd name="T6" fmla="*/ 2147483647 w 26"/>
                  <a:gd name="T7" fmla="*/ 2147483647 h 22"/>
                  <a:gd name="T8" fmla="*/ 2147483647 w 26"/>
                  <a:gd name="T9" fmla="*/ 2147483647 h 22"/>
                  <a:gd name="T10" fmla="*/ 2147483647 w 26"/>
                  <a:gd name="T11" fmla="*/ 2147483647 h 22"/>
                  <a:gd name="T12" fmla="*/ 2147483647 w 26"/>
                  <a:gd name="T13" fmla="*/ 2147483647 h 22"/>
                  <a:gd name="T14" fmla="*/ 2147483647 w 26"/>
                  <a:gd name="T15" fmla="*/ 2147483647 h 2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6"/>
                  <a:gd name="T25" fmla="*/ 0 h 22"/>
                  <a:gd name="T26" fmla="*/ 26 w 26"/>
                  <a:gd name="T27" fmla="*/ 22 h 2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6" h="22">
                    <a:moveTo>
                      <a:pt x="5" y="4"/>
                    </a:moveTo>
                    <a:cubicBezTo>
                      <a:pt x="15" y="5"/>
                      <a:pt x="17" y="12"/>
                      <a:pt x="26" y="15"/>
                    </a:cubicBezTo>
                    <a:cubicBezTo>
                      <a:pt x="24" y="20"/>
                      <a:pt x="24" y="21"/>
                      <a:pt x="18" y="22"/>
                    </a:cubicBezTo>
                    <a:cubicBezTo>
                      <a:pt x="16" y="22"/>
                      <a:pt x="14" y="22"/>
                      <a:pt x="13" y="21"/>
                    </a:cubicBezTo>
                    <a:cubicBezTo>
                      <a:pt x="12" y="20"/>
                      <a:pt x="12" y="19"/>
                      <a:pt x="11" y="18"/>
                    </a:cubicBezTo>
                    <a:cubicBezTo>
                      <a:pt x="8" y="16"/>
                      <a:pt x="2" y="15"/>
                      <a:pt x="2" y="15"/>
                    </a:cubicBezTo>
                    <a:cubicBezTo>
                      <a:pt x="0" y="10"/>
                      <a:pt x="1" y="8"/>
                      <a:pt x="5" y="5"/>
                    </a:cubicBezTo>
                    <a:cubicBezTo>
                      <a:pt x="6" y="0"/>
                      <a:pt x="6" y="0"/>
                      <a:pt x="5" y="4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58" name="Freeform 19"/>
              <p:cNvSpPr>
                <a:spLocks noChangeAspect="1"/>
              </p:cNvSpPr>
              <p:nvPr/>
            </p:nvSpPr>
            <p:spPr bwMode="auto">
              <a:xfrm>
                <a:off x="5690" y="8950"/>
                <a:ext cx="316" cy="204"/>
              </a:xfrm>
              <a:custGeom>
                <a:avLst/>
                <a:gdLst>
                  <a:gd name="T0" fmla="*/ 2147483647 w 79"/>
                  <a:gd name="T1" fmla="*/ 2147483647 h 51"/>
                  <a:gd name="T2" fmla="*/ 2147483647 w 79"/>
                  <a:gd name="T3" fmla="*/ 2147483647 h 51"/>
                  <a:gd name="T4" fmla="*/ 2147483647 w 79"/>
                  <a:gd name="T5" fmla="*/ 2147483647 h 51"/>
                  <a:gd name="T6" fmla="*/ 2147483647 w 79"/>
                  <a:gd name="T7" fmla="*/ 2147483647 h 51"/>
                  <a:gd name="T8" fmla="*/ 2147483647 w 79"/>
                  <a:gd name="T9" fmla="*/ 2147483647 h 51"/>
                  <a:gd name="T10" fmla="*/ 2147483647 w 79"/>
                  <a:gd name="T11" fmla="*/ 2147483647 h 51"/>
                  <a:gd name="T12" fmla="*/ 2147483647 w 79"/>
                  <a:gd name="T13" fmla="*/ 2147483647 h 51"/>
                  <a:gd name="T14" fmla="*/ 2147483647 w 79"/>
                  <a:gd name="T15" fmla="*/ 2147483647 h 51"/>
                  <a:gd name="T16" fmla="*/ 2147483647 w 79"/>
                  <a:gd name="T17" fmla="*/ 2147483647 h 51"/>
                  <a:gd name="T18" fmla="*/ 2147483647 w 79"/>
                  <a:gd name="T19" fmla="*/ 2147483647 h 51"/>
                  <a:gd name="T20" fmla="*/ 2147483647 w 79"/>
                  <a:gd name="T21" fmla="*/ 2147483647 h 51"/>
                  <a:gd name="T22" fmla="*/ 2147483647 w 79"/>
                  <a:gd name="T23" fmla="*/ 2147483647 h 51"/>
                  <a:gd name="T24" fmla="*/ 2147483647 w 79"/>
                  <a:gd name="T25" fmla="*/ 2147483647 h 51"/>
                  <a:gd name="T26" fmla="*/ 0 w 79"/>
                  <a:gd name="T27" fmla="*/ 2147483647 h 51"/>
                  <a:gd name="T28" fmla="*/ 2147483647 w 79"/>
                  <a:gd name="T29" fmla="*/ 0 h 51"/>
                  <a:gd name="T30" fmla="*/ 2147483647 w 79"/>
                  <a:gd name="T31" fmla="*/ 2147483647 h 51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79"/>
                  <a:gd name="T49" fmla="*/ 0 h 51"/>
                  <a:gd name="T50" fmla="*/ 79 w 79"/>
                  <a:gd name="T51" fmla="*/ 51 h 51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79" h="51">
                    <a:moveTo>
                      <a:pt x="12" y="3"/>
                    </a:moveTo>
                    <a:cubicBezTo>
                      <a:pt x="25" y="4"/>
                      <a:pt x="21" y="3"/>
                      <a:pt x="28" y="10"/>
                    </a:cubicBezTo>
                    <a:cubicBezTo>
                      <a:pt x="30" y="20"/>
                      <a:pt x="40" y="20"/>
                      <a:pt x="49" y="21"/>
                    </a:cubicBezTo>
                    <a:cubicBezTo>
                      <a:pt x="54" y="22"/>
                      <a:pt x="64" y="19"/>
                      <a:pt x="64" y="19"/>
                    </a:cubicBezTo>
                    <a:cubicBezTo>
                      <a:pt x="72" y="21"/>
                      <a:pt x="71" y="28"/>
                      <a:pt x="76" y="33"/>
                    </a:cubicBezTo>
                    <a:cubicBezTo>
                      <a:pt x="77" y="37"/>
                      <a:pt x="79" y="44"/>
                      <a:pt x="79" y="44"/>
                    </a:cubicBezTo>
                    <a:cubicBezTo>
                      <a:pt x="78" y="47"/>
                      <a:pt x="79" y="51"/>
                      <a:pt x="74" y="51"/>
                    </a:cubicBezTo>
                    <a:cubicBezTo>
                      <a:pt x="72" y="51"/>
                      <a:pt x="68" y="49"/>
                      <a:pt x="68" y="49"/>
                    </a:cubicBezTo>
                    <a:cubicBezTo>
                      <a:pt x="66" y="43"/>
                      <a:pt x="60" y="45"/>
                      <a:pt x="54" y="44"/>
                    </a:cubicBezTo>
                    <a:cubicBezTo>
                      <a:pt x="49" y="42"/>
                      <a:pt x="49" y="38"/>
                      <a:pt x="43" y="36"/>
                    </a:cubicBezTo>
                    <a:cubicBezTo>
                      <a:pt x="40" y="33"/>
                      <a:pt x="31" y="30"/>
                      <a:pt x="31" y="30"/>
                    </a:cubicBezTo>
                    <a:cubicBezTo>
                      <a:pt x="26" y="25"/>
                      <a:pt x="21" y="25"/>
                      <a:pt x="14" y="24"/>
                    </a:cubicBezTo>
                    <a:cubicBezTo>
                      <a:pt x="11" y="22"/>
                      <a:pt x="8" y="21"/>
                      <a:pt x="5" y="19"/>
                    </a:cubicBezTo>
                    <a:cubicBezTo>
                      <a:pt x="4" y="14"/>
                      <a:pt x="1" y="14"/>
                      <a:pt x="0" y="10"/>
                    </a:cubicBezTo>
                    <a:cubicBezTo>
                      <a:pt x="4" y="4"/>
                      <a:pt x="4" y="2"/>
                      <a:pt x="10" y="0"/>
                    </a:cubicBezTo>
                    <a:cubicBezTo>
                      <a:pt x="17" y="1"/>
                      <a:pt x="18" y="0"/>
                      <a:pt x="12" y="3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59" name="Freeform 20"/>
              <p:cNvSpPr>
                <a:spLocks noChangeAspect="1"/>
              </p:cNvSpPr>
              <p:nvPr/>
            </p:nvSpPr>
            <p:spPr bwMode="auto">
              <a:xfrm>
                <a:off x="5998" y="9150"/>
                <a:ext cx="136" cy="88"/>
              </a:xfrm>
              <a:custGeom>
                <a:avLst/>
                <a:gdLst>
                  <a:gd name="T0" fmla="*/ 2147483647 w 34"/>
                  <a:gd name="T1" fmla="*/ 0 h 22"/>
                  <a:gd name="T2" fmla="*/ 2147483647 w 34"/>
                  <a:gd name="T3" fmla="*/ 0 h 22"/>
                  <a:gd name="T4" fmla="*/ 2147483647 w 34"/>
                  <a:gd name="T5" fmla="*/ 2147483647 h 22"/>
                  <a:gd name="T6" fmla="*/ 2147483647 w 34"/>
                  <a:gd name="T7" fmla="*/ 2147483647 h 22"/>
                  <a:gd name="T8" fmla="*/ 2147483647 w 34"/>
                  <a:gd name="T9" fmla="*/ 2147483647 h 22"/>
                  <a:gd name="T10" fmla="*/ 2147483647 w 34"/>
                  <a:gd name="T11" fmla="*/ 0 h 2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4"/>
                  <a:gd name="T19" fmla="*/ 0 h 22"/>
                  <a:gd name="T20" fmla="*/ 34 w 34"/>
                  <a:gd name="T21" fmla="*/ 22 h 22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4" h="22">
                    <a:moveTo>
                      <a:pt x="6" y="0"/>
                    </a:moveTo>
                    <a:cubicBezTo>
                      <a:pt x="14" y="2"/>
                      <a:pt x="19" y="2"/>
                      <a:pt x="27" y="0"/>
                    </a:cubicBezTo>
                    <a:cubicBezTo>
                      <a:pt x="34" y="2"/>
                      <a:pt x="30" y="10"/>
                      <a:pt x="26" y="14"/>
                    </a:cubicBezTo>
                    <a:cubicBezTo>
                      <a:pt x="23" y="22"/>
                      <a:pt x="16" y="20"/>
                      <a:pt x="9" y="19"/>
                    </a:cubicBezTo>
                    <a:cubicBezTo>
                      <a:pt x="6" y="15"/>
                      <a:pt x="6" y="11"/>
                      <a:pt x="2" y="7"/>
                    </a:cubicBezTo>
                    <a:cubicBezTo>
                      <a:pt x="0" y="2"/>
                      <a:pt x="0" y="5"/>
                      <a:pt x="6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60" name="Freeform 21"/>
              <p:cNvSpPr>
                <a:spLocks noChangeAspect="1"/>
              </p:cNvSpPr>
              <p:nvPr/>
            </p:nvSpPr>
            <p:spPr bwMode="auto">
              <a:xfrm>
                <a:off x="6106" y="9202"/>
                <a:ext cx="100" cy="72"/>
              </a:xfrm>
              <a:custGeom>
                <a:avLst/>
                <a:gdLst>
                  <a:gd name="T0" fmla="*/ 2147483647 w 25"/>
                  <a:gd name="T1" fmla="*/ 0 h 18"/>
                  <a:gd name="T2" fmla="*/ 2147483647 w 25"/>
                  <a:gd name="T3" fmla="*/ 2147483647 h 18"/>
                  <a:gd name="T4" fmla="*/ 2147483647 w 25"/>
                  <a:gd name="T5" fmla="*/ 2147483647 h 18"/>
                  <a:gd name="T6" fmla="*/ 2147483647 w 25"/>
                  <a:gd name="T7" fmla="*/ 2147483647 h 18"/>
                  <a:gd name="T8" fmla="*/ 2147483647 w 25"/>
                  <a:gd name="T9" fmla="*/ 2147483647 h 18"/>
                  <a:gd name="T10" fmla="*/ 2147483647 w 25"/>
                  <a:gd name="T11" fmla="*/ 2147483647 h 18"/>
                  <a:gd name="T12" fmla="*/ 2147483647 w 25"/>
                  <a:gd name="T13" fmla="*/ 0 h 1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5"/>
                  <a:gd name="T22" fmla="*/ 0 h 18"/>
                  <a:gd name="T23" fmla="*/ 25 w 25"/>
                  <a:gd name="T24" fmla="*/ 18 h 18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5" h="18">
                    <a:moveTo>
                      <a:pt x="9" y="0"/>
                    </a:moveTo>
                    <a:cubicBezTo>
                      <a:pt x="13" y="0"/>
                      <a:pt x="16" y="0"/>
                      <a:pt x="20" y="1"/>
                    </a:cubicBezTo>
                    <a:cubicBezTo>
                      <a:pt x="23" y="2"/>
                      <a:pt x="24" y="10"/>
                      <a:pt x="24" y="10"/>
                    </a:cubicBezTo>
                    <a:cubicBezTo>
                      <a:pt x="24" y="12"/>
                      <a:pt x="25" y="16"/>
                      <a:pt x="23" y="17"/>
                    </a:cubicBezTo>
                    <a:cubicBezTo>
                      <a:pt x="22" y="18"/>
                      <a:pt x="21" y="14"/>
                      <a:pt x="20" y="13"/>
                    </a:cubicBezTo>
                    <a:cubicBezTo>
                      <a:pt x="18" y="11"/>
                      <a:pt x="11" y="9"/>
                      <a:pt x="11" y="9"/>
                    </a:cubicBezTo>
                    <a:cubicBezTo>
                      <a:pt x="8" y="5"/>
                      <a:pt x="0" y="2"/>
                      <a:pt x="9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61" name="Freeform 22"/>
              <p:cNvSpPr>
                <a:spLocks noChangeAspect="1"/>
              </p:cNvSpPr>
              <p:nvPr/>
            </p:nvSpPr>
            <p:spPr bwMode="auto">
              <a:xfrm>
                <a:off x="6574" y="9126"/>
                <a:ext cx="128" cy="76"/>
              </a:xfrm>
              <a:custGeom>
                <a:avLst/>
                <a:gdLst>
                  <a:gd name="T0" fmla="*/ 2147483647 w 32"/>
                  <a:gd name="T1" fmla="*/ 2147483647 h 19"/>
                  <a:gd name="T2" fmla="*/ 2147483647 w 32"/>
                  <a:gd name="T3" fmla="*/ 2147483647 h 19"/>
                  <a:gd name="T4" fmla="*/ 2147483647 w 32"/>
                  <a:gd name="T5" fmla="*/ 2147483647 h 19"/>
                  <a:gd name="T6" fmla="*/ 2147483647 w 32"/>
                  <a:gd name="T7" fmla="*/ 2147483647 h 19"/>
                  <a:gd name="T8" fmla="*/ 2147483647 w 32"/>
                  <a:gd name="T9" fmla="*/ 2147483647 h 19"/>
                  <a:gd name="T10" fmla="*/ 2147483647 w 32"/>
                  <a:gd name="T11" fmla="*/ 2147483647 h 19"/>
                  <a:gd name="T12" fmla="*/ 2147483647 w 32"/>
                  <a:gd name="T13" fmla="*/ 2147483647 h 1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2"/>
                  <a:gd name="T22" fmla="*/ 0 h 19"/>
                  <a:gd name="T23" fmla="*/ 32 w 32"/>
                  <a:gd name="T24" fmla="*/ 19 h 1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2" h="19">
                    <a:moveTo>
                      <a:pt x="29" y="2"/>
                    </a:moveTo>
                    <a:cubicBezTo>
                      <a:pt x="20" y="0"/>
                      <a:pt x="23" y="4"/>
                      <a:pt x="17" y="6"/>
                    </a:cubicBezTo>
                    <a:cubicBezTo>
                      <a:pt x="12" y="5"/>
                      <a:pt x="8" y="6"/>
                      <a:pt x="3" y="8"/>
                    </a:cubicBezTo>
                    <a:cubicBezTo>
                      <a:pt x="0" y="19"/>
                      <a:pt x="3" y="18"/>
                      <a:pt x="14" y="19"/>
                    </a:cubicBezTo>
                    <a:cubicBezTo>
                      <a:pt x="26" y="17"/>
                      <a:pt x="15" y="15"/>
                      <a:pt x="23" y="10"/>
                    </a:cubicBezTo>
                    <a:cubicBezTo>
                      <a:pt x="25" y="9"/>
                      <a:pt x="29" y="10"/>
                      <a:pt x="31" y="8"/>
                    </a:cubicBezTo>
                    <a:cubicBezTo>
                      <a:pt x="32" y="6"/>
                      <a:pt x="30" y="4"/>
                      <a:pt x="29" y="2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62" name="Freeform 23"/>
              <p:cNvSpPr>
                <a:spLocks noChangeAspect="1"/>
              </p:cNvSpPr>
              <p:nvPr/>
            </p:nvSpPr>
            <p:spPr bwMode="auto">
              <a:xfrm>
                <a:off x="5266" y="9210"/>
                <a:ext cx="636" cy="580"/>
              </a:xfrm>
              <a:custGeom>
                <a:avLst/>
                <a:gdLst>
                  <a:gd name="T0" fmla="*/ 2147483647 w 159"/>
                  <a:gd name="T1" fmla="*/ 2147483647 h 145"/>
                  <a:gd name="T2" fmla="*/ 2147483647 w 159"/>
                  <a:gd name="T3" fmla="*/ 2147483647 h 145"/>
                  <a:gd name="T4" fmla="*/ 2147483647 w 159"/>
                  <a:gd name="T5" fmla="*/ 2147483647 h 145"/>
                  <a:gd name="T6" fmla="*/ 2147483647 w 159"/>
                  <a:gd name="T7" fmla="*/ 2147483647 h 145"/>
                  <a:gd name="T8" fmla="*/ 0 w 159"/>
                  <a:gd name="T9" fmla="*/ 2147483647 h 145"/>
                  <a:gd name="T10" fmla="*/ 2147483647 w 159"/>
                  <a:gd name="T11" fmla="*/ 2147483647 h 145"/>
                  <a:gd name="T12" fmla="*/ 2147483647 w 159"/>
                  <a:gd name="T13" fmla="*/ 2147483647 h 145"/>
                  <a:gd name="T14" fmla="*/ 2147483647 w 159"/>
                  <a:gd name="T15" fmla="*/ 2147483647 h 145"/>
                  <a:gd name="T16" fmla="*/ 2147483647 w 159"/>
                  <a:gd name="T17" fmla="*/ 2147483647 h 145"/>
                  <a:gd name="T18" fmla="*/ 2147483647 w 159"/>
                  <a:gd name="T19" fmla="*/ 2147483647 h 145"/>
                  <a:gd name="T20" fmla="*/ 2147483647 w 159"/>
                  <a:gd name="T21" fmla="*/ 2147483647 h 145"/>
                  <a:gd name="T22" fmla="*/ 2147483647 w 159"/>
                  <a:gd name="T23" fmla="*/ 2147483647 h 145"/>
                  <a:gd name="T24" fmla="*/ 2147483647 w 159"/>
                  <a:gd name="T25" fmla="*/ 2147483647 h 145"/>
                  <a:gd name="T26" fmla="*/ 2147483647 w 159"/>
                  <a:gd name="T27" fmla="*/ 2147483647 h 145"/>
                  <a:gd name="T28" fmla="*/ 2147483647 w 159"/>
                  <a:gd name="T29" fmla="*/ 2147483647 h 145"/>
                  <a:gd name="T30" fmla="*/ 2147483647 w 159"/>
                  <a:gd name="T31" fmla="*/ 2147483647 h 145"/>
                  <a:gd name="T32" fmla="*/ 2147483647 w 159"/>
                  <a:gd name="T33" fmla="*/ 2147483647 h 145"/>
                  <a:gd name="T34" fmla="*/ 2147483647 w 159"/>
                  <a:gd name="T35" fmla="*/ 2147483647 h 145"/>
                  <a:gd name="T36" fmla="*/ 2147483647 w 159"/>
                  <a:gd name="T37" fmla="*/ 2147483647 h 145"/>
                  <a:gd name="T38" fmla="*/ 2147483647 w 159"/>
                  <a:gd name="T39" fmla="*/ 2147483647 h 145"/>
                  <a:gd name="T40" fmla="*/ 2147483647 w 159"/>
                  <a:gd name="T41" fmla="*/ 2147483647 h 145"/>
                  <a:gd name="T42" fmla="*/ 2147483647 w 159"/>
                  <a:gd name="T43" fmla="*/ 2147483647 h 145"/>
                  <a:gd name="T44" fmla="*/ 2147483647 w 159"/>
                  <a:gd name="T45" fmla="*/ 2147483647 h 145"/>
                  <a:gd name="T46" fmla="*/ 2147483647 w 159"/>
                  <a:gd name="T47" fmla="*/ 2147483647 h 145"/>
                  <a:gd name="T48" fmla="*/ 2147483647 w 159"/>
                  <a:gd name="T49" fmla="*/ 2147483647 h 145"/>
                  <a:gd name="T50" fmla="*/ 2147483647 w 159"/>
                  <a:gd name="T51" fmla="*/ 2147483647 h 145"/>
                  <a:gd name="T52" fmla="*/ 2147483647 w 159"/>
                  <a:gd name="T53" fmla="*/ 2147483647 h 145"/>
                  <a:gd name="T54" fmla="*/ 2147483647 w 159"/>
                  <a:gd name="T55" fmla="*/ 2147483647 h 145"/>
                  <a:gd name="T56" fmla="*/ 2147483647 w 159"/>
                  <a:gd name="T57" fmla="*/ 2147483647 h 145"/>
                  <a:gd name="T58" fmla="*/ 2147483647 w 159"/>
                  <a:gd name="T59" fmla="*/ 2147483647 h 145"/>
                  <a:gd name="T60" fmla="*/ 2147483647 w 159"/>
                  <a:gd name="T61" fmla="*/ 2147483647 h 145"/>
                  <a:gd name="T62" fmla="*/ 2147483647 w 159"/>
                  <a:gd name="T63" fmla="*/ 2147483647 h 145"/>
                  <a:gd name="T64" fmla="*/ 2147483647 w 159"/>
                  <a:gd name="T65" fmla="*/ 2147483647 h 145"/>
                  <a:gd name="T66" fmla="*/ 2147483647 w 159"/>
                  <a:gd name="T67" fmla="*/ 2147483647 h 145"/>
                  <a:gd name="T68" fmla="*/ 2147483647 w 159"/>
                  <a:gd name="T69" fmla="*/ 2147483647 h 145"/>
                  <a:gd name="T70" fmla="*/ 2147483647 w 159"/>
                  <a:gd name="T71" fmla="*/ 2147483647 h 145"/>
                  <a:gd name="T72" fmla="*/ 2147483647 w 159"/>
                  <a:gd name="T73" fmla="*/ 2147483647 h 145"/>
                  <a:gd name="T74" fmla="*/ 2147483647 w 159"/>
                  <a:gd name="T75" fmla="*/ 2147483647 h 145"/>
                  <a:gd name="T76" fmla="*/ 2147483647 w 159"/>
                  <a:gd name="T77" fmla="*/ 2147483647 h 145"/>
                  <a:gd name="T78" fmla="*/ 2147483647 w 159"/>
                  <a:gd name="T79" fmla="*/ 2147483647 h 145"/>
                  <a:gd name="T80" fmla="*/ 2147483647 w 159"/>
                  <a:gd name="T81" fmla="*/ 2147483647 h 145"/>
                  <a:gd name="T82" fmla="*/ 2147483647 w 159"/>
                  <a:gd name="T83" fmla="*/ 2147483647 h 145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159"/>
                  <a:gd name="T127" fmla="*/ 0 h 145"/>
                  <a:gd name="T128" fmla="*/ 159 w 159"/>
                  <a:gd name="T129" fmla="*/ 145 h 145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159" h="145">
                    <a:moveTo>
                      <a:pt x="47" y="3"/>
                    </a:moveTo>
                    <a:cubicBezTo>
                      <a:pt x="41" y="5"/>
                      <a:pt x="42" y="10"/>
                      <a:pt x="39" y="13"/>
                    </a:cubicBezTo>
                    <a:cubicBezTo>
                      <a:pt x="34" y="18"/>
                      <a:pt x="28" y="18"/>
                      <a:pt x="21" y="20"/>
                    </a:cubicBezTo>
                    <a:cubicBezTo>
                      <a:pt x="20" y="27"/>
                      <a:pt x="18" y="32"/>
                      <a:pt x="11" y="34"/>
                    </a:cubicBezTo>
                    <a:cubicBezTo>
                      <a:pt x="7" y="38"/>
                      <a:pt x="5" y="38"/>
                      <a:pt x="0" y="40"/>
                    </a:cubicBezTo>
                    <a:cubicBezTo>
                      <a:pt x="5" y="47"/>
                      <a:pt x="7" y="45"/>
                      <a:pt x="17" y="46"/>
                    </a:cubicBezTo>
                    <a:cubicBezTo>
                      <a:pt x="18" y="50"/>
                      <a:pt x="24" y="55"/>
                      <a:pt x="24" y="55"/>
                    </a:cubicBezTo>
                    <a:cubicBezTo>
                      <a:pt x="27" y="60"/>
                      <a:pt x="30" y="59"/>
                      <a:pt x="36" y="61"/>
                    </a:cubicBezTo>
                    <a:cubicBezTo>
                      <a:pt x="40" y="63"/>
                      <a:pt x="42" y="66"/>
                      <a:pt x="44" y="70"/>
                    </a:cubicBezTo>
                    <a:cubicBezTo>
                      <a:pt x="45" y="74"/>
                      <a:pt x="46" y="77"/>
                      <a:pt x="47" y="81"/>
                    </a:cubicBezTo>
                    <a:cubicBezTo>
                      <a:pt x="46" y="93"/>
                      <a:pt x="42" y="97"/>
                      <a:pt x="53" y="101"/>
                    </a:cubicBezTo>
                    <a:cubicBezTo>
                      <a:pt x="54" y="110"/>
                      <a:pt x="55" y="118"/>
                      <a:pt x="64" y="121"/>
                    </a:cubicBezTo>
                    <a:cubicBezTo>
                      <a:pt x="72" y="118"/>
                      <a:pt x="73" y="116"/>
                      <a:pt x="68" y="109"/>
                    </a:cubicBezTo>
                    <a:cubicBezTo>
                      <a:pt x="69" y="102"/>
                      <a:pt x="68" y="101"/>
                      <a:pt x="74" y="98"/>
                    </a:cubicBezTo>
                    <a:cubicBezTo>
                      <a:pt x="79" y="90"/>
                      <a:pt x="81" y="102"/>
                      <a:pt x="82" y="106"/>
                    </a:cubicBezTo>
                    <a:cubicBezTo>
                      <a:pt x="94" y="103"/>
                      <a:pt x="96" y="104"/>
                      <a:pt x="98" y="116"/>
                    </a:cubicBezTo>
                    <a:cubicBezTo>
                      <a:pt x="95" y="125"/>
                      <a:pt x="100" y="139"/>
                      <a:pt x="108" y="145"/>
                    </a:cubicBezTo>
                    <a:cubicBezTo>
                      <a:pt x="108" y="136"/>
                      <a:pt x="102" y="109"/>
                      <a:pt x="117" y="106"/>
                    </a:cubicBezTo>
                    <a:cubicBezTo>
                      <a:pt x="125" y="100"/>
                      <a:pt x="127" y="117"/>
                      <a:pt x="131" y="121"/>
                    </a:cubicBezTo>
                    <a:cubicBezTo>
                      <a:pt x="136" y="126"/>
                      <a:pt x="141" y="127"/>
                      <a:pt x="147" y="129"/>
                    </a:cubicBezTo>
                    <a:cubicBezTo>
                      <a:pt x="153" y="128"/>
                      <a:pt x="158" y="126"/>
                      <a:pt x="150" y="123"/>
                    </a:cubicBezTo>
                    <a:cubicBezTo>
                      <a:pt x="146" y="118"/>
                      <a:pt x="142" y="116"/>
                      <a:pt x="137" y="113"/>
                    </a:cubicBezTo>
                    <a:cubicBezTo>
                      <a:pt x="134" y="108"/>
                      <a:pt x="135" y="107"/>
                      <a:pt x="140" y="106"/>
                    </a:cubicBezTo>
                    <a:cubicBezTo>
                      <a:pt x="143" y="102"/>
                      <a:pt x="143" y="101"/>
                      <a:pt x="138" y="99"/>
                    </a:cubicBezTo>
                    <a:cubicBezTo>
                      <a:pt x="136" y="94"/>
                      <a:pt x="132" y="93"/>
                      <a:pt x="129" y="89"/>
                    </a:cubicBezTo>
                    <a:cubicBezTo>
                      <a:pt x="127" y="83"/>
                      <a:pt x="125" y="80"/>
                      <a:pt x="120" y="77"/>
                    </a:cubicBezTo>
                    <a:cubicBezTo>
                      <a:pt x="118" y="70"/>
                      <a:pt x="114" y="67"/>
                      <a:pt x="111" y="61"/>
                    </a:cubicBezTo>
                    <a:cubicBezTo>
                      <a:pt x="110" y="58"/>
                      <a:pt x="108" y="52"/>
                      <a:pt x="108" y="52"/>
                    </a:cubicBezTo>
                    <a:cubicBezTo>
                      <a:pt x="109" y="50"/>
                      <a:pt x="109" y="48"/>
                      <a:pt x="111" y="47"/>
                    </a:cubicBezTo>
                    <a:cubicBezTo>
                      <a:pt x="112" y="47"/>
                      <a:pt x="125" y="53"/>
                      <a:pt x="130" y="55"/>
                    </a:cubicBezTo>
                    <a:cubicBezTo>
                      <a:pt x="132" y="60"/>
                      <a:pt x="132" y="67"/>
                      <a:pt x="137" y="70"/>
                    </a:cubicBezTo>
                    <a:cubicBezTo>
                      <a:pt x="139" y="54"/>
                      <a:pt x="143" y="60"/>
                      <a:pt x="153" y="53"/>
                    </a:cubicBezTo>
                    <a:cubicBezTo>
                      <a:pt x="159" y="44"/>
                      <a:pt x="140" y="43"/>
                      <a:pt x="136" y="43"/>
                    </a:cubicBezTo>
                    <a:cubicBezTo>
                      <a:pt x="123" y="36"/>
                      <a:pt x="134" y="24"/>
                      <a:pt x="118" y="22"/>
                    </a:cubicBezTo>
                    <a:cubicBezTo>
                      <a:pt x="116" y="20"/>
                      <a:pt x="114" y="16"/>
                      <a:pt x="111" y="17"/>
                    </a:cubicBezTo>
                    <a:cubicBezTo>
                      <a:pt x="109" y="18"/>
                      <a:pt x="105" y="21"/>
                      <a:pt x="105" y="21"/>
                    </a:cubicBezTo>
                    <a:cubicBezTo>
                      <a:pt x="101" y="18"/>
                      <a:pt x="102" y="16"/>
                      <a:pt x="99" y="13"/>
                    </a:cubicBezTo>
                    <a:cubicBezTo>
                      <a:pt x="97" y="11"/>
                      <a:pt x="90" y="9"/>
                      <a:pt x="90" y="9"/>
                    </a:cubicBezTo>
                    <a:cubicBezTo>
                      <a:pt x="83" y="11"/>
                      <a:pt x="86" y="10"/>
                      <a:pt x="81" y="13"/>
                    </a:cubicBezTo>
                    <a:cubicBezTo>
                      <a:pt x="75" y="11"/>
                      <a:pt x="65" y="11"/>
                      <a:pt x="59" y="7"/>
                    </a:cubicBezTo>
                    <a:cubicBezTo>
                      <a:pt x="57" y="0"/>
                      <a:pt x="52" y="2"/>
                      <a:pt x="47" y="4"/>
                    </a:cubicBezTo>
                    <a:cubicBezTo>
                      <a:pt x="45" y="7"/>
                      <a:pt x="39" y="9"/>
                      <a:pt x="39" y="9"/>
                    </a:cubicBezTo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63" name="Freeform 24"/>
              <p:cNvSpPr>
                <a:spLocks noChangeAspect="1"/>
              </p:cNvSpPr>
              <p:nvPr/>
            </p:nvSpPr>
            <p:spPr bwMode="auto">
              <a:xfrm>
                <a:off x="5910" y="8378"/>
                <a:ext cx="76" cy="68"/>
              </a:xfrm>
              <a:custGeom>
                <a:avLst/>
                <a:gdLst>
                  <a:gd name="T0" fmla="*/ 2147483647 w 19"/>
                  <a:gd name="T1" fmla="*/ 0 h 17"/>
                  <a:gd name="T2" fmla="*/ 2147483647 w 19"/>
                  <a:gd name="T3" fmla="*/ 2147483647 h 17"/>
                  <a:gd name="T4" fmla="*/ 2147483647 w 19"/>
                  <a:gd name="T5" fmla="*/ 2147483647 h 17"/>
                  <a:gd name="T6" fmla="*/ 2147483647 w 19"/>
                  <a:gd name="T7" fmla="*/ 2147483647 h 17"/>
                  <a:gd name="T8" fmla="*/ 2147483647 w 19"/>
                  <a:gd name="T9" fmla="*/ 2147483647 h 17"/>
                  <a:gd name="T10" fmla="*/ 2147483647 w 19"/>
                  <a:gd name="T11" fmla="*/ 2147483647 h 17"/>
                  <a:gd name="T12" fmla="*/ 2147483647 w 19"/>
                  <a:gd name="T13" fmla="*/ 0 h 1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9"/>
                  <a:gd name="T22" fmla="*/ 0 h 17"/>
                  <a:gd name="T23" fmla="*/ 19 w 19"/>
                  <a:gd name="T24" fmla="*/ 17 h 17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9" h="17">
                    <a:moveTo>
                      <a:pt x="16" y="0"/>
                    </a:moveTo>
                    <a:cubicBezTo>
                      <a:pt x="13" y="1"/>
                      <a:pt x="9" y="2"/>
                      <a:pt x="6" y="3"/>
                    </a:cubicBezTo>
                    <a:cubicBezTo>
                      <a:pt x="5" y="5"/>
                      <a:pt x="2" y="6"/>
                      <a:pt x="1" y="9"/>
                    </a:cubicBezTo>
                    <a:cubicBezTo>
                      <a:pt x="0" y="13"/>
                      <a:pt x="9" y="15"/>
                      <a:pt x="12" y="17"/>
                    </a:cubicBezTo>
                    <a:cubicBezTo>
                      <a:pt x="14" y="16"/>
                      <a:pt x="16" y="16"/>
                      <a:pt x="17" y="15"/>
                    </a:cubicBezTo>
                    <a:cubicBezTo>
                      <a:pt x="18" y="13"/>
                      <a:pt x="19" y="9"/>
                      <a:pt x="19" y="9"/>
                    </a:cubicBezTo>
                    <a:cubicBezTo>
                      <a:pt x="19" y="7"/>
                      <a:pt x="16" y="0"/>
                      <a:pt x="16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64" name="Freeform 25"/>
              <p:cNvSpPr>
                <a:spLocks noChangeAspect="1"/>
              </p:cNvSpPr>
              <p:nvPr/>
            </p:nvSpPr>
            <p:spPr bwMode="auto">
              <a:xfrm>
                <a:off x="6134" y="8402"/>
                <a:ext cx="68" cy="52"/>
              </a:xfrm>
              <a:custGeom>
                <a:avLst/>
                <a:gdLst>
                  <a:gd name="T0" fmla="*/ 2147483647 w 17"/>
                  <a:gd name="T1" fmla="*/ 2147483647 h 13"/>
                  <a:gd name="T2" fmla="*/ 2147483647 w 17"/>
                  <a:gd name="T3" fmla="*/ 2147483647 h 13"/>
                  <a:gd name="T4" fmla="*/ 2147483647 w 17"/>
                  <a:gd name="T5" fmla="*/ 2147483647 h 13"/>
                  <a:gd name="T6" fmla="*/ 0 60000 65536"/>
                  <a:gd name="T7" fmla="*/ 0 60000 65536"/>
                  <a:gd name="T8" fmla="*/ 0 60000 65536"/>
                  <a:gd name="T9" fmla="*/ 0 w 17"/>
                  <a:gd name="T10" fmla="*/ 0 h 13"/>
                  <a:gd name="T11" fmla="*/ 17 w 17"/>
                  <a:gd name="T12" fmla="*/ 13 h 13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7" h="13">
                    <a:moveTo>
                      <a:pt x="15" y="3"/>
                    </a:moveTo>
                    <a:cubicBezTo>
                      <a:pt x="3" y="0"/>
                      <a:pt x="0" y="9"/>
                      <a:pt x="11" y="13"/>
                    </a:cubicBezTo>
                    <a:cubicBezTo>
                      <a:pt x="17" y="11"/>
                      <a:pt x="15" y="8"/>
                      <a:pt x="15" y="3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65" name="Freeform 26"/>
              <p:cNvSpPr>
                <a:spLocks noChangeAspect="1"/>
              </p:cNvSpPr>
              <p:nvPr/>
            </p:nvSpPr>
            <p:spPr bwMode="auto">
              <a:xfrm>
                <a:off x="6050" y="8570"/>
                <a:ext cx="120" cy="96"/>
              </a:xfrm>
              <a:custGeom>
                <a:avLst/>
                <a:gdLst>
                  <a:gd name="T0" fmla="*/ 2147483647 w 30"/>
                  <a:gd name="T1" fmla="*/ 0 h 24"/>
                  <a:gd name="T2" fmla="*/ 2147483647 w 30"/>
                  <a:gd name="T3" fmla="*/ 2147483647 h 24"/>
                  <a:gd name="T4" fmla="*/ 2147483647 w 30"/>
                  <a:gd name="T5" fmla="*/ 2147483647 h 24"/>
                  <a:gd name="T6" fmla="*/ 2147483647 w 30"/>
                  <a:gd name="T7" fmla="*/ 2147483647 h 24"/>
                  <a:gd name="T8" fmla="*/ 2147483647 w 30"/>
                  <a:gd name="T9" fmla="*/ 2147483647 h 24"/>
                  <a:gd name="T10" fmla="*/ 2147483647 w 30"/>
                  <a:gd name="T11" fmla="*/ 0 h 2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0"/>
                  <a:gd name="T19" fmla="*/ 0 h 24"/>
                  <a:gd name="T20" fmla="*/ 30 w 30"/>
                  <a:gd name="T21" fmla="*/ 24 h 2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0" h="24">
                    <a:moveTo>
                      <a:pt x="29" y="0"/>
                    </a:moveTo>
                    <a:cubicBezTo>
                      <a:pt x="28" y="3"/>
                      <a:pt x="26" y="6"/>
                      <a:pt x="25" y="9"/>
                    </a:cubicBezTo>
                    <a:cubicBezTo>
                      <a:pt x="22" y="8"/>
                      <a:pt x="16" y="6"/>
                      <a:pt x="16" y="6"/>
                    </a:cubicBezTo>
                    <a:cubicBezTo>
                      <a:pt x="10" y="7"/>
                      <a:pt x="0" y="8"/>
                      <a:pt x="10" y="13"/>
                    </a:cubicBezTo>
                    <a:cubicBezTo>
                      <a:pt x="12" y="24"/>
                      <a:pt x="16" y="20"/>
                      <a:pt x="28" y="19"/>
                    </a:cubicBezTo>
                    <a:cubicBezTo>
                      <a:pt x="30" y="12"/>
                      <a:pt x="30" y="7"/>
                      <a:pt x="29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66" name="Freeform 27"/>
              <p:cNvSpPr>
                <a:spLocks noChangeAspect="1"/>
              </p:cNvSpPr>
              <p:nvPr/>
            </p:nvSpPr>
            <p:spPr bwMode="auto">
              <a:xfrm>
                <a:off x="6330" y="9390"/>
                <a:ext cx="64" cy="88"/>
              </a:xfrm>
              <a:custGeom>
                <a:avLst/>
                <a:gdLst>
                  <a:gd name="T0" fmla="*/ 2147483647 w 16"/>
                  <a:gd name="T1" fmla="*/ 0 h 22"/>
                  <a:gd name="T2" fmla="*/ 2147483647 w 16"/>
                  <a:gd name="T3" fmla="*/ 2147483647 h 22"/>
                  <a:gd name="T4" fmla="*/ 2147483647 w 16"/>
                  <a:gd name="T5" fmla="*/ 2147483647 h 22"/>
                  <a:gd name="T6" fmla="*/ 2147483647 w 16"/>
                  <a:gd name="T7" fmla="*/ 2147483647 h 22"/>
                  <a:gd name="T8" fmla="*/ 2147483647 w 16"/>
                  <a:gd name="T9" fmla="*/ 0 h 2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6"/>
                  <a:gd name="T16" fmla="*/ 0 h 22"/>
                  <a:gd name="T17" fmla="*/ 16 w 16"/>
                  <a:gd name="T18" fmla="*/ 22 h 2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6" h="22">
                    <a:moveTo>
                      <a:pt x="6" y="0"/>
                    </a:moveTo>
                    <a:cubicBezTo>
                      <a:pt x="13" y="2"/>
                      <a:pt x="14" y="4"/>
                      <a:pt x="16" y="11"/>
                    </a:cubicBezTo>
                    <a:cubicBezTo>
                      <a:pt x="14" y="19"/>
                      <a:pt x="13" y="18"/>
                      <a:pt x="7" y="22"/>
                    </a:cubicBezTo>
                    <a:cubicBezTo>
                      <a:pt x="5" y="15"/>
                      <a:pt x="0" y="12"/>
                      <a:pt x="7" y="5"/>
                    </a:cubicBezTo>
                    <a:cubicBezTo>
                      <a:pt x="8" y="1"/>
                      <a:pt x="9" y="3"/>
                      <a:pt x="6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67" name="Freeform 28"/>
              <p:cNvSpPr>
                <a:spLocks noChangeAspect="1"/>
              </p:cNvSpPr>
              <p:nvPr/>
            </p:nvSpPr>
            <p:spPr bwMode="auto">
              <a:xfrm>
                <a:off x="6310" y="8702"/>
                <a:ext cx="180" cy="136"/>
              </a:xfrm>
              <a:custGeom>
                <a:avLst/>
                <a:gdLst>
                  <a:gd name="T0" fmla="*/ 2147483647 w 45"/>
                  <a:gd name="T1" fmla="*/ 0 h 34"/>
                  <a:gd name="T2" fmla="*/ 2147483647 w 45"/>
                  <a:gd name="T3" fmla="*/ 2147483647 h 34"/>
                  <a:gd name="T4" fmla="*/ 2147483647 w 45"/>
                  <a:gd name="T5" fmla="*/ 2147483647 h 34"/>
                  <a:gd name="T6" fmla="*/ 2147483647 w 45"/>
                  <a:gd name="T7" fmla="*/ 2147483647 h 34"/>
                  <a:gd name="T8" fmla="*/ 2147483647 w 45"/>
                  <a:gd name="T9" fmla="*/ 2147483647 h 34"/>
                  <a:gd name="T10" fmla="*/ 2147483647 w 45"/>
                  <a:gd name="T11" fmla="*/ 2147483647 h 34"/>
                  <a:gd name="T12" fmla="*/ 2147483647 w 45"/>
                  <a:gd name="T13" fmla="*/ 2147483647 h 34"/>
                  <a:gd name="T14" fmla="*/ 2147483647 w 45"/>
                  <a:gd name="T15" fmla="*/ 2147483647 h 34"/>
                  <a:gd name="T16" fmla="*/ 2147483647 w 45"/>
                  <a:gd name="T17" fmla="*/ 2147483647 h 34"/>
                  <a:gd name="T18" fmla="*/ 0 w 45"/>
                  <a:gd name="T19" fmla="*/ 2147483647 h 34"/>
                  <a:gd name="T20" fmla="*/ 2147483647 w 45"/>
                  <a:gd name="T21" fmla="*/ 2147483647 h 34"/>
                  <a:gd name="T22" fmla="*/ 2147483647 w 45"/>
                  <a:gd name="T23" fmla="*/ 2147483647 h 34"/>
                  <a:gd name="T24" fmla="*/ 2147483647 w 45"/>
                  <a:gd name="T25" fmla="*/ 0 h 34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45"/>
                  <a:gd name="T40" fmla="*/ 0 h 34"/>
                  <a:gd name="T41" fmla="*/ 45 w 45"/>
                  <a:gd name="T42" fmla="*/ 34 h 34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45" h="34">
                    <a:moveTo>
                      <a:pt x="26" y="0"/>
                    </a:moveTo>
                    <a:cubicBezTo>
                      <a:pt x="27" y="4"/>
                      <a:pt x="31" y="8"/>
                      <a:pt x="35" y="10"/>
                    </a:cubicBezTo>
                    <a:cubicBezTo>
                      <a:pt x="37" y="11"/>
                      <a:pt x="41" y="14"/>
                      <a:pt x="41" y="14"/>
                    </a:cubicBezTo>
                    <a:cubicBezTo>
                      <a:pt x="43" y="17"/>
                      <a:pt x="45" y="23"/>
                      <a:pt x="45" y="23"/>
                    </a:cubicBezTo>
                    <a:cubicBezTo>
                      <a:pt x="43" y="29"/>
                      <a:pt x="37" y="31"/>
                      <a:pt x="32" y="33"/>
                    </a:cubicBezTo>
                    <a:cubicBezTo>
                      <a:pt x="29" y="33"/>
                      <a:pt x="25" y="34"/>
                      <a:pt x="23" y="32"/>
                    </a:cubicBezTo>
                    <a:cubicBezTo>
                      <a:pt x="19" y="28"/>
                      <a:pt x="29" y="17"/>
                      <a:pt x="29" y="17"/>
                    </a:cubicBezTo>
                    <a:cubicBezTo>
                      <a:pt x="26" y="10"/>
                      <a:pt x="26" y="11"/>
                      <a:pt x="19" y="12"/>
                    </a:cubicBezTo>
                    <a:cubicBezTo>
                      <a:pt x="17" y="19"/>
                      <a:pt x="16" y="26"/>
                      <a:pt x="8" y="28"/>
                    </a:cubicBezTo>
                    <a:cubicBezTo>
                      <a:pt x="4" y="27"/>
                      <a:pt x="0" y="18"/>
                      <a:pt x="0" y="18"/>
                    </a:cubicBezTo>
                    <a:cubicBezTo>
                      <a:pt x="2" y="12"/>
                      <a:pt x="5" y="12"/>
                      <a:pt x="11" y="11"/>
                    </a:cubicBezTo>
                    <a:cubicBezTo>
                      <a:pt x="13" y="10"/>
                      <a:pt x="15" y="10"/>
                      <a:pt x="17" y="8"/>
                    </a:cubicBezTo>
                    <a:cubicBezTo>
                      <a:pt x="21" y="4"/>
                      <a:pt x="19" y="0"/>
                      <a:pt x="26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68" name="Freeform 29"/>
              <p:cNvSpPr>
                <a:spLocks noChangeAspect="1"/>
              </p:cNvSpPr>
              <p:nvPr/>
            </p:nvSpPr>
            <p:spPr bwMode="auto">
              <a:xfrm>
                <a:off x="6342" y="8942"/>
                <a:ext cx="108" cy="140"/>
              </a:xfrm>
              <a:custGeom>
                <a:avLst/>
                <a:gdLst>
                  <a:gd name="T0" fmla="*/ 2147483647 w 27"/>
                  <a:gd name="T1" fmla="*/ 2147483647 h 35"/>
                  <a:gd name="T2" fmla="*/ 2147483647 w 27"/>
                  <a:gd name="T3" fmla="*/ 2147483647 h 35"/>
                  <a:gd name="T4" fmla="*/ 2147483647 w 27"/>
                  <a:gd name="T5" fmla="*/ 2147483647 h 35"/>
                  <a:gd name="T6" fmla="*/ 2147483647 w 27"/>
                  <a:gd name="T7" fmla="*/ 2147483647 h 35"/>
                  <a:gd name="T8" fmla="*/ 0 w 27"/>
                  <a:gd name="T9" fmla="*/ 2147483647 h 35"/>
                  <a:gd name="T10" fmla="*/ 2147483647 w 27"/>
                  <a:gd name="T11" fmla="*/ 2147483647 h 3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7"/>
                  <a:gd name="T19" fmla="*/ 0 h 35"/>
                  <a:gd name="T20" fmla="*/ 27 w 27"/>
                  <a:gd name="T21" fmla="*/ 35 h 3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7" h="35">
                    <a:moveTo>
                      <a:pt x="13" y="4"/>
                    </a:moveTo>
                    <a:cubicBezTo>
                      <a:pt x="18" y="5"/>
                      <a:pt x="22" y="10"/>
                      <a:pt x="25" y="14"/>
                    </a:cubicBezTo>
                    <a:cubicBezTo>
                      <a:pt x="24" y="24"/>
                      <a:pt x="26" y="32"/>
                      <a:pt x="16" y="35"/>
                    </a:cubicBezTo>
                    <a:cubicBezTo>
                      <a:pt x="11" y="34"/>
                      <a:pt x="10" y="33"/>
                      <a:pt x="7" y="29"/>
                    </a:cubicBezTo>
                    <a:cubicBezTo>
                      <a:pt x="17" y="23"/>
                      <a:pt x="7" y="13"/>
                      <a:pt x="0" y="10"/>
                    </a:cubicBezTo>
                    <a:cubicBezTo>
                      <a:pt x="3" y="0"/>
                      <a:pt x="27" y="9"/>
                      <a:pt x="13" y="4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69" name="Freeform 30"/>
              <p:cNvSpPr>
                <a:spLocks noChangeAspect="1"/>
              </p:cNvSpPr>
              <p:nvPr/>
            </p:nvSpPr>
            <p:spPr bwMode="auto">
              <a:xfrm>
                <a:off x="6950" y="9454"/>
                <a:ext cx="108" cy="208"/>
              </a:xfrm>
              <a:custGeom>
                <a:avLst/>
                <a:gdLst>
                  <a:gd name="T0" fmla="*/ 2147483647 w 27"/>
                  <a:gd name="T1" fmla="*/ 2147483647 h 52"/>
                  <a:gd name="T2" fmla="*/ 2147483647 w 27"/>
                  <a:gd name="T3" fmla="*/ 2147483647 h 52"/>
                  <a:gd name="T4" fmla="*/ 2147483647 w 27"/>
                  <a:gd name="T5" fmla="*/ 2147483647 h 52"/>
                  <a:gd name="T6" fmla="*/ 2147483647 w 27"/>
                  <a:gd name="T7" fmla="*/ 2147483647 h 52"/>
                  <a:gd name="T8" fmla="*/ 2147483647 w 27"/>
                  <a:gd name="T9" fmla="*/ 2147483647 h 52"/>
                  <a:gd name="T10" fmla="*/ 2147483647 w 27"/>
                  <a:gd name="T11" fmla="*/ 2147483647 h 52"/>
                  <a:gd name="T12" fmla="*/ 2147483647 w 27"/>
                  <a:gd name="T13" fmla="*/ 2147483647 h 52"/>
                  <a:gd name="T14" fmla="*/ 2147483647 w 27"/>
                  <a:gd name="T15" fmla="*/ 2147483647 h 52"/>
                  <a:gd name="T16" fmla="*/ 2147483647 w 27"/>
                  <a:gd name="T17" fmla="*/ 2147483647 h 52"/>
                  <a:gd name="T18" fmla="*/ 2147483647 w 27"/>
                  <a:gd name="T19" fmla="*/ 2147483647 h 52"/>
                  <a:gd name="T20" fmla="*/ 2147483647 w 27"/>
                  <a:gd name="T21" fmla="*/ 2147483647 h 52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27"/>
                  <a:gd name="T34" fmla="*/ 0 h 52"/>
                  <a:gd name="T35" fmla="*/ 27 w 27"/>
                  <a:gd name="T36" fmla="*/ 52 h 52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27" h="52">
                    <a:moveTo>
                      <a:pt x="25" y="2"/>
                    </a:moveTo>
                    <a:cubicBezTo>
                      <a:pt x="20" y="4"/>
                      <a:pt x="19" y="9"/>
                      <a:pt x="14" y="12"/>
                    </a:cubicBezTo>
                    <a:cubicBezTo>
                      <a:pt x="11" y="14"/>
                      <a:pt x="5" y="15"/>
                      <a:pt x="5" y="15"/>
                    </a:cubicBezTo>
                    <a:cubicBezTo>
                      <a:pt x="2" y="24"/>
                      <a:pt x="0" y="40"/>
                      <a:pt x="8" y="46"/>
                    </a:cubicBezTo>
                    <a:cubicBezTo>
                      <a:pt x="12" y="52"/>
                      <a:pt x="15" y="46"/>
                      <a:pt x="19" y="43"/>
                    </a:cubicBezTo>
                    <a:cubicBezTo>
                      <a:pt x="21" y="38"/>
                      <a:pt x="22" y="33"/>
                      <a:pt x="23" y="28"/>
                    </a:cubicBezTo>
                    <a:cubicBezTo>
                      <a:pt x="22" y="21"/>
                      <a:pt x="22" y="19"/>
                      <a:pt x="25" y="13"/>
                    </a:cubicBezTo>
                    <a:cubicBezTo>
                      <a:pt x="26" y="11"/>
                      <a:pt x="27" y="7"/>
                      <a:pt x="27" y="7"/>
                    </a:cubicBezTo>
                    <a:cubicBezTo>
                      <a:pt x="26" y="5"/>
                      <a:pt x="27" y="2"/>
                      <a:pt x="25" y="1"/>
                    </a:cubicBezTo>
                    <a:cubicBezTo>
                      <a:pt x="24" y="0"/>
                      <a:pt x="22" y="3"/>
                      <a:pt x="22" y="4"/>
                    </a:cubicBezTo>
                    <a:cubicBezTo>
                      <a:pt x="22" y="5"/>
                      <a:pt x="24" y="3"/>
                      <a:pt x="25" y="2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70" name="Freeform 31"/>
              <p:cNvSpPr>
                <a:spLocks noChangeAspect="1"/>
              </p:cNvSpPr>
              <p:nvPr/>
            </p:nvSpPr>
            <p:spPr bwMode="auto">
              <a:xfrm>
                <a:off x="6790" y="9682"/>
                <a:ext cx="80" cy="164"/>
              </a:xfrm>
              <a:custGeom>
                <a:avLst/>
                <a:gdLst>
                  <a:gd name="T0" fmla="*/ 2147483647 w 20"/>
                  <a:gd name="T1" fmla="*/ 0 h 41"/>
                  <a:gd name="T2" fmla="*/ 2147483647 w 20"/>
                  <a:gd name="T3" fmla="*/ 2147483647 h 41"/>
                  <a:gd name="T4" fmla="*/ 2147483647 w 20"/>
                  <a:gd name="T5" fmla="*/ 0 h 41"/>
                  <a:gd name="T6" fmla="*/ 0 60000 65536"/>
                  <a:gd name="T7" fmla="*/ 0 60000 65536"/>
                  <a:gd name="T8" fmla="*/ 0 60000 65536"/>
                  <a:gd name="T9" fmla="*/ 0 w 20"/>
                  <a:gd name="T10" fmla="*/ 0 h 41"/>
                  <a:gd name="T11" fmla="*/ 20 w 20"/>
                  <a:gd name="T12" fmla="*/ 41 h 4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0" h="41">
                    <a:moveTo>
                      <a:pt x="20" y="0"/>
                    </a:moveTo>
                    <a:cubicBezTo>
                      <a:pt x="19" y="14"/>
                      <a:pt x="18" y="27"/>
                      <a:pt x="17" y="41"/>
                    </a:cubicBezTo>
                    <a:cubicBezTo>
                      <a:pt x="0" y="38"/>
                      <a:pt x="16" y="9"/>
                      <a:pt x="20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71" name="Freeform 32"/>
              <p:cNvSpPr>
                <a:spLocks noChangeAspect="1"/>
              </p:cNvSpPr>
              <p:nvPr/>
            </p:nvSpPr>
            <p:spPr bwMode="auto">
              <a:xfrm>
                <a:off x="6002" y="9894"/>
                <a:ext cx="700" cy="196"/>
              </a:xfrm>
              <a:custGeom>
                <a:avLst/>
                <a:gdLst>
                  <a:gd name="T0" fmla="*/ 2147483647 w 175"/>
                  <a:gd name="T1" fmla="*/ 2147483647 h 49"/>
                  <a:gd name="T2" fmla="*/ 2147483647 w 175"/>
                  <a:gd name="T3" fmla="*/ 2147483647 h 49"/>
                  <a:gd name="T4" fmla="*/ 2147483647 w 175"/>
                  <a:gd name="T5" fmla="*/ 2147483647 h 49"/>
                  <a:gd name="T6" fmla="*/ 2147483647 w 175"/>
                  <a:gd name="T7" fmla="*/ 2147483647 h 49"/>
                  <a:gd name="T8" fmla="*/ 2147483647 w 175"/>
                  <a:gd name="T9" fmla="*/ 2147483647 h 49"/>
                  <a:gd name="T10" fmla="*/ 2147483647 w 175"/>
                  <a:gd name="T11" fmla="*/ 2147483647 h 49"/>
                  <a:gd name="T12" fmla="*/ 2147483647 w 175"/>
                  <a:gd name="T13" fmla="*/ 2147483647 h 49"/>
                  <a:gd name="T14" fmla="*/ 2147483647 w 175"/>
                  <a:gd name="T15" fmla="*/ 2147483647 h 49"/>
                  <a:gd name="T16" fmla="*/ 2147483647 w 175"/>
                  <a:gd name="T17" fmla="*/ 2147483647 h 49"/>
                  <a:gd name="T18" fmla="*/ 2147483647 w 175"/>
                  <a:gd name="T19" fmla="*/ 2147483647 h 49"/>
                  <a:gd name="T20" fmla="*/ 2147483647 w 175"/>
                  <a:gd name="T21" fmla="*/ 2147483647 h 49"/>
                  <a:gd name="T22" fmla="*/ 2147483647 w 175"/>
                  <a:gd name="T23" fmla="*/ 2147483647 h 49"/>
                  <a:gd name="T24" fmla="*/ 2147483647 w 175"/>
                  <a:gd name="T25" fmla="*/ 2147483647 h 49"/>
                  <a:gd name="T26" fmla="*/ 2147483647 w 175"/>
                  <a:gd name="T27" fmla="*/ 2147483647 h 49"/>
                  <a:gd name="T28" fmla="*/ 2147483647 w 175"/>
                  <a:gd name="T29" fmla="*/ 2147483647 h 49"/>
                  <a:gd name="T30" fmla="*/ 2147483647 w 175"/>
                  <a:gd name="T31" fmla="*/ 2147483647 h 49"/>
                  <a:gd name="T32" fmla="*/ 2147483647 w 175"/>
                  <a:gd name="T33" fmla="*/ 2147483647 h 49"/>
                  <a:gd name="T34" fmla="*/ 2147483647 w 175"/>
                  <a:gd name="T35" fmla="*/ 2147483647 h 49"/>
                  <a:gd name="T36" fmla="*/ 2147483647 w 175"/>
                  <a:gd name="T37" fmla="*/ 2147483647 h 49"/>
                  <a:gd name="T38" fmla="*/ 2147483647 w 175"/>
                  <a:gd name="T39" fmla="*/ 2147483647 h 49"/>
                  <a:gd name="T40" fmla="*/ 2147483647 w 175"/>
                  <a:gd name="T41" fmla="*/ 2147483647 h 49"/>
                  <a:gd name="T42" fmla="*/ 2147483647 w 175"/>
                  <a:gd name="T43" fmla="*/ 2147483647 h 49"/>
                  <a:gd name="T44" fmla="*/ 2147483647 w 175"/>
                  <a:gd name="T45" fmla="*/ 2147483647 h 49"/>
                  <a:gd name="T46" fmla="*/ 0 w 175"/>
                  <a:gd name="T47" fmla="*/ 2147483647 h 49"/>
                  <a:gd name="T48" fmla="*/ 2147483647 w 175"/>
                  <a:gd name="T49" fmla="*/ 2147483647 h 49"/>
                  <a:gd name="T50" fmla="*/ 2147483647 w 175"/>
                  <a:gd name="T51" fmla="*/ 2147483647 h 49"/>
                  <a:gd name="T52" fmla="*/ 2147483647 w 175"/>
                  <a:gd name="T53" fmla="*/ 2147483647 h 49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w 175"/>
                  <a:gd name="T82" fmla="*/ 0 h 49"/>
                  <a:gd name="T83" fmla="*/ 175 w 175"/>
                  <a:gd name="T84" fmla="*/ 49 h 49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T81" t="T82" r="T83" b="T84"/>
                <a:pathLst>
                  <a:path w="175" h="49">
                    <a:moveTo>
                      <a:pt x="8" y="24"/>
                    </a:moveTo>
                    <a:cubicBezTo>
                      <a:pt x="13" y="21"/>
                      <a:pt x="13" y="6"/>
                      <a:pt x="13" y="6"/>
                    </a:cubicBezTo>
                    <a:cubicBezTo>
                      <a:pt x="23" y="9"/>
                      <a:pt x="9" y="17"/>
                      <a:pt x="25" y="19"/>
                    </a:cubicBezTo>
                    <a:cubicBezTo>
                      <a:pt x="32" y="18"/>
                      <a:pt x="29" y="16"/>
                      <a:pt x="34" y="11"/>
                    </a:cubicBezTo>
                    <a:cubicBezTo>
                      <a:pt x="38" y="0"/>
                      <a:pt x="32" y="25"/>
                      <a:pt x="40" y="23"/>
                    </a:cubicBezTo>
                    <a:cubicBezTo>
                      <a:pt x="41" y="19"/>
                      <a:pt x="47" y="22"/>
                      <a:pt x="52" y="23"/>
                    </a:cubicBezTo>
                    <a:cubicBezTo>
                      <a:pt x="57" y="22"/>
                      <a:pt x="64" y="14"/>
                      <a:pt x="70" y="12"/>
                    </a:cubicBezTo>
                    <a:cubicBezTo>
                      <a:pt x="76" y="10"/>
                      <a:pt x="83" y="12"/>
                      <a:pt x="88" y="13"/>
                    </a:cubicBezTo>
                    <a:cubicBezTo>
                      <a:pt x="92" y="7"/>
                      <a:pt x="97" y="12"/>
                      <a:pt x="101" y="16"/>
                    </a:cubicBezTo>
                    <a:cubicBezTo>
                      <a:pt x="111" y="13"/>
                      <a:pt x="107" y="14"/>
                      <a:pt x="114" y="12"/>
                    </a:cubicBezTo>
                    <a:cubicBezTo>
                      <a:pt x="121" y="14"/>
                      <a:pt x="120" y="14"/>
                      <a:pt x="128" y="12"/>
                    </a:cubicBezTo>
                    <a:cubicBezTo>
                      <a:pt x="130" y="7"/>
                      <a:pt x="131" y="4"/>
                      <a:pt x="136" y="6"/>
                    </a:cubicBezTo>
                    <a:cubicBezTo>
                      <a:pt x="137" y="12"/>
                      <a:pt x="137" y="13"/>
                      <a:pt x="134" y="18"/>
                    </a:cubicBezTo>
                    <a:cubicBezTo>
                      <a:pt x="136" y="23"/>
                      <a:pt x="150" y="19"/>
                      <a:pt x="150" y="19"/>
                    </a:cubicBezTo>
                    <a:cubicBezTo>
                      <a:pt x="156" y="16"/>
                      <a:pt x="155" y="11"/>
                      <a:pt x="162" y="10"/>
                    </a:cubicBezTo>
                    <a:cubicBezTo>
                      <a:pt x="174" y="11"/>
                      <a:pt x="173" y="9"/>
                      <a:pt x="175" y="18"/>
                    </a:cubicBezTo>
                    <a:cubicBezTo>
                      <a:pt x="173" y="25"/>
                      <a:pt x="169" y="25"/>
                      <a:pt x="163" y="28"/>
                    </a:cubicBezTo>
                    <a:cubicBezTo>
                      <a:pt x="158" y="36"/>
                      <a:pt x="154" y="25"/>
                      <a:pt x="142" y="30"/>
                    </a:cubicBezTo>
                    <a:cubicBezTo>
                      <a:pt x="135" y="31"/>
                      <a:pt x="129" y="35"/>
                      <a:pt x="122" y="35"/>
                    </a:cubicBezTo>
                    <a:cubicBezTo>
                      <a:pt x="114" y="36"/>
                      <a:pt x="108" y="43"/>
                      <a:pt x="100" y="43"/>
                    </a:cubicBezTo>
                    <a:cubicBezTo>
                      <a:pt x="95" y="44"/>
                      <a:pt x="92" y="46"/>
                      <a:pt x="88" y="49"/>
                    </a:cubicBezTo>
                    <a:cubicBezTo>
                      <a:pt x="63" y="43"/>
                      <a:pt x="100" y="42"/>
                      <a:pt x="52" y="38"/>
                    </a:cubicBezTo>
                    <a:cubicBezTo>
                      <a:pt x="42" y="35"/>
                      <a:pt x="33" y="34"/>
                      <a:pt x="24" y="37"/>
                    </a:cubicBezTo>
                    <a:cubicBezTo>
                      <a:pt x="8" y="36"/>
                      <a:pt x="3" y="45"/>
                      <a:pt x="0" y="32"/>
                    </a:cubicBezTo>
                    <a:cubicBezTo>
                      <a:pt x="1" y="31"/>
                      <a:pt x="2" y="30"/>
                      <a:pt x="2" y="29"/>
                    </a:cubicBezTo>
                    <a:cubicBezTo>
                      <a:pt x="4" y="28"/>
                      <a:pt x="10" y="24"/>
                      <a:pt x="11" y="23"/>
                    </a:cubicBezTo>
                    <a:lnTo>
                      <a:pt x="8" y="24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72" name="Freeform 33"/>
              <p:cNvSpPr>
                <a:spLocks noChangeAspect="1"/>
              </p:cNvSpPr>
              <p:nvPr/>
            </p:nvSpPr>
            <p:spPr bwMode="auto">
              <a:xfrm>
                <a:off x="6458" y="9194"/>
                <a:ext cx="84" cy="72"/>
              </a:xfrm>
              <a:custGeom>
                <a:avLst/>
                <a:gdLst>
                  <a:gd name="T0" fmla="*/ 2147483647 w 21"/>
                  <a:gd name="T1" fmla="*/ 2147483647 h 18"/>
                  <a:gd name="T2" fmla="*/ 2147483647 w 21"/>
                  <a:gd name="T3" fmla="*/ 2147483647 h 18"/>
                  <a:gd name="T4" fmla="*/ 0 w 21"/>
                  <a:gd name="T5" fmla="*/ 2147483647 h 18"/>
                  <a:gd name="T6" fmla="*/ 2147483647 w 21"/>
                  <a:gd name="T7" fmla="*/ 2147483647 h 18"/>
                  <a:gd name="T8" fmla="*/ 2147483647 w 21"/>
                  <a:gd name="T9" fmla="*/ 2147483647 h 18"/>
                  <a:gd name="T10" fmla="*/ 2147483647 w 21"/>
                  <a:gd name="T11" fmla="*/ 2147483647 h 1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1"/>
                  <a:gd name="T19" fmla="*/ 0 h 18"/>
                  <a:gd name="T20" fmla="*/ 21 w 21"/>
                  <a:gd name="T21" fmla="*/ 18 h 1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1" h="18">
                    <a:moveTo>
                      <a:pt x="17" y="2"/>
                    </a:moveTo>
                    <a:cubicBezTo>
                      <a:pt x="13" y="3"/>
                      <a:pt x="12" y="6"/>
                      <a:pt x="8" y="7"/>
                    </a:cubicBezTo>
                    <a:cubicBezTo>
                      <a:pt x="6" y="13"/>
                      <a:pt x="3" y="11"/>
                      <a:pt x="0" y="17"/>
                    </a:cubicBezTo>
                    <a:cubicBezTo>
                      <a:pt x="6" y="18"/>
                      <a:pt x="5" y="16"/>
                      <a:pt x="10" y="13"/>
                    </a:cubicBezTo>
                    <a:cubicBezTo>
                      <a:pt x="13" y="9"/>
                      <a:pt x="15" y="9"/>
                      <a:pt x="19" y="5"/>
                    </a:cubicBezTo>
                    <a:cubicBezTo>
                      <a:pt x="20" y="0"/>
                      <a:pt x="21" y="1"/>
                      <a:pt x="17" y="2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73" name="Freeform 34"/>
              <p:cNvSpPr>
                <a:spLocks noChangeAspect="1"/>
              </p:cNvSpPr>
              <p:nvPr/>
            </p:nvSpPr>
            <p:spPr bwMode="auto">
              <a:xfrm>
                <a:off x="6718" y="9378"/>
                <a:ext cx="84" cy="96"/>
              </a:xfrm>
              <a:custGeom>
                <a:avLst/>
                <a:gdLst>
                  <a:gd name="T0" fmla="*/ 2147483647 w 21"/>
                  <a:gd name="T1" fmla="*/ 2147483647 h 24"/>
                  <a:gd name="T2" fmla="*/ 2147483647 w 21"/>
                  <a:gd name="T3" fmla="*/ 2147483647 h 24"/>
                  <a:gd name="T4" fmla="*/ 2147483647 w 21"/>
                  <a:gd name="T5" fmla="*/ 2147483647 h 24"/>
                  <a:gd name="T6" fmla="*/ 2147483647 w 21"/>
                  <a:gd name="T7" fmla="*/ 2147483647 h 24"/>
                  <a:gd name="T8" fmla="*/ 2147483647 w 21"/>
                  <a:gd name="T9" fmla="*/ 0 h 24"/>
                  <a:gd name="T10" fmla="*/ 2147483647 w 21"/>
                  <a:gd name="T11" fmla="*/ 2147483647 h 2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1"/>
                  <a:gd name="T19" fmla="*/ 0 h 24"/>
                  <a:gd name="T20" fmla="*/ 21 w 21"/>
                  <a:gd name="T21" fmla="*/ 24 h 2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1" h="24">
                    <a:moveTo>
                      <a:pt x="12" y="5"/>
                    </a:moveTo>
                    <a:cubicBezTo>
                      <a:pt x="11" y="9"/>
                      <a:pt x="7" y="13"/>
                      <a:pt x="3" y="16"/>
                    </a:cubicBezTo>
                    <a:cubicBezTo>
                      <a:pt x="0" y="24"/>
                      <a:pt x="4" y="22"/>
                      <a:pt x="12" y="21"/>
                    </a:cubicBezTo>
                    <a:cubicBezTo>
                      <a:pt x="16" y="14"/>
                      <a:pt x="19" y="14"/>
                      <a:pt x="21" y="4"/>
                    </a:cubicBezTo>
                    <a:cubicBezTo>
                      <a:pt x="21" y="1"/>
                      <a:pt x="10" y="0"/>
                      <a:pt x="9" y="0"/>
                    </a:cubicBezTo>
                    <a:cubicBezTo>
                      <a:pt x="8" y="0"/>
                      <a:pt x="13" y="2"/>
                      <a:pt x="12" y="5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74" name="Freeform 35"/>
              <p:cNvSpPr>
                <a:spLocks noChangeAspect="1"/>
              </p:cNvSpPr>
              <p:nvPr/>
            </p:nvSpPr>
            <p:spPr bwMode="auto">
              <a:xfrm>
                <a:off x="5022" y="8018"/>
                <a:ext cx="1316" cy="1284"/>
              </a:xfrm>
              <a:custGeom>
                <a:avLst/>
                <a:gdLst>
                  <a:gd name="T0" fmla="*/ 2147483647 w 329"/>
                  <a:gd name="T1" fmla="*/ 2147483647 h 321"/>
                  <a:gd name="T2" fmla="*/ 2147483647 w 329"/>
                  <a:gd name="T3" fmla="*/ 2147483647 h 321"/>
                  <a:gd name="T4" fmla="*/ 2147483647 w 329"/>
                  <a:gd name="T5" fmla="*/ 2147483647 h 321"/>
                  <a:gd name="T6" fmla="*/ 2147483647 w 329"/>
                  <a:gd name="T7" fmla="*/ 2147483647 h 321"/>
                  <a:gd name="T8" fmla="*/ 2147483647 w 329"/>
                  <a:gd name="T9" fmla="*/ 2147483647 h 321"/>
                  <a:gd name="T10" fmla="*/ 2147483647 w 329"/>
                  <a:gd name="T11" fmla="*/ 2147483647 h 321"/>
                  <a:gd name="T12" fmla="*/ 2147483647 w 329"/>
                  <a:gd name="T13" fmla="*/ 2147483647 h 321"/>
                  <a:gd name="T14" fmla="*/ 2147483647 w 329"/>
                  <a:gd name="T15" fmla="*/ 2147483647 h 321"/>
                  <a:gd name="T16" fmla="*/ 2147483647 w 329"/>
                  <a:gd name="T17" fmla="*/ 2147483647 h 321"/>
                  <a:gd name="T18" fmla="*/ 2147483647 w 329"/>
                  <a:gd name="T19" fmla="*/ 2147483647 h 321"/>
                  <a:gd name="T20" fmla="*/ 2147483647 w 329"/>
                  <a:gd name="T21" fmla="*/ 2147483647 h 321"/>
                  <a:gd name="T22" fmla="*/ 2147483647 w 329"/>
                  <a:gd name="T23" fmla="*/ 2147483647 h 321"/>
                  <a:gd name="T24" fmla="*/ 2147483647 w 329"/>
                  <a:gd name="T25" fmla="*/ 2147483647 h 321"/>
                  <a:gd name="T26" fmla="*/ 2147483647 w 329"/>
                  <a:gd name="T27" fmla="*/ 2147483647 h 321"/>
                  <a:gd name="T28" fmla="*/ 2147483647 w 329"/>
                  <a:gd name="T29" fmla="*/ 2147483647 h 321"/>
                  <a:gd name="T30" fmla="*/ 2147483647 w 329"/>
                  <a:gd name="T31" fmla="*/ 2147483647 h 321"/>
                  <a:gd name="T32" fmla="*/ 2147483647 w 329"/>
                  <a:gd name="T33" fmla="*/ 2147483647 h 321"/>
                  <a:gd name="T34" fmla="*/ 2147483647 w 329"/>
                  <a:gd name="T35" fmla="*/ 2147483647 h 321"/>
                  <a:gd name="T36" fmla="*/ 2147483647 w 329"/>
                  <a:gd name="T37" fmla="*/ 2147483647 h 321"/>
                  <a:gd name="T38" fmla="*/ 2147483647 w 329"/>
                  <a:gd name="T39" fmla="*/ 2147483647 h 321"/>
                  <a:gd name="T40" fmla="*/ 2147483647 w 329"/>
                  <a:gd name="T41" fmla="*/ 2147483647 h 321"/>
                  <a:gd name="T42" fmla="*/ 2147483647 w 329"/>
                  <a:gd name="T43" fmla="*/ 2147483647 h 321"/>
                  <a:gd name="T44" fmla="*/ 2147483647 w 329"/>
                  <a:gd name="T45" fmla="*/ 2147483647 h 321"/>
                  <a:gd name="T46" fmla="*/ 2147483647 w 329"/>
                  <a:gd name="T47" fmla="*/ 2147483647 h 321"/>
                  <a:gd name="T48" fmla="*/ 2147483647 w 329"/>
                  <a:gd name="T49" fmla="*/ 2147483647 h 321"/>
                  <a:gd name="T50" fmla="*/ 2147483647 w 329"/>
                  <a:gd name="T51" fmla="*/ 2147483647 h 321"/>
                  <a:gd name="T52" fmla="*/ 2147483647 w 329"/>
                  <a:gd name="T53" fmla="*/ 2147483647 h 321"/>
                  <a:gd name="T54" fmla="*/ 2147483647 w 329"/>
                  <a:gd name="T55" fmla="*/ 2147483647 h 321"/>
                  <a:gd name="T56" fmla="*/ 2147483647 w 329"/>
                  <a:gd name="T57" fmla="*/ 2147483647 h 321"/>
                  <a:gd name="T58" fmla="*/ 2147483647 w 329"/>
                  <a:gd name="T59" fmla="*/ 2147483647 h 321"/>
                  <a:gd name="T60" fmla="*/ 2147483647 w 329"/>
                  <a:gd name="T61" fmla="*/ 2147483647 h 321"/>
                  <a:gd name="T62" fmla="*/ 2147483647 w 329"/>
                  <a:gd name="T63" fmla="*/ 2147483647 h 321"/>
                  <a:gd name="T64" fmla="*/ 2147483647 w 329"/>
                  <a:gd name="T65" fmla="*/ 2147483647 h 321"/>
                  <a:gd name="T66" fmla="*/ 2147483647 w 329"/>
                  <a:gd name="T67" fmla="*/ 2147483647 h 321"/>
                  <a:gd name="T68" fmla="*/ 2147483647 w 329"/>
                  <a:gd name="T69" fmla="*/ 2147483647 h 321"/>
                  <a:gd name="T70" fmla="*/ 2147483647 w 329"/>
                  <a:gd name="T71" fmla="*/ 2147483647 h 321"/>
                  <a:gd name="T72" fmla="*/ 2147483647 w 329"/>
                  <a:gd name="T73" fmla="*/ 2147483647 h 321"/>
                  <a:gd name="T74" fmla="*/ 2147483647 w 329"/>
                  <a:gd name="T75" fmla="*/ 2147483647 h 321"/>
                  <a:gd name="T76" fmla="*/ 2147483647 w 329"/>
                  <a:gd name="T77" fmla="*/ 2147483647 h 321"/>
                  <a:gd name="T78" fmla="*/ 2147483647 w 329"/>
                  <a:gd name="T79" fmla="*/ 2147483647 h 321"/>
                  <a:gd name="T80" fmla="*/ 2147483647 w 329"/>
                  <a:gd name="T81" fmla="*/ 2147483647 h 321"/>
                  <a:gd name="T82" fmla="*/ 2147483647 w 329"/>
                  <a:gd name="T83" fmla="*/ 2147483647 h 321"/>
                  <a:gd name="T84" fmla="*/ 2147483647 w 329"/>
                  <a:gd name="T85" fmla="*/ 2147483647 h 321"/>
                  <a:gd name="T86" fmla="*/ 2147483647 w 329"/>
                  <a:gd name="T87" fmla="*/ 2147483647 h 321"/>
                  <a:gd name="T88" fmla="*/ 2147483647 w 329"/>
                  <a:gd name="T89" fmla="*/ 2147483647 h 321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329"/>
                  <a:gd name="T136" fmla="*/ 0 h 321"/>
                  <a:gd name="T137" fmla="*/ 329 w 329"/>
                  <a:gd name="T138" fmla="*/ 321 h 321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329" h="321">
                    <a:moveTo>
                      <a:pt x="310" y="79"/>
                    </a:moveTo>
                    <a:cubicBezTo>
                      <a:pt x="311" y="78"/>
                      <a:pt x="311" y="76"/>
                      <a:pt x="312" y="75"/>
                    </a:cubicBezTo>
                    <a:cubicBezTo>
                      <a:pt x="313" y="74"/>
                      <a:pt x="314" y="74"/>
                      <a:pt x="315" y="73"/>
                    </a:cubicBezTo>
                    <a:cubicBezTo>
                      <a:pt x="318" y="69"/>
                      <a:pt x="318" y="62"/>
                      <a:pt x="321" y="57"/>
                    </a:cubicBezTo>
                    <a:cubicBezTo>
                      <a:pt x="317" y="41"/>
                      <a:pt x="321" y="36"/>
                      <a:pt x="329" y="24"/>
                    </a:cubicBezTo>
                    <a:cubicBezTo>
                      <a:pt x="326" y="15"/>
                      <a:pt x="310" y="8"/>
                      <a:pt x="305" y="5"/>
                    </a:cubicBezTo>
                    <a:cubicBezTo>
                      <a:pt x="301" y="0"/>
                      <a:pt x="299" y="0"/>
                      <a:pt x="297" y="6"/>
                    </a:cubicBezTo>
                    <a:cubicBezTo>
                      <a:pt x="299" y="13"/>
                      <a:pt x="302" y="19"/>
                      <a:pt x="304" y="26"/>
                    </a:cubicBezTo>
                    <a:cubicBezTo>
                      <a:pt x="302" y="37"/>
                      <a:pt x="297" y="36"/>
                      <a:pt x="287" y="37"/>
                    </a:cubicBezTo>
                    <a:cubicBezTo>
                      <a:pt x="273" y="48"/>
                      <a:pt x="271" y="48"/>
                      <a:pt x="250" y="49"/>
                    </a:cubicBezTo>
                    <a:cubicBezTo>
                      <a:pt x="243" y="49"/>
                      <a:pt x="235" y="50"/>
                      <a:pt x="228" y="47"/>
                    </a:cubicBezTo>
                    <a:cubicBezTo>
                      <a:pt x="224" y="45"/>
                      <a:pt x="216" y="42"/>
                      <a:pt x="216" y="42"/>
                    </a:cubicBezTo>
                    <a:cubicBezTo>
                      <a:pt x="213" y="39"/>
                      <a:pt x="203" y="37"/>
                      <a:pt x="203" y="37"/>
                    </a:cubicBezTo>
                    <a:cubicBezTo>
                      <a:pt x="197" y="38"/>
                      <a:pt x="192" y="43"/>
                      <a:pt x="187" y="47"/>
                    </a:cubicBezTo>
                    <a:cubicBezTo>
                      <a:pt x="185" y="49"/>
                      <a:pt x="181" y="53"/>
                      <a:pt x="181" y="53"/>
                    </a:cubicBezTo>
                    <a:cubicBezTo>
                      <a:pt x="180" y="55"/>
                      <a:pt x="180" y="58"/>
                      <a:pt x="178" y="59"/>
                    </a:cubicBezTo>
                    <a:cubicBezTo>
                      <a:pt x="176" y="60"/>
                      <a:pt x="172" y="61"/>
                      <a:pt x="172" y="61"/>
                    </a:cubicBezTo>
                    <a:cubicBezTo>
                      <a:pt x="155" y="60"/>
                      <a:pt x="147" y="62"/>
                      <a:pt x="132" y="67"/>
                    </a:cubicBezTo>
                    <a:cubicBezTo>
                      <a:pt x="126" y="92"/>
                      <a:pt x="119" y="89"/>
                      <a:pt x="90" y="90"/>
                    </a:cubicBezTo>
                    <a:cubicBezTo>
                      <a:pt x="82" y="97"/>
                      <a:pt x="79" y="99"/>
                      <a:pt x="75" y="103"/>
                    </a:cubicBezTo>
                    <a:cubicBezTo>
                      <a:pt x="71" y="108"/>
                      <a:pt x="71" y="110"/>
                      <a:pt x="64" y="113"/>
                    </a:cubicBezTo>
                    <a:cubicBezTo>
                      <a:pt x="51" y="119"/>
                      <a:pt x="36" y="121"/>
                      <a:pt x="22" y="126"/>
                    </a:cubicBezTo>
                    <a:cubicBezTo>
                      <a:pt x="31" y="128"/>
                      <a:pt x="27" y="133"/>
                      <a:pt x="31" y="140"/>
                    </a:cubicBezTo>
                    <a:cubicBezTo>
                      <a:pt x="33" y="143"/>
                      <a:pt x="35" y="149"/>
                      <a:pt x="35" y="149"/>
                    </a:cubicBezTo>
                    <a:cubicBezTo>
                      <a:pt x="33" y="155"/>
                      <a:pt x="36" y="150"/>
                      <a:pt x="27" y="153"/>
                    </a:cubicBezTo>
                    <a:cubicBezTo>
                      <a:pt x="24" y="154"/>
                      <a:pt x="19" y="157"/>
                      <a:pt x="19" y="157"/>
                    </a:cubicBezTo>
                    <a:cubicBezTo>
                      <a:pt x="22" y="163"/>
                      <a:pt x="22" y="179"/>
                      <a:pt x="16" y="183"/>
                    </a:cubicBezTo>
                    <a:cubicBezTo>
                      <a:pt x="12" y="185"/>
                      <a:pt x="4" y="188"/>
                      <a:pt x="4" y="188"/>
                    </a:cubicBezTo>
                    <a:cubicBezTo>
                      <a:pt x="2" y="193"/>
                      <a:pt x="0" y="193"/>
                      <a:pt x="3" y="198"/>
                    </a:cubicBezTo>
                    <a:cubicBezTo>
                      <a:pt x="2" y="205"/>
                      <a:pt x="6" y="224"/>
                      <a:pt x="4" y="233"/>
                    </a:cubicBezTo>
                    <a:cubicBezTo>
                      <a:pt x="5" y="238"/>
                      <a:pt x="15" y="240"/>
                      <a:pt x="15" y="240"/>
                    </a:cubicBezTo>
                    <a:cubicBezTo>
                      <a:pt x="17" y="241"/>
                      <a:pt x="17" y="244"/>
                      <a:pt x="19" y="245"/>
                    </a:cubicBezTo>
                    <a:cubicBezTo>
                      <a:pt x="22" y="246"/>
                      <a:pt x="31" y="248"/>
                      <a:pt x="34" y="249"/>
                    </a:cubicBezTo>
                    <a:cubicBezTo>
                      <a:pt x="37" y="251"/>
                      <a:pt x="40" y="252"/>
                      <a:pt x="43" y="254"/>
                    </a:cubicBezTo>
                    <a:cubicBezTo>
                      <a:pt x="47" y="260"/>
                      <a:pt x="51" y="260"/>
                      <a:pt x="57" y="261"/>
                    </a:cubicBezTo>
                    <a:cubicBezTo>
                      <a:pt x="49" y="263"/>
                      <a:pt x="46" y="262"/>
                      <a:pt x="43" y="269"/>
                    </a:cubicBezTo>
                    <a:cubicBezTo>
                      <a:pt x="44" y="273"/>
                      <a:pt x="44" y="283"/>
                      <a:pt x="47" y="287"/>
                    </a:cubicBezTo>
                    <a:cubicBezTo>
                      <a:pt x="52" y="293"/>
                      <a:pt x="60" y="296"/>
                      <a:pt x="66" y="302"/>
                    </a:cubicBezTo>
                    <a:cubicBezTo>
                      <a:pt x="67" y="306"/>
                      <a:pt x="69" y="306"/>
                      <a:pt x="73" y="305"/>
                    </a:cubicBezTo>
                    <a:cubicBezTo>
                      <a:pt x="80" y="298"/>
                      <a:pt x="79" y="298"/>
                      <a:pt x="90" y="302"/>
                    </a:cubicBezTo>
                    <a:cubicBezTo>
                      <a:pt x="98" y="301"/>
                      <a:pt x="100" y="297"/>
                      <a:pt x="108" y="294"/>
                    </a:cubicBezTo>
                    <a:cubicBezTo>
                      <a:pt x="124" y="296"/>
                      <a:pt x="138" y="296"/>
                      <a:pt x="154" y="295"/>
                    </a:cubicBezTo>
                    <a:cubicBezTo>
                      <a:pt x="160" y="294"/>
                      <a:pt x="168" y="293"/>
                      <a:pt x="174" y="295"/>
                    </a:cubicBezTo>
                    <a:cubicBezTo>
                      <a:pt x="176" y="296"/>
                      <a:pt x="176" y="300"/>
                      <a:pt x="178" y="301"/>
                    </a:cubicBezTo>
                    <a:cubicBezTo>
                      <a:pt x="187" y="299"/>
                      <a:pt x="185" y="303"/>
                      <a:pt x="183" y="311"/>
                    </a:cubicBezTo>
                    <a:cubicBezTo>
                      <a:pt x="185" y="321"/>
                      <a:pt x="193" y="310"/>
                      <a:pt x="198" y="308"/>
                    </a:cubicBezTo>
                    <a:cubicBezTo>
                      <a:pt x="212" y="309"/>
                      <a:pt x="211" y="311"/>
                      <a:pt x="221" y="315"/>
                    </a:cubicBezTo>
                    <a:cubicBezTo>
                      <a:pt x="224" y="316"/>
                      <a:pt x="231" y="319"/>
                      <a:pt x="231" y="319"/>
                    </a:cubicBezTo>
                    <a:cubicBezTo>
                      <a:pt x="234" y="319"/>
                      <a:pt x="238" y="320"/>
                      <a:pt x="241" y="318"/>
                    </a:cubicBezTo>
                    <a:cubicBezTo>
                      <a:pt x="243" y="317"/>
                      <a:pt x="239" y="312"/>
                      <a:pt x="239" y="312"/>
                    </a:cubicBezTo>
                    <a:cubicBezTo>
                      <a:pt x="238" y="298"/>
                      <a:pt x="235" y="297"/>
                      <a:pt x="226" y="288"/>
                    </a:cubicBezTo>
                    <a:cubicBezTo>
                      <a:pt x="225" y="285"/>
                      <a:pt x="220" y="278"/>
                      <a:pt x="216" y="277"/>
                    </a:cubicBezTo>
                    <a:cubicBezTo>
                      <a:pt x="212" y="269"/>
                      <a:pt x="205" y="271"/>
                      <a:pt x="197" y="270"/>
                    </a:cubicBezTo>
                    <a:cubicBezTo>
                      <a:pt x="180" y="257"/>
                      <a:pt x="154" y="259"/>
                      <a:pt x="135" y="253"/>
                    </a:cubicBezTo>
                    <a:cubicBezTo>
                      <a:pt x="139" y="245"/>
                      <a:pt x="150" y="248"/>
                      <a:pt x="159" y="247"/>
                    </a:cubicBezTo>
                    <a:cubicBezTo>
                      <a:pt x="162" y="242"/>
                      <a:pt x="161" y="237"/>
                      <a:pt x="156" y="234"/>
                    </a:cubicBezTo>
                    <a:cubicBezTo>
                      <a:pt x="154" y="231"/>
                      <a:pt x="153" y="228"/>
                      <a:pt x="151" y="225"/>
                    </a:cubicBezTo>
                    <a:cubicBezTo>
                      <a:pt x="156" y="217"/>
                      <a:pt x="171" y="223"/>
                      <a:pt x="180" y="222"/>
                    </a:cubicBezTo>
                    <a:cubicBezTo>
                      <a:pt x="179" y="218"/>
                      <a:pt x="178" y="216"/>
                      <a:pt x="174" y="215"/>
                    </a:cubicBezTo>
                    <a:cubicBezTo>
                      <a:pt x="172" y="208"/>
                      <a:pt x="164" y="199"/>
                      <a:pt x="157" y="197"/>
                    </a:cubicBezTo>
                    <a:cubicBezTo>
                      <a:pt x="156" y="193"/>
                      <a:pt x="154" y="193"/>
                      <a:pt x="150" y="191"/>
                    </a:cubicBezTo>
                    <a:cubicBezTo>
                      <a:pt x="148" y="185"/>
                      <a:pt x="149" y="183"/>
                      <a:pt x="144" y="180"/>
                    </a:cubicBezTo>
                    <a:cubicBezTo>
                      <a:pt x="142" y="177"/>
                      <a:pt x="136" y="175"/>
                      <a:pt x="136" y="175"/>
                    </a:cubicBezTo>
                    <a:cubicBezTo>
                      <a:pt x="133" y="171"/>
                      <a:pt x="131" y="166"/>
                      <a:pt x="127" y="162"/>
                    </a:cubicBezTo>
                    <a:cubicBezTo>
                      <a:pt x="125" y="157"/>
                      <a:pt x="124" y="152"/>
                      <a:pt x="121" y="147"/>
                    </a:cubicBezTo>
                    <a:cubicBezTo>
                      <a:pt x="122" y="136"/>
                      <a:pt x="120" y="128"/>
                      <a:pt x="130" y="125"/>
                    </a:cubicBezTo>
                    <a:cubicBezTo>
                      <a:pt x="132" y="122"/>
                      <a:pt x="138" y="120"/>
                      <a:pt x="138" y="120"/>
                    </a:cubicBezTo>
                    <a:cubicBezTo>
                      <a:pt x="150" y="122"/>
                      <a:pt x="152" y="127"/>
                      <a:pt x="147" y="135"/>
                    </a:cubicBezTo>
                    <a:cubicBezTo>
                      <a:pt x="150" y="145"/>
                      <a:pt x="161" y="139"/>
                      <a:pt x="169" y="144"/>
                    </a:cubicBezTo>
                    <a:cubicBezTo>
                      <a:pt x="170" y="150"/>
                      <a:pt x="170" y="166"/>
                      <a:pt x="177" y="168"/>
                    </a:cubicBezTo>
                    <a:cubicBezTo>
                      <a:pt x="186" y="167"/>
                      <a:pt x="197" y="168"/>
                      <a:pt x="187" y="162"/>
                    </a:cubicBezTo>
                    <a:cubicBezTo>
                      <a:pt x="185" y="156"/>
                      <a:pt x="181" y="149"/>
                      <a:pt x="177" y="144"/>
                    </a:cubicBezTo>
                    <a:cubicBezTo>
                      <a:pt x="174" y="141"/>
                      <a:pt x="166" y="133"/>
                      <a:pt x="169" y="135"/>
                    </a:cubicBezTo>
                    <a:cubicBezTo>
                      <a:pt x="170" y="136"/>
                      <a:pt x="171" y="136"/>
                      <a:pt x="172" y="137"/>
                    </a:cubicBezTo>
                    <a:cubicBezTo>
                      <a:pt x="178" y="147"/>
                      <a:pt x="194" y="153"/>
                      <a:pt x="205" y="156"/>
                    </a:cubicBezTo>
                    <a:cubicBezTo>
                      <a:pt x="215" y="153"/>
                      <a:pt x="207" y="147"/>
                      <a:pt x="199" y="144"/>
                    </a:cubicBezTo>
                    <a:cubicBezTo>
                      <a:pt x="197" y="138"/>
                      <a:pt x="195" y="138"/>
                      <a:pt x="190" y="135"/>
                    </a:cubicBezTo>
                    <a:cubicBezTo>
                      <a:pt x="195" y="131"/>
                      <a:pt x="201" y="134"/>
                      <a:pt x="207" y="135"/>
                    </a:cubicBezTo>
                    <a:cubicBezTo>
                      <a:pt x="210" y="140"/>
                      <a:pt x="217" y="140"/>
                      <a:pt x="222" y="143"/>
                    </a:cubicBezTo>
                    <a:cubicBezTo>
                      <a:pt x="224" y="142"/>
                      <a:pt x="227" y="142"/>
                      <a:pt x="228" y="141"/>
                    </a:cubicBezTo>
                    <a:cubicBezTo>
                      <a:pt x="230" y="139"/>
                      <a:pt x="225" y="136"/>
                      <a:pt x="223" y="135"/>
                    </a:cubicBezTo>
                    <a:cubicBezTo>
                      <a:pt x="215" y="131"/>
                      <a:pt x="207" y="124"/>
                      <a:pt x="199" y="121"/>
                    </a:cubicBezTo>
                    <a:cubicBezTo>
                      <a:pt x="197" y="117"/>
                      <a:pt x="196" y="114"/>
                      <a:pt x="192" y="113"/>
                    </a:cubicBezTo>
                    <a:cubicBezTo>
                      <a:pt x="191" y="109"/>
                      <a:pt x="187" y="109"/>
                      <a:pt x="186" y="105"/>
                    </a:cubicBezTo>
                    <a:cubicBezTo>
                      <a:pt x="188" y="96"/>
                      <a:pt x="197" y="98"/>
                      <a:pt x="205" y="97"/>
                    </a:cubicBezTo>
                    <a:cubicBezTo>
                      <a:pt x="211" y="95"/>
                      <a:pt x="212" y="90"/>
                      <a:pt x="217" y="87"/>
                    </a:cubicBezTo>
                    <a:cubicBezTo>
                      <a:pt x="222" y="84"/>
                      <a:pt x="232" y="83"/>
                      <a:pt x="237" y="83"/>
                    </a:cubicBezTo>
                    <a:cubicBezTo>
                      <a:pt x="243" y="79"/>
                      <a:pt x="250" y="78"/>
                      <a:pt x="257" y="77"/>
                    </a:cubicBezTo>
                    <a:cubicBezTo>
                      <a:pt x="262" y="74"/>
                      <a:pt x="268" y="73"/>
                      <a:pt x="274" y="72"/>
                    </a:cubicBezTo>
                    <a:cubicBezTo>
                      <a:pt x="282" y="73"/>
                      <a:pt x="297" y="75"/>
                      <a:pt x="297" y="75"/>
                    </a:cubicBezTo>
                    <a:cubicBezTo>
                      <a:pt x="301" y="78"/>
                      <a:pt x="305" y="79"/>
                      <a:pt x="310" y="79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</p:grpSp>
        <p:sp>
          <p:nvSpPr>
            <p:cNvPr id="262" name="Freeform 36"/>
            <p:cNvSpPr>
              <a:spLocks noChangeAspect="1"/>
            </p:cNvSpPr>
            <p:nvPr/>
          </p:nvSpPr>
          <p:spPr bwMode="auto">
            <a:xfrm>
              <a:off x="2879" y="2969"/>
              <a:ext cx="273" cy="143"/>
            </a:xfrm>
            <a:custGeom>
              <a:avLst/>
              <a:gdLst>
                <a:gd name="T0" fmla="*/ 495 w 270"/>
                <a:gd name="T1" fmla="*/ 67 h 142"/>
                <a:gd name="T2" fmla="*/ 519 w 270"/>
                <a:gd name="T3" fmla="*/ 26 h 142"/>
                <a:gd name="T4" fmla="*/ 526 w 270"/>
                <a:gd name="T5" fmla="*/ 16 h 142"/>
                <a:gd name="T6" fmla="*/ 423 w 270"/>
                <a:gd name="T7" fmla="*/ 0 h 142"/>
                <a:gd name="T8" fmla="*/ 359 w 270"/>
                <a:gd name="T9" fmla="*/ 9 h 142"/>
                <a:gd name="T10" fmla="*/ 329 w 270"/>
                <a:gd name="T11" fmla="*/ 9 h 142"/>
                <a:gd name="T12" fmla="*/ 291 w 270"/>
                <a:gd name="T13" fmla="*/ 18 h 142"/>
                <a:gd name="T14" fmla="*/ 274 w 270"/>
                <a:gd name="T15" fmla="*/ 25 h 142"/>
                <a:gd name="T16" fmla="*/ 246 w 270"/>
                <a:gd name="T17" fmla="*/ 18 h 142"/>
                <a:gd name="T18" fmla="*/ 213 w 270"/>
                <a:gd name="T19" fmla="*/ 7 h 142"/>
                <a:gd name="T20" fmla="*/ 203 w 270"/>
                <a:gd name="T21" fmla="*/ 2 h 142"/>
                <a:gd name="T22" fmla="*/ 189 w 270"/>
                <a:gd name="T23" fmla="*/ 14 h 142"/>
                <a:gd name="T24" fmla="*/ 159 w 270"/>
                <a:gd name="T25" fmla="*/ 8 h 142"/>
                <a:gd name="T26" fmla="*/ 131 w 270"/>
                <a:gd name="T27" fmla="*/ 13 h 142"/>
                <a:gd name="T28" fmla="*/ 124 w 270"/>
                <a:gd name="T29" fmla="*/ 22 h 142"/>
                <a:gd name="T30" fmla="*/ 115 w 270"/>
                <a:gd name="T31" fmla="*/ 36 h 142"/>
                <a:gd name="T32" fmla="*/ 108 w 270"/>
                <a:gd name="T33" fmla="*/ 46 h 142"/>
                <a:gd name="T34" fmla="*/ 41 w 270"/>
                <a:gd name="T35" fmla="*/ 57 h 142"/>
                <a:gd name="T36" fmla="*/ 6 w 270"/>
                <a:gd name="T37" fmla="*/ 69 h 142"/>
                <a:gd name="T38" fmla="*/ 0 w 270"/>
                <a:gd name="T39" fmla="*/ 153 h 142"/>
                <a:gd name="T40" fmla="*/ 6 w 270"/>
                <a:gd name="T41" fmla="*/ 164 h 142"/>
                <a:gd name="T42" fmla="*/ 10 w 270"/>
                <a:gd name="T43" fmla="*/ 185 h 142"/>
                <a:gd name="T44" fmla="*/ 23 w 270"/>
                <a:gd name="T45" fmla="*/ 189 h 142"/>
                <a:gd name="T46" fmla="*/ 26 w 270"/>
                <a:gd name="T47" fmla="*/ 190 h 142"/>
                <a:gd name="T48" fmla="*/ 35 w 270"/>
                <a:gd name="T49" fmla="*/ 196 h 142"/>
                <a:gd name="T50" fmla="*/ 41 w 270"/>
                <a:gd name="T51" fmla="*/ 203 h 142"/>
                <a:gd name="T52" fmla="*/ 171 w 270"/>
                <a:gd name="T53" fmla="*/ 200 h 142"/>
                <a:gd name="T54" fmla="*/ 189 w 270"/>
                <a:gd name="T55" fmla="*/ 191 h 142"/>
                <a:gd name="T56" fmla="*/ 240 w 270"/>
                <a:gd name="T57" fmla="*/ 169 h 142"/>
                <a:gd name="T58" fmla="*/ 270 w 270"/>
                <a:gd name="T59" fmla="*/ 161 h 142"/>
                <a:gd name="T60" fmla="*/ 277 w 270"/>
                <a:gd name="T61" fmla="*/ 157 h 142"/>
                <a:gd name="T62" fmla="*/ 291 w 270"/>
                <a:gd name="T63" fmla="*/ 160 h 142"/>
                <a:gd name="T64" fmla="*/ 316 w 270"/>
                <a:gd name="T65" fmla="*/ 157 h 142"/>
                <a:gd name="T66" fmla="*/ 360 w 270"/>
                <a:gd name="T67" fmla="*/ 66 h 142"/>
                <a:gd name="T68" fmla="*/ 413 w 270"/>
                <a:gd name="T69" fmla="*/ 66 h 142"/>
                <a:gd name="T70" fmla="*/ 451 w 270"/>
                <a:gd name="T71" fmla="*/ 67 h 142"/>
                <a:gd name="T72" fmla="*/ 466 w 270"/>
                <a:gd name="T73" fmla="*/ 133 h 142"/>
                <a:gd name="T74" fmla="*/ 495 w 270"/>
                <a:gd name="T75" fmla="*/ 67 h 142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70"/>
                <a:gd name="T115" fmla="*/ 0 h 142"/>
                <a:gd name="T116" fmla="*/ 270 w 270"/>
                <a:gd name="T117" fmla="*/ 142 h 142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70" h="142">
                  <a:moveTo>
                    <a:pt x="254" y="67"/>
                  </a:moveTo>
                  <a:cubicBezTo>
                    <a:pt x="257" y="58"/>
                    <a:pt x="256" y="33"/>
                    <a:pt x="266" y="26"/>
                  </a:cubicBezTo>
                  <a:cubicBezTo>
                    <a:pt x="267" y="22"/>
                    <a:pt x="269" y="20"/>
                    <a:pt x="270" y="16"/>
                  </a:cubicBezTo>
                  <a:cubicBezTo>
                    <a:pt x="251" y="13"/>
                    <a:pt x="234" y="4"/>
                    <a:pt x="216" y="0"/>
                  </a:cubicBezTo>
                  <a:cubicBezTo>
                    <a:pt x="202" y="1"/>
                    <a:pt x="197" y="5"/>
                    <a:pt x="185" y="9"/>
                  </a:cubicBezTo>
                  <a:cubicBezTo>
                    <a:pt x="182" y="17"/>
                    <a:pt x="176" y="11"/>
                    <a:pt x="171" y="9"/>
                  </a:cubicBezTo>
                  <a:cubicBezTo>
                    <a:pt x="158" y="10"/>
                    <a:pt x="154" y="9"/>
                    <a:pt x="147" y="18"/>
                  </a:cubicBezTo>
                  <a:cubicBezTo>
                    <a:pt x="146" y="27"/>
                    <a:pt x="145" y="26"/>
                    <a:pt x="136" y="25"/>
                  </a:cubicBezTo>
                  <a:cubicBezTo>
                    <a:pt x="133" y="23"/>
                    <a:pt x="126" y="18"/>
                    <a:pt x="126" y="18"/>
                  </a:cubicBezTo>
                  <a:cubicBezTo>
                    <a:pt x="124" y="12"/>
                    <a:pt x="117" y="11"/>
                    <a:pt x="113" y="7"/>
                  </a:cubicBezTo>
                  <a:cubicBezTo>
                    <a:pt x="112" y="5"/>
                    <a:pt x="112" y="1"/>
                    <a:pt x="108" y="2"/>
                  </a:cubicBezTo>
                  <a:cubicBezTo>
                    <a:pt x="108" y="2"/>
                    <a:pt x="104" y="12"/>
                    <a:pt x="101" y="14"/>
                  </a:cubicBezTo>
                  <a:cubicBezTo>
                    <a:pt x="96" y="23"/>
                    <a:pt x="91" y="11"/>
                    <a:pt x="86" y="8"/>
                  </a:cubicBezTo>
                  <a:cubicBezTo>
                    <a:pt x="80" y="9"/>
                    <a:pt x="76" y="12"/>
                    <a:pt x="70" y="13"/>
                  </a:cubicBezTo>
                  <a:cubicBezTo>
                    <a:pt x="69" y="17"/>
                    <a:pt x="63" y="22"/>
                    <a:pt x="63" y="22"/>
                  </a:cubicBezTo>
                  <a:cubicBezTo>
                    <a:pt x="62" y="28"/>
                    <a:pt x="58" y="32"/>
                    <a:pt x="54" y="36"/>
                  </a:cubicBezTo>
                  <a:cubicBezTo>
                    <a:pt x="52" y="41"/>
                    <a:pt x="52" y="44"/>
                    <a:pt x="47" y="46"/>
                  </a:cubicBezTo>
                  <a:cubicBezTo>
                    <a:pt x="45" y="52"/>
                    <a:pt x="46" y="54"/>
                    <a:pt x="41" y="57"/>
                  </a:cubicBezTo>
                  <a:cubicBezTo>
                    <a:pt x="32" y="70"/>
                    <a:pt x="22" y="68"/>
                    <a:pt x="6" y="69"/>
                  </a:cubicBezTo>
                  <a:cubicBezTo>
                    <a:pt x="1" y="76"/>
                    <a:pt x="3" y="84"/>
                    <a:pt x="0" y="92"/>
                  </a:cubicBezTo>
                  <a:cubicBezTo>
                    <a:pt x="2" y="98"/>
                    <a:pt x="4" y="98"/>
                    <a:pt x="6" y="103"/>
                  </a:cubicBezTo>
                  <a:cubicBezTo>
                    <a:pt x="4" y="109"/>
                    <a:pt x="3" y="120"/>
                    <a:pt x="10" y="124"/>
                  </a:cubicBezTo>
                  <a:cubicBezTo>
                    <a:pt x="14" y="126"/>
                    <a:pt x="19" y="127"/>
                    <a:pt x="23" y="128"/>
                  </a:cubicBezTo>
                  <a:cubicBezTo>
                    <a:pt x="24" y="128"/>
                    <a:pt x="26" y="129"/>
                    <a:pt x="26" y="129"/>
                  </a:cubicBezTo>
                  <a:cubicBezTo>
                    <a:pt x="29" y="132"/>
                    <a:pt x="32" y="133"/>
                    <a:pt x="35" y="135"/>
                  </a:cubicBezTo>
                  <a:cubicBezTo>
                    <a:pt x="36" y="139"/>
                    <a:pt x="39" y="138"/>
                    <a:pt x="41" y="142"/>
                  </a:cubicBezTo>
                  <a:cubicBezTo>
                    <a:pt x="58" y="141"/>
                    <a:pt x="75" y="140"/>
                    <a:pt x="92" y="139"/>
                  </a:cubicBezTo>
                  <a:cubicBezTo>
                    <a:pt x="97" y="137"/>
                    <a:pt x="99" y="135"/>
                    <a:pt x="101" y="130"/>
                  </a:cubicBezTo>
                  <a:cubicBezTo>
                    <a:pt x="99" y="106"/>
                    <a:pt x="99" y="109"/>
                    <a:pt x="124" y="108"/>
                  </a:cubicBezTo>
                  <a:cubicBezTo>
                    <a:pt x="129" y="106"/>
                    <a:pt x="131" y="104"/>
                    <a:pt x="134" y="100"/>
                  </a:cubicBezTo>
                  <a:cubicBezTo>
                    <a:pt x="135" y="98"/>
                    <a:pt x="135" y="96"/>
                    <a:pt x="138" y="96"/>
                  </a:cubicBezTo>
                  <a:cubicBezTo>
                    <a:pt x="141" y="96"/>
                    <a:pt x="147" y="99"/>
                    <a:pt x="147" y="99"/>
                  </a:cubicBezTo>
                  <a:cubicBezTo>
                    <a:pt x="153" y="98"/>
                    <a:pt x="164" y="96"/>
                    <a:pt x="164" y="96"/>
                  </a:cubicBezTo>
                  <a:cubicBezTo>
                    <a:pt x="169" y="82"/>
                    <a:pt x="169" y="70"/>
                    <a:pt x="186" y="66"/>
                  </a:cubicBezTo>
                  <a:cubicBezTo>
                    <a:pt x="195" y="67"/>
                    <a:pt x="203" y="69"/>
                    <a:pt x="212" y="66"/>
                  </a:cubicBezTo>
                  <a:cubicBezTo>
                    <a:pt x="217" y="66"/>
                    <a:pt x="223" y="66"/>
                    <a:pt x="228" y="67"/>
                  </a:cubicBezTo>
                  <a:cubicBezTo>
                    <a:pt x="231" y="67"/>
                    <a:pt x="237" y="72"/>
                    <a:pt x="237" y="72"/>
                  </a:cubicBezTo>
                  <a:cubicBezTo>
                    <a:pt x="238" y="72"/>
                    <a:pt x="254" y="72"/>
                    <a:pt x="254" y="67"/>
                  </a:cubicBez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  <p:grpSp>
          <p:nvGrpSpPr>
            <p:cNvPr id="263" name="Group 37"/>
            <p:cNvGrpSpPr>
              <a:grpSpLocks noChangeAspect="1"/>
            </p:cNvGrpSpPr>
            <p:nvPr/>
          </p:nvGrpSpPr>
          <p:grpSpPr bwMode="auto">
            <a:xfrm>
              <a:off x="2726" y="3208"/>
              <a:ext cx="304" cy="292"/>
              <a:chOff x="2859" y="3044"/>
              <a:chExt cx="302" cy="289"/>
            </a:xfrm>
            <a:grpFill/>
          </p:grpSpPr>
          <p:sp>
            <p:nvSpPr>
              <p:cNvPr id="345" name="Freeform 38"/>
              <p:cNvSpPr>
                <a:spLocks noChangeAspect="1"/>
              </p:cNvSpPr>
              <p:nvPr/>
            </p:nvSpPr>
            <p:spPr bwMode="auto">
              <a:xfrm>
                <a:off x="2901" y="3158"/>
                <a:ext cx="24" cy="49"/>
              </a:xfrm>
              <a:custGeom>
                <a:avLst/>
                <a:gdLst>
                  <a:gd name="T0" fmla="*/ 0 w 24"/>
                  <a:gd name="T1" fmla="*/ 0 h 49"/>
                  <a:gd name="T2" fmla="*/ 16 w 24"/>
                  <a:gd name="T3" fmla="*/ 43 h 49"/>
                  <a:gd name="T4" fmla="*/ 22 w 24"/>
                  <a:gd name="T5" fmla="*/ 43 h 49"/>
                  <a:gd name="T6" fmla="*/ 14 w 24"/>
                  <a:gd name="T7" fmla="*/ 10 h 49"/>
                  <a:gd name="T8" fmla="*/ 0 w 24"/>
                  <a:gd name="T9" fmla="*/ 0 h 4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4"/>
                  <a:gd name="T16" fmla="*/ 0 h 49"/>
                  <a:gd name="T17" fmla="*/ 24 w 24"/>
                  <a:gd name="T18" fmla="*/ 49 h 4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4" h="49">
                    <a:moveTo>
                      <a:pt x="0" y="0"/>
                    </a:moveTo>
                    <a:cubicBezTo>
                      <a:pt x="2" y="12"/>
                      <a:pt x="7" y="34"/>
                      <a:pt x="16" y="43"/>
                    </a:cubicBezTo>
                    <a:cubicBezTo>
                      <a:pt x="18" y="49"/>
                      <a:pt x="19" y="49"/>
                      <a:pt x="22" y="43"/>
                    </a:cubicBezTo>
                    <a:cubicBezTo>
                      <a:pt x="21" y="34"/>
                      <a:pt x="24" y="17"/>
                      <a:pt x="14" y="10"/>
                    </a:cubicBezTo>
                    <a:cubicBezTo>
                      <a:pt x="11" y="5"/>
                      <a:pt x="6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46" name="Freeform 39"/>
              <p:cNvSpPr>
                <a:spLocks noChangeAspect="1"/>
              </p:cNvSpPr>
              <p:nvPr/>
            </p:nvSpPr>
            <p:spPr bwMode="auto">
              <a:xfrm>
                <a:off x="2933" y="3220"/>
                <a:ext cx="39" cy="37"/>
              </a:xfrm>
              <a:custGeom>
                <a:avLst/>
                <a:gdLst>
                  <a:gd name="T0" fmla="*/ 0 w 39"/>
                  <a:gd name="T1" fmla="*/ 0 h 37"/>
                  <a:gd name="T2" fmla="*/ 20 w 39"/>
                  <a:gd name="T3" fmla="*/ 11 h 37"/>
                  <a:gd name="T4" fmla="*/ 26 w 39"/>
                  <a:gd name="T5" fmla="*/ 15 h 37"/>
                  <a:gd name="T6" fmla="*/ 36 w 39"/>
                  <a:gd name="T7" fmla="*/ 33 h 37"/>
                  <a:gd name="T8" fmla="*/ 38 w 39"/>
                  <a:gd name="T9" fmla="*/ 36 h 37"/>
                  <a:gd name="T10" fmla="*/ 34 w 39"/>
                  <a:gd name="T11" fmla="*/ 35 h 37"/>
                  <a:gd name="T12" fmla="*/ 0 w 39"/>
                  <a:gd name="T13" fmla="*/ 0 h 3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9"/>
                  <a:gd name="T22" fmla="*/ 0 h 37"/>
                  <a:gd name="T23" fmla="*/ 39 w 39"/>
                  <a:gd name="T24" fmla="*/ 37 h 37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9" h="37">
                    <a:moveTo>
                      <a:pt x="0" y="0"/>
                    </a:moveTo>
                    <a:cubicBezTo>
                      <a:pt x="8" y="3"/>
                      <a:pt x="12" y="8"/>
                      <a:pt x="20" y="11"/>
                    </a:cubicBezTo>
                    <a:cubicBezTo>
                      <a:pt x="22" y="13"/>
                      <a:pt x="24" y="13"/>
                      <a:pt x="26" y="15"/>
                    </a:cubicBezTo>
                    <a:cubicBezTo>
                      <a:pt x="31" y="20"/>
                      <a:pt x="33" y="27"/>
                      <a:pt x="36" y="33"/>
                    </a:cubicBezTo>
                    <a:cubicBezTo>
                      <a:pt x="37" y="34"/>
                      <a:pt x="39" y="35"/>
                      <a:pt x="38" y="36"/>
                    </a:cubicBezTo>
                    <a:cubicBezTo>
                      <a:pt x="37" y="37"/>
                      <a:pt x="35" y="35"/>
                      <a:pt x="34" y="35"/>
                    </a:cubicBezTo>
                    <a:cubicBezTo>
                      <a:pt x="28" y="29"/>
                      <a:pt x="2" y="4"/>
                      <a:pt x="0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47" name="Freeform 40"/>
              <p:cNvSpPr>
                <a:spLocks noChangeAspect="1"/>
              </p:cNvSpPr>
              <p:nvPr/>
            </p:nvSpPr>
            <p:spPr bwMode="auto">
              <a:xfrm>
                <a:off x="2926" y="3185"/>
                <a:ext cx="31" cy="34"/>
              </a:xfrm>
              <a:custGeom>
                <a:avLst/>
                <a:gdLst>
                  <a:gd name="T0" fmla="*/ 5 w 31"/>
                  <a:gd name="T1" fmla="*/ 2 h 34"/>
                  <a:gd name="T2" fmla="*/ 27 w 31"/>
                  <a:gd name="T3" fmla="*/ 23 h 34"/>
                  <a:gd name="T4" fmla="*/ 21 w 31"/>
                  <a:gd name="T5" fmla="*/ 27 h 34"/>
                  <a:gd name="T6" fmla="*/ 10 w 31"/>
                  <a:gd name="T7" fmla="*/ 13 h 34"/>
                  <a:gd name="T8" fmla="*/ 5 w 31"/>
                  <a:gd name="T9" fmla="*/ 2 h 3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1"/>
                  <a:gd name="T16" fmla="*/ 0 h 34"/>
                  <a:gd name="T17" fmla="*/ 31 w 31"/>
                  <a:gd name="T18" fmla="*/ 34 h 3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1" h="34">
                    <a:moveTo>
                      <a:pt x="5" y="2"/>
                    </a:moveTo>
                    <a:cubicBezTo>
                      <a:pt x="13" y="8"/>
                      <a:pt x="19" y="17"/>
                      <a:pt x="27" y="23"/>
                    </a:cubicBezTo>
                    <a:cubicBezTo>
                      <a:pt x="31" y="34"/>
                      <a:pt x="31" y="33"/>
                      <a:pt x="21" y="27"/>
                    </a:cubicBezTo>
                    <a:cubicBezTo>
                      <a:pt x="18" y="21"/>
                      <a:pt x="15" y="16"/>
                      <a:pt x="10" y="13"/>
                    </a:cubicBezTo>
                    <a:cubicBezTo>
                      <a:pt x="9" y="11"/>
                      <a:pt x="0" y="0"/>
                      <a:pt x="5" y="2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48" name="Freeform 41"/>
              <p:cNvSpPr>
                <a:spLocks noChangeAspect="1"/>
              </p:cNvSpPr>
              <p:nvPr/>
            </p:nvSpPr>
            <p:spPr bwMode="auto">
              <a:xfrm>
                <a:off x="3023" y="3273"/>
                <a:ext cx="27" cy="13"/>
              </a:xfrm>
              <a:custGeom>
                <a:avLst/>
                <a:gdLst>
                  <a:gd name="T0" fmla="*/ 0 w 27"/>
                  <a:gd name="T1" fmla="*/ 0 h 13"/>
                  <a:gd name="T2" fmla="*/ 11 w 27"/>
                  <a:gd name="T3" fmla="*/ 6 h 13"/>
                  <a:gd name="T4" fmla="*/ 27 w 27"/>
                  <a:gd name="T5" fmla="*/ 4 h 13"/>
                  <a:gd name="T6" fmla="*/ 12 w 27"/>
                  <a:gd name="T7" fmla="*/ 13 h 13"/>
                  <a:gd name="T8" fmla="*/ 0 w 27"/>
                  <a:gd name="T9" fmla="*/ 0 h 1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7"/>
                  <a:gd name="T16" fmla="*/ 0 h 13"/>
                  <a:gd name="T17" fmla="*/ 27 w 27"/>
                  <a:gd name="T18" fmla="*/ 13 h 1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7" h="13">
                    <a:moveTo>
                      <a:pt x="0" y="0"/>
                    </a:moveTo>
                    <a:cubicBezTo>
                      <a:pt x="3" y="3"/>
                      <a:pt x="11" y="6"/>
                      <a:pt x="11" y="6"/>
                    </a:cubicBezTo>
                    <a:cubicBezTo>
                      <a:pt x="17" y="5"/>
                      <a:pt x="22" y="3"/>
                      <a:pt x="27" y="4"/>
                    </a:cubicBezTo>
                    <a:cubicBezTo>
                      <a:pt x="24" y="12"/>
                      <a:pt x="19" y="12"/>
                      <a:pt x="12" y="13"/>
                    </a:cubicBezTo>
                    <a:cubicBezTo>
                      <a:pt x="5" y="11"/>
                      <a:pt x="0" y="8"/>
                      <a:pt x="0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49" name="Freeform 42"/>
              <p:cNvSpPr>
                <a:spLocks noChangeAspect="1"/>
              </p:cNvSpPr>
              <p:nvPr/>
            </p:nvSpPr>
            <p:spPr bwMode="auto">
              <a:xfrm>
                <a:off x="3008" y="3284"/>
                <a:ext cx="55" cy="11"/>
              </a:xfrm>
              <a:custGeom>
                <a:avLst/>
                <a:gdLst>
                  <a:gd name="T0" fmla="*/ 12 w 55"/>
                  <a:gd name="T1" fmla="*/ 4 h 11"/>
                  <a:gd name="T2" fmla="*/ 55 w 55"/>
                  <a:gd name="T3" fmla="*/ 4 h 11"/>
                  <a:gd name="T4" fmla="*/ 31 w 55"/>
                  <a:gd name="T5" fmla="*/ 8 h 11"/>
                  <a:gd name="T6" fmla="*/ 12 w 55"/>
                  <a:gd name="T7" fmla="*/ 4 h 11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55"/>
                  <a:gd name="T13" fmla="*/ 0 h 11"/>
                  <a:gd name="T14" fmla="*/ 55 w 55"/>
                  <a:gd name="T15" fmla="*/ 11 h 11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55" h="11">
                    <a:moveTo>
                      <a:pt x="12" y="4"/>
                    </a:moveTo>
                    <a:cubicBezTo>
                      <a:pt x="27" y="0"/>
                      <a:pt x="39" y="2"/>
                      <a:pt x="55" y="4"/>
                    </a:cubicBezTo>
                    <a:cubicBezTo>
                      <a:pt x="53" y="11"/>
                      <a:pt x="38" y="7"/>
                      <a:pt x="31" y="8"/>
                    </a:cubicBezTo>
                    <a:cubicBezTo>
                      <a:pt x="25" y="7"/>
                      <a:pt x="0" y="11"/>
                      <a:pt x="12" y="4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50" name="Freeform 43"/>
              <p:cNvSpPr>
                <a:spLocks noChangeAspect="1"/>
              </p:cNvSpPr>
              <p:nvPr/>
            </p:nvSpPr>
            <p:spPr bwMode="auto">
              <a:xfrm>
                <a:off x="3032" y="3300"/>
                <a:ext cx="33" cy="9"/>
              </a:xfrm>
              <a:custGeom>
                <a:avLst/>
                <a:gdLst>
                  <a:gd name="T0" fmla="*/ 5 w 33"/>
                  <a:gd name="T1" fmla="*/ 2 h 9"/>
                  <a:gd name="T2" fmla="*/ 30 w 33"/>
                  <a:gd name="T3" fmla="*/ 2 h 9"/>
                  <a:gd name="T4" fmla="*/ 19 w 33"/>
                  <a:gd name="T5" fmla="*/ 9 h 9"/>
                  <a:gd name="T6" fmla="*/ 5 w 33"/>
                  <a:gd name="T7" fmla="*/ 8 h 9"/>
                  <a:gd name="T8" fmla="*/ 5 w 33"/>
                  <a:gd name="T9" fmla="*/ 2 h 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3"/>
                  <a:gd name="T16" fmla="*/ 0 h 9"/>
                  <a:gd name="T17" fmla="*/ 33 w 33"/>
                  <a:gd name="T18" fmla="*/ 9 h 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3" h="9">
                    <a:moveTo>
                      <a:pt x="5" y="2"/>
                    </a:moveTo>
                    <a:cubicBezTo>
                      <a:pt x="6" y="2"/>
                      <a:pt x="27" y="0"/>
                      <a:pt x="30" y="2"/>
                    </a:cubicBezTo>
                    <a:cubicBezTo>
                      <a:pt x="33" y="4"/>
                      <a:pt x="19" y="9"/>
                      <a:pt x="19" y="9"/>
                    </a:cubicBezTo>
                    <a:cubicBezTo>
                      <a:pt x="14" y="9"/>
                      <a:pt x="9" y="9"/>
                      <a:pt x="5" y="8"/>
                    </a:cubicBezTo>
                    <a:cubicBezTo>
                      <a:pt x="0" y="6"/>
                      <a:pt x="5" y="0"/>
                      <a:pt x="5" y="2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51" name="Freeform 44"/>
              <p:cNvSpPr>
                <a:spLocks noChangeAspect="1"/>
              </p:cNvSpPr>
              <p:nvPr/>
            </p:nvSpPr>
            <p:spPr bwMode="auto">
              <a:xfrm>
                <a:off x="3074" y="3312"/>
                <a:ext cx="20" cy="10"/>
              </a:xfrm>
              <a:custGeom>
                <a:avLst/>
                <a:gdLst>
                  <a:gd name="T0" fmla="*/ 0 w 20"/>
                  <a:gd name="T1" fmla="*/ 2 h 10"/>
                  <a:gd name="T2" fmla="*/ 20 w 20"/>
                  <a:gd name="T3" fmla="*/ 4 h 10"/>
                  <a:gd name="T4" fmla="*/ 0 w 20"/>
                  <a:gd name="T5" fmla="*/ 2 h 10"/>
                  <a:gd name="T6" fmla="*/ 0 60000 65536"/>
                  <a:gd name="T7" fmla="*/ 0 60000 65536"/>
                  <a:gd name="T8" fmla="*/ 0 60000 65536"/>
                  <a:gd name="T9" fmla="*/ 0 w 20"/>
                  <a:gd name="T10" fmla="*/ 0 h 10"/>
                  <a:gd name="T11" fmla="*/ 20 w 20"/>
                  <a:gd name="T12" fmla="*/ 10 h 10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0" h="10">
                    <a:moveTo>
                      <a:pt x="0" y="2"/>
                    </a:moveTo>
                    <a:cubicBezTo>
                      <a:pt x="6" y="0"/>
                      <a:pt x="14" y="2"/>
                      <a:pt x="20" y="4"/>
                    </a:cubicBezTo>
                    <a:cubicBezTo>
                      <a:pt x="20" y="4"/>
                      <a:pt x="0" y="10"/>
                      <a:pt x="0" y="2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52" name="Freeform 45"/>
              <p:cNvSpPr>
                <a:spLocks noChangeAspect="1"/>
              </p:cNvSpPr>
              <p:nvPr/>
            </p:nvSpPr>
            <p:spPr bwMode="auto">
              <a:xfrm>
                <a:off x="2859" y="3044"/>
                <a:ext cx="302" cy="289"/>
              </a:xfrm>
              <a:custGeom>
                <a:avLst/>
                <a:gdLst>
                  <a:gd name="T0" fmla="*/ 248 w 302"/>
                  <a:gd name="T1" fmla="*/ 268 h 289"/>
                  <a:gd name="T2" fmla="*/ 235 w 302"/>
                  <a:gd name="T3" fmla="*/ 256 h 289"/>
                  <a:gd name="T4" fmla="*/ 220 w 302"/>
                  <a:gd name="T5" fmla="*/ 244 h 289"/>
                  <a:gd name="T6" fmla="*/ 192 w 302"/>
                  <a:gd name="T7" fmla="*/ 215 h 289"/>
                  <a:gd name="T8" fmla="*/ 170 w 302"/>
                  <a:gd name="T9" fmla="*/ 193 h 289"/>
                  <a:gd name="T10" fmla="*/ 131 w 302"/>
                  <a:gd name="T11" fmla="*/ 140 h 289"/>
                  <a:gd name="T12" fmla="*/ 119 w 302"/>
                  <a:gd name="T13" fmla="*/ 98 h 289"/>
                  <a:gd name="T14" fmla="*/ 158 w 302"/>
                  <a:gd name="T15" fmla="*/ 101 h 289"/>
                  <a:gd name="T16" fmla="*/ 196 w 302"/>
                  <a:gd name="T17" fmla="*/ 101 h 289"/>
                  <a:gd name="T18" fmla="*/ 244 w 302"/>
                  <a:gd name="T19" fmla="*/ 94 h 289"/>
                  <a:gd name="T20" fmla="*/ 277 w 302"/>
                  <a:gd name="T21" fmla="*/ 110 h 289"/>
                  <a:gd name="T22" fmla="*/ 293 w 302"/>
                  <a:gd name="T23" fmla="*/ 91 h 289"/>
                  <a:gd name="T24" fmla="*/ 295 w 302"/>
                  <a:gd name="T25" fmla="*/ 77 h 289"/>
                  <a:gd name="T26" fmla="*/ 283 w 302"/>
                  <a:gd name="T27" fmla="*/ 67 h 289"/>
                  <a:gd name="T28" fmla="*/ 275 w 302"/>
                  <a:gd name="T29" fmla="*/ 53 h 289"/>
                  <a:gd name="T30" fmla="*/ 250 w 302"/>
                  <a:gd name="T31" fmla="*/ 44 h 289"/>
                  <a:gd name="T32" fmla="*/ 204 w 302"/>
                  <a:gd name="T33" fmla="*/ 44 h 289"/>
                  <a:gd name="T34" fmla="*/ 186 w 302"/>
                  <a:gd name="T35" fmla="*/ 30 h 289"/>
                  <a:gd name="T36" fmla="*/ 145 w 302"/>
                  <a:gd name="T37" fmla="*/ 4 h 289"/>
                  <a:gd name="T38" fmla="*/ 133 w 302"/>
                  <a:gd name="T39" fmla="*/ 7 h 289"/>
                  <a:gd name="T40" fmla="*/ 109 w 302"/>
                  <a:gd name="T41" fmla="*/ 25 h 289"/>
                  <a:gd name="T42" fmla="*/ 91 w 302"/>
                  <a:gd name="T43" fmla="*/ 64 h 289"/>
                  <a:gd name="T44" fmla="*/ 85 w 302"/>
                  <a:gd name="T45" fmla="*/ 90 h 289"/>
                  <a:gd name="T46" fmla="*/ 62 w 302"/>
                  <a:gd name="T47" fmla="*/ 86 h 289"/>
                  <a:gd name="T48" fmla="*/ 54 w 302"/>
                  <a:gd name="T49" fmla="*/ 76 h 289"/>
                  <a:gd name="T50" fmla="*/ 47 w 302"/>
                  <a:gd name="T51" fmla="*/ 88 h 289"/>
                  <a:gd name="T52" fmla="*/ 34 w 302"/>
                  <a:gd name="T53" fmla="*/ 89 h 289"/>
                  <a:gd name="T54" fmla="*/ 20 w 302"/>
                  <a:gd name="T55" fmla="*/ 89 h 289"/>
                  <a:gd name="T56" fmla="*/ 1 w 302"/>
                  <a:gd name="T57" fmla="*/ 95 h 289"/>
                  <a:gd name="T58" fmla="*/ 16 w 302"/>
                  <a:gd name="T59" fmla="*/ 122 h 289"/>
                  <a:gd name="T60" fmla="*/ 34 w 302"/>
                  <a:gd name="T61" fmla="*/ 115 h 289"/>
                  <a:gd name="T62" fmla="*/ 52 w 302"/>
                  <a:gd name="T63" fmla="*/ 97 h 289"/>
                  <a:gd name="T64" fmla="*/ 76 w 302"/>
                  <a:gd name="T65" fmla="*/ 112 h 289"/>
                  <a:gd name="T66" fmla="*/ 88 w 302"/>
                  <a:gd name="T67" fmla="*/ 145 h 289"/>
                  <a:gd name="T68" fmla="*/ 103 w 302"/>
                  <a:gd name="T69" fmla="*/ 168 h 289"/>
                  <a:gd name="T70" fmla="*/ 121 w 302"/>
                  <a:gd name="T71" fmla="*/ 199 h 289"/>
                  <a:gd name="T72" fmla="*/ 192 w 302"/>
                  <a:gd name="T73" fmla="*/ 229 h 289"/>
                  <a:gd name="T74" fmla="*/ 209 w 302"/>
                  <a:gd name="T75" fmla="*/ 246 h 289"/>
                  <a:gd name="T76" fmla="*/ 239 w 302"/>
                  <a:gd name="T77" fmla="*/ 266 h 289"/>
                  <a:gd name="T78" fmla="*/ 262 w 302"/>
                  <a:gd name="T79" fmla="*/ 278 h 289"/>
                  <a:gd name="T80" fmla="*/ 275 w 302"/>
                  <a:gd name="T81" fmla="*/ 289 h 289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w 302"/>
                  <a:gd name="T124" fmla="*/ 0 h 289"/>
                  <a:gd name="T125" fmla="*/ 302 w 302"/>
                  <a:gd name="T126" fmla="*/ 289 h 289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T123" t="T124" r="T125" b="T126"/>
                <a:pathLst>
                  <a:path w="302" h="289">
                    <a:moveTo>
                      <a:pt x="275" y="289"/>
                    </a:moveTo>
                    <a:cubicBezTo>
                      <a:pt x="272" y="273"/>
                      <a:pt x="260" y="274"/>
                      <a:pt x="248" y="268"/>
                    </a:cubicBezTo>
                    <a:cubicBezTo>
                      <a:pt x="246" y="265"/>
                      <a:pt x="243" y="262"/>
                      <a:pt x="241" y="260"/>
                    </a:cubicBezTo>
                    <a:cubicBezTo>
                      <a:pt x="239" y="258"/>
                      <a:pt x="235" y="256"/>
                      <a:pt x="235" y="256"/>
                    </a:cubicBezTo>
                    <a:cubicBezTo>
                      <a:pt x="233" y="251"/>
                      <a:pt x="231" y="248"/>
                      <a:pt x="226" y="246"/>
                    </a:cubicBezTo>
                    <a:cubicBezTo>
                      <a:pt x="224" y="245"/>
                      <a:pt x="220" y="244"/>
                      <a:pt x="220" y="244"/>
                    </a:cubicBezTo>
                    <a:cubicBezTo>
                      <a:pt x="213" y="237"/>
                      <a:pt x="210" y="232"/>
                      <a:pt x="204" y="223"/>
                    </a:cubicBezTo>
                    <a:cubicBezTo>
                      <a:pt x="199" y="218"/>
                      <a:pt x="196" y="218"/>
                      <a:pt x="192" y="215"/>
                    </a:cubicBezTo>
                    <a:cubicBezTo>
                      <a:pt x="190" y="206"/>
                      <a:pt x="189" y="204"/>
                      <a:pt x="180" y="203"/>
                    </a:cubicBezTo>
                    <a:cubicBezTo>
                      <a:pt x="175" y="201"/>
                      <a:pt x="175" y="196"/>
                      <a:pt x="170" y="193"/>
                    </a:cubicBezTo>
                    <a:cubicBezTo>
                      <a:pt x="158" y="185"/>
                      <a:pt x="152" y="173"/>
                      <a:pt x="145" y="162"/>
                    </a:cubicBezTo>
                    <a:cubicBezTo>
                      <a:pt x="141" y="154"/>
                      <a:pt x="137" y="146"/>
                      <a:pt x="131" y="140"/>
                    </a:cubicBezTo>
                    <a:cubicBezTo>
                      <a:pt x="127" y="136"/>
                      <a:pt x="119" y="131"/>
                      <a:pt x="119" y="131"/>
                    </a:cubicBezTo>
                    <a:cubicBezTo>
                      <a:pt x="115" y="120"/>
                      <a:pt x="115" y="110"/>
                      <a:pt x="119" y="98"/>
                    </a:cubicBezTo>
                    <a:cubicBezTo>
                      <a:pt x="129" y="100"/>
                      <a:pt x="132" y="105"/>
                      <a:pt x="140" y="110"/>
                    </a:cubicBezTo>
                    <a:cubicBezTo>
                      <a:pt x="153" y="109"/>
                      <a:pt x="150" y="107"/>
                      <a:pt x="158" y="101"/>
                    </a:cubicBezTo>
                    <a:cubicBezTo>
                      <a:pt x="160" y="98"/>
                      <a:pt x="162" y="96"/>
                      <a:pt x="166" y="95"/>
                    </a:cubicBezTo>
                    <a:cubicBezTo>
                      <a:pt x="181" y="96"/>
                      <a:pt x="184" y="97"/>
                      <a:pt x="196" y="101"/>
                    </a:cubicBezTo>
                    <a:cubicBezTo>
                      <a:pt x="209" y="100"/>
                      <a:pt x="219" y="98"/>
                      <a:pt x="232" y="97"/>
                    </a:cubicBezTo>
                    <a:cubicBezTo>
                      <a:pt x="236" y="96"/>
                      <a:pt x="244" y="94"/>
                      <a:pt x="244" y="94"/>
                    </a:cubicBezTo>
                    <a:cubicBezTo>
                      <a:pt x="250" y="96"/>
                      <a:pt x="262" y="96"/>
                      <a:pt x="268" y="97"/>
                    </a:cubicBezTo>
                    <a:cubicBezTo>
                      <a:pt x="274" y="103"/>
                      <a:pt x="269" y="109"/>
                      <a:pt x="277" y="110"/>
                    </a:cubicBezTo>
                    <a:cubicBezTo>
                      <a:pt x="284" y="113"/>
                      <a:pt x="286" y="111"/>
                      <a:pt x="292" y="107"/>
                    </a:cubicBezTo>
                    <a:cubicBezTo>
                      <a:pt x="293" y="102"/>
                      <a:pt x="290" y="96"/>
                      <a:pt x="293" y="91"/>
                    </a:cubicBezTo>
                    <a:cubicBezTo>
                      <a:pt x="295" y="88"/>
                      <a:pt x="302" y="84"/>
                      <a:pt x="302" y="84"/>
                    </a:cubicBezTo>
                    <a:cubicBezTo>
                      <a:pt x="301" y="79"/>
                      <a:pt x="300" y="79"/>
                      <a:pt x="295" y="77"/>
                    </a:cubicBezTo>
                    <a:cubicBezTo>
                      <a:pt x="293" y="73"/>
                      <a:pt x="288" y="71"/>
                      <a:pt x="284" y="70"/>
                    </a:cubicBezTo>
                    <a:cubicBezTo>
                      <a:pt x="284" y="69"/>
                      <a:pt x="284" y="68"/>
                      <a:pt x="283" y="67"/>
                    </a:cubicBezTo>
                    <a:cubicBezTo>
                      <a:pt x="282" y="66"/>
                      <a:pt x="280" y="67"/>
                      <a:pt x="280" y="66"/>
                    </a:cubicBezTo>
                    <a:cubicBezTo>
                      <a:pt x="274" y="51"/>
                      <a:pt x="282" y="58"/>
                      <a:pt x="275" y="53"/>
                    </a:cubicBezTo>
                    <a:cubicBezTo>
                      <a:pt x="272" y="44"/>
                      <a:pt x="272" y="47"/>
                      <a:pt x="271" y="34"/>
                    </a:cubicBezTo>
                    <a:cubicBezTo>
                      <a:pt x="263" y="37"/>
                      <a:pt x="258" y="41"/>
                      <a:pt x="250" y="44"/>
                    </a:cubicBezTo>
                    <a:cubicBezTo>
                      <a:pt x="248" y="45"/>
                      <a:pt x="244" y="48"/>
                      <a:pt x="244" y="48"/>
                    </a:cubicBezTo>
                    <a:cubicBezTo>
                      <a:pt x="230" y="47"/>
                      <a:pt x="218" y="46"/>
                      <a:pt x="204" y="44"/>
                    </a:cubicBezTo>
                    <a:cubicBezTo>
                      <a:pt x="201" y="41"/>
                      <a:pt x="200" y="36"/>
                      <a:pt x="196" y="35"/>
                    </a:cubicBezTo>
                    <a:cubicBezTo>
                      <a:pt x="193" y="31"/>
                      <a:pt x="191" y="31"/>
                      <a:pt x="186" y="30"/>
                    </a:cubicBezTo>
                    <a:cubicBezTo>
                      <a:pt x="183" y="22"/>
                      <a:pt x="163" y="16"/>
                      <a:pt x="155" y="13"/>
                    </a:cubicBezTo>
                    <a:cubicBezTo>
                      <a:pt x="150" y="6"/>
                      <a:pt x="150" y="6"/>
                      <a:pt x="145" y="4"/>
                    </a:cubicBezTo>
                    <a:cubicBezTo>
                      <a:pt x="145" y="4"/>
                      <a:pt x="141" y="0"/>
                      <a:pt x="139" y="1"/>
                    </a:cubicBezTo>
                    <a:cubicBezTo>
                      <a:pt x="137" y="2"/>
                      <a:pt x="133" y="7"/>
                      <a:pt x="133" y="7"/>
                    </a:cubicBezTo>
                    <a:cubicBezTo>
                      <a:pt x="132" y="13"/>
                      <a:pt x="126" y="19"/>
                      <a:pt x="119" y="22"/>
                    </a:cubicBezTo>
                    <a:cubicBezTo>
                      <a:pt x="116" y="23"/>
                      <a:pt x="109" y="25"/>
                      <a:pt x="109" y="25"/>
                    </a:cubicBezTo>
                    <a:cubicBezTo>
                      <a:pt x="104" y="32"/>
                      <a:pt x="107" y="41"/>
                      <a:pt x="110" y="49"/>
                    </a:cubicBezTo>
                    <a:cubicBezTo>
                      <a:pt x="108" y="54"/>
                      <a:pt x="96" y="58"/>
                      <a:pt x="91" y="64"/>
                    </a:cubicBezTo>
                    <a:cubicBezTo>
                      <a:pt x="93" y="71"/>
                      <a:pt x="94" y="74"/>
                      <a:pt x="95" y="82"/>
                    </a:cubicBezTo>
                    <a:cubicBezTo>
                      <a:pt x="92" y="84"/>
                      <a:pt x="88" y="89"/>
                      <a:pt x="85" y="90"/>
                    </a:cubicBezTo>
                    <a:cubicBezTo>
                      <a:pt x="78" y="89"/>
                      <a:pt x="78" y="89"/>
                      <a:pt x="76" y="83"/>
                    </a:cubicBezTo>
                    <a:cubicBezTo>
                      <a:pt x="71" y="84"/>
                      <a:pt x="67" y="85"/>
                      <a:pt x="62" y="86"/>
                    </a:cubicBezTo>
                    <a:cubicBezTo>
                      <a:pt x="52" y="84"/>
                      <a:pt x="63" y="88"/>
                      <a:pt x="56" y="72"/>
                    </a:cubicBezTo>
                    <a:cubicBezTo>
                      <a:pt x="55" y="71"/>
                      <a:pt x="55" y="75"/>
                      <a:pt x="54" y="76"/>
                    </a:cubicBezTo>
                    <a:cubicBezTo>
                      <a:pt x="52" y="79"/>
                      <a:pt x="52" y="79"/>
                      <a:pt x="49" y="82"/>
                    </a:cubicBezTo>
                    <a:cubicBezTo>
                      <a:pt x="48" y="84"/>
                      <a:pt x="48" y="86"/>
                      <a:pt x="47" y="88"/>
                    </a:cubicBezTo>
                    <a:cubicBezTo>
                      <a:pt x="46" y="90"/>
                      <a:pt x="41" y="90"/>
                      <a:pt x="41" y="90"/>
                    </a:cubicBezTo>
                    <a:cubicBezTo>
                      <a:pt x="39" y="90"/>
                      <a:pt x="36" y="90"/>
                      <a:pt x="34" y="89"/>
                    </a:cubicBezTo>
                    <a:cubicBezTo>
                      <a:pt x="33" y="89"/>
                      <a:pt x="33" y="86"/>
                      <a:pt x="32" y="86"/>
                    </a:cubicBezTo>
                    <a:cubicBezTo>
                      <a:pt x="28" y="86"/>
                      <a:pt x="20" y="89"/>
                      <a:pt x="20" y="89"/>
                    </a:cubicBezTo>
                    <a:cubicBezTo>
                      <a:pt x="15" y="92"/>
                      <a:pt x="10" y="95"/>
                      <a:pt x="5" y="96"/>
                    </a:cubicBezTo>
                    <a:cubicBezTo>
                      <a:pt x="4" y="96"/>
                      <a:pt x="0" y="95"/>
                      <a:pt x="1" y="95"/>
                    </a:cubicBezTo>
                    <a:cubicBezTo>
                      <a:pt x="3" y="95"/>
                      <a:pt x="5" y="94"/>
                      <a:pt x="6" y="96"/>
                    </a:cubicBezTo>
                    <a:cubicBezTo>
                      <a:pt x="12" y="113"/>
                      <a:pt x="3" y="113"/>
                      <a:pt x="16" y="122"/>
                    </a:cubicBezTo>
                    <a:cubicBezTo>
                      <a:pt x="18" y="127"/>
                      <a:pt x="18" y="133"/>
                      <a:pt x="22" y="136"/>
                    </a:cubicBezTo>
                    <a:cubicBezTo>
                      <a:pt x="30" y="132"/>
                      <a:pt x="30" y="123"/>
                      <a:pt x="34" y="115"/>
                    </a:cubicBezTo>
                    <a:cubicBezTo>
                      <a:pt x="35" y="109"/>
                      <a:pt x="35" y="104"/>
                      <a:pt x="40" y="101"/>
                    </a:cubicBezTo>
                    <a:cubicBezTo>
                      <a:pt x="45" y="94"/>
                      <a:pt x="44" y="94"/>
                      <a:pt x="52" y="97"/>
                    </a:cubicBezTo>
                    <a:cubicBezTo>
                      <a:pt x="55" y="101"/>
                      <a:pt x="64" y="104"/>
                      <a:pt x="64" y="104"/>
                    </a:cubicBezTo>
                    <a:cubicBezTo>
                      <a:pt x="67" y="108"/>
                      <a:pt x="72" y="109"/>
                      <a:pt x="76" y="112"/>
                    </a:cubicBezTo>
                    <a:cubicBezTo>
                      <a:pt x="78" y="113"/>
                      <a:pt x="82" y="114"/>
                      <a:pt x="82" y="114"/>
                    </a:cubicBezTo>
                    <a:cubicBezTo>
                      <a:pt x="75" y="123"/>
                      <a:pt x="78" y="138"/>
                      <a:pt x="88" y="145"/>
                    </a:cubicBezTo>
                    <a:cubicBezTo>
                      <a:pt x="90" y="151"/>
                      <a:pt x="90" y="153"/>
                      <a:pt x="95" y="156"/>
                    </a:cubicBezTo>
                    <a:cubicBezTo>
                      <a:pt x="96" y="161"/>
                      <a:pt x="98" y="165"/>
                      <a:pt x="103" y="168"/>
                    </a:cubicBezTo>
                    <a:cubicBezTo>
                      <a:pt x="104" y="174"/>
                      <a:pt x="107" y="186"/>
                      <a:pt x="112" y="191"/>
                    </a:cubicBezTo>
                    <a:cubicBezTo>
                      <a:pt x="115" y="194"/>
                      <a:pt x="121" y="199"/>
                      <a:pt x="121" y="199"/>
                    </a:cubicBezTo>
                    <a:cubicBezTo>
                      <a:pt x="122" y="203"/>
                      <a:pt x="126" y="208"/>
                      <a:pt x="130" y="210"/>
                    </a:cubicBezTo>
                    <a:cubicBezTo>
                      <a:pt x="136" y="233"/>
                      <a:pt x="173" y="228"/>
                      <a:pt x="192" y="229"/>
                    </a:cubicBezTo>
                    <a:cubicBezTo>
                      <a:pt x="195" y="231"/>
                      <a:pt x="202" y="236"/>
                      <a:pt x="202" y="236"/>
                    </a:cubicBezTo>
                    <a:cubicBezTo>
                      <a:pt x="203" y="240"/>
                      <a:pt x="205" y="245"/>
                      <a:pt x="209" y="246"/>
                    </a:cubicBezTo>
                    <a:cubicBezTo>
                      <a:pt x="212" y="252"/>
                      <a:pt x="221" y="257"/>
                      <a:pt x="226" y="262"/>
                    </a:cubicBezTo>
                    <a:cubicBezTo>
                      <a:pt x="229" y="265"/>
                      <a:pt x="239" y="266"/>
                      <a:pt x="239" y="266"/>
                    </a:cubicBezTo>
                    <a:cubicBezTo>
                      <a:pt x="242" y="270"/>
                      <a:pt x="246" y="274"/>
                      <a:pt x="251" y="275"/>
                    </a:cubicBezTo>
                    <a:cubicBezTo>
                      <a:pt x="255" y="276"/>
                      <a:pt x="262" y="278"/>
                      <a:pt x="262" y="278"/>
                    </a:cubicBezTo>
                    <a:cubicBezTo>
                      <a:pt x="264" y="280"/>
                      <a:pt x="265" y="281"/>
                      <a:pt x="266" y="282"/>
                    </a:cubicBezTo>
                    <a:lnTo>
                      <a:pt x="275" y="289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</p:grpSp>
        <p:grpSp>
          <p:nvGrpSpPr>
            <p:cNvPr id="264" name="Group 46"/>
            <p:cNvGrpSpPr>
              <a:grpSpLocks/>
            </p:cNvGrpSpPr>
            <p:nvPr/>
          </p:nvGrpSpPr>
          <p:grpSpPr bwMode="auto">
            <a:xfrm>
              <a:off x="2362" y="3183"/>
              <a:ext cx="666" cy="766"/>
              <a:chOff x="1971" y="6871"/>
              <a:chExt cx="2639" cy="3027"/>
            </a:xfrm>
            <a:grpFill/>
          </p:grpSpPr>
          <p:sp>
            <p:nvSpPr>
              <p:cNvPr id="340" name="Freeform 47"/>
              <p:cNvSpPr>
                <a:spLocks noChangeAspect="1"/>
              </p:cNvSpPr>
              <p:nvPr/>
            </p:nvSpPr>
            <p:spPr bwMode="auto">
              <a:xfrm>
                <a:off x="3259" y="9410"/>
                <a:ext cx="764" cy="488"/>
              </a:xfrm>
              <a:custGeom>
                <a:avLst/>
                <a:gdLst>
                  <a:gd name="T0" fmla="*/ 2147483647 w 191"/>
                  <a:gd name="T1" fmla="*/ 0 h 122"/>
                  <a:gd name="T2" fmla="*/ 2147483647 w 191"/>
                  <a:gd name="T3" fmla="*/ 2147483647 h 122"/>
                  <a:gd name="T4" fmla="*/ 2147483647 w 191"/>
                  <a:gd name="T5" fmla="*/ 2147483647 h 122"/>
                  <a:gd name="T6" fmla="*/ 2147483647 w 191"/>
                  <a:gd name="T7" fmla="*/ 2147483647 h 122"/>
                  <a:gd name="T8" fmla="*/ 2147483647 w 191"/>
                  <a:gd name="T9" fmla="*/ 2147483647 h 122"/>
                  <a:gd name="T10" fmla="*/ 2147483647 w 191"/>
                  <a:gd name="T11" fmla="*/ 2147483647 h 122"/>
                  <a:gd name="T12" fmla="*/ 2147483647 w 191"/>
                  <a:gd name="T13" fmla="*/ 2147483647 h 122"/>
                  <a:gd name="T14" fmla="*/ 2147483647 w 191"/>
                  <a:gd name="T15" fmla="*/ 2147483647 h 122"/>
                  <a:gd name="T16" fmla="*/ 2147483647 w 191"/>
                  <a:gd name="T17" fmla="*/ 2147483647 h 122"/>
                  <a:gd name="T18" fmla="*/ 2147483647 w 191"/>
                  <a:gd name="T19" fmla="*/ 2147483647 h 122"/>
                  <a:gd name="T20" fmla="*/ 2147483647 w 191"/>
                  <a:gd name="T21" fmla="*/ 2147483647 h 122"/>
                  <a:gd name="T22" fmla="*/ 2147483647 w 191"/>
                  <a:gd name="T23" fmla="*/ 2147483647 h 122"/>
                  <a:gd name="T24" fmla="*/ 2147483647 w 191"/>
                  <a:gd name="T25" fmla="*/ 2147483647 h 122"/>
                  <a:gd name="T26" fmla="*/ 2147483647 w 191"/>
                  <a:gd name="T27" fmla="*/ 2147483647 h 122"/>
                  <a:gd name="T28" fmla="*/ 2147483647 w 191"/>
                  <a:gd name="T29" fmla="*/ 2147483647 h 122"/>
                  <a:gd name="T30" fmla="*/ 0 w 191"/>
                  <a:gd name="T31" fmla="*/ 2147483647 h 122"/>
                  <a:gd name="T32" fmla="*/ 2147483647 w 191"/>
                  <a:gd name="T33" fmla="*/ 2147483647 h 122"/>
                  <a:gd name="T34" fmla="*/ 2147483647 w 191"/>
                  <a:gd name="T35" fmla="*/ 2147483647 h 122"/>
                  <a:gd name="T36" fmla="*/ 2147483647 w 191"/>
                  <a:gd name="T37" fmla="*/ 2147483647 h 122"/>
                  <a:gd name="T38" fmla="*/ 2147483647 w 191"/>
                  <a:gd name="T39" fmla="*/ 2147483647 h 122"/>
                  <a:gd name="T40" fmla="*/ 2147483647 w 191"/>
                  <a:gd name="T41" fmla="*/ 2147483647 h 122"/>
                  <a:gd name="T42" fmla="*/ 2147483647 w 191"/>
                  <a:gd name="T43" fmla="*/ 2147483647 h 122"/>
                  <a:gd name="T44" fmla="*/ 2147483647 w 191"/>
                  <a:gd name="T45" fmla="*/ 2147483647 h 122"/>
                  <a:gd name="T46" fmla="*/ 2147483647 w 191"/>
                  <a:gd name="T47" fmla="*/ 2147483647 h 122"/>
                  <a:gd name="T48" fmla="*/ 2147483647 w 191"/>
                  <a:gd name="T49" fmla="*/ 2147483647 h 122"/>
                  <a:gd name="T50" fmla="*/ 2147483647 w 191"/>
                  <a:gd name="T51" fmla="*/ 2147483647 h 122"/>
                  <a:gd name="T52" fmla="*/ 2147483647 w 191"/>
                  <a:gd name="T53" fmla="*/ 2147483647 h 122"/>
                  <a:gd name="T54" fmla="*/ 2147483647 w 191"/>
                  <a:gd name="T55" fmla="*/ 2147483647 h 122"/>
                  <a:gd name="T56" fmla="*/ 2147483647 w 191"/>
                  <a:gd name="T57" fmla="*/ 2147483647 h 122"/>
                  <a:gd name="T58" fmla="*/ 2147483647 w 191"/>
                  <a:gd name="T59" fmla="*/ 2147483647 h 122"/>
                  <a:gd name="T60" fmla="*/ 2147483647 w 191"/>
                  <a:gd name="T61" fmla="*/ 2147483647 h 122"/>
                  <a:gd name="T62" fmla="*/ 2147483647 w 191"/>
                  <a:gd name="T63" fmla="*/ 2147483647 h 122"/>
                  <a:gd name="T64" fmla="*/ 2147483647 w 191"/>
                  <a:gd name="T65" fmla="*/ 2147483647 h 122"/>
                  <a:gd name="T66" fmla="*/ 2147483647 w 191"/>
                  <a:gd name="T67" fmla="*/ 2147483647 h 122"/>
                  <a:gd name="T68" fmla="*/ 2147483647 w 191"/>
                  <a:gd name="T69" fmla="*/ 2147483647 h 122"/>
                  <a:gd name="T70" fmla="*/ 2147483647 w 191"/>
                  <a:gd name="T71" fmla="*/ 2147483647 h 122"/>
                  <a:gd name="T72" fmla="*/ 2147483647 w 191"/>
                  <a:gd name="T73" fmla="*/ 2147483647 h 122"/>
                  <a:gd name="T74" fmla="*/ 2147483647 w 191"/>
                  <a:gd name="T75" fmla="*/ 0 h 122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191"/>
                  <a:gd name="T115" fmla="*/ 0 h 122"/>
                  <a:gd name="T116" fmla="*/ 191 w 191"/>
                  <a:gd name="T117" fmla="*/ 122 h 122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191" h="122">
                    <a:moveTo>
                      <a:pt x="180" y="0"/>
                    </a:moveTo>
                    <a:cubicBezTo>
                      <a:pt x="174" y="2"/>
                      <a:pt x="171" y="6"/>
                      <a:pt x="165" y="8"/>
                    </a:cubicBezTo>
                    <a:cubicBezTo>
                      <a:pt x="162" y="11"/>
                      <a:pt x="159" y="12"/>
                      <a:pt x="156" y="14"/>
                    </a:cubicBezTo>
                    <a:cubicBezTo>
                      <a:pt x="149" y="13"/>
                      <a:pt x="142" y="11"/>
                      <a:pt x="135" y="13"/>
                    </a:cubicBezTo>
                    <a:cubicBezTo>
                      <a:pt x="129" y="21"/>
                      <a:pt x="124" y="24"/>
                      <a:pt x="114" y="25"/>
                    </a:cubicBezTo>
                    <a:cubicBezTo>
                      <a:pt x="107" y="27"/>
                      <a:pt x="104" y="26"/>
                      <a:pt x="97" y="24"/>
                    </a:cubicBezTo>
                    <a:cubicBezTo>
                      <a:pt x="89" y="25"/>
                      <a:pt x="86" y="30"/>
                      <a:pt x="78" y="33"/>
                    </a:cubicBezTo>
                    <a:cubicBezTo>
                      <a:pt x="71" y="31"/>
                      <a:pt x="72" y="27"/>
                      <a:pt x="63" y="26"/>
                    </a:cubicBezTo>
                    <a:cubicBezTo>
                      <a:pt x="63" y="24"/>
                      <a:pt x="63" y="22"/>
                      <a:pt x="62" y="21"/>
                    </a:cubicBezTo>
                    <a:cubicBezTo>
                      <a:pt x="61" y="20"/>
                      <a:pt x="59" y="21"/>
                      <a:pt x="58" y="20"/>
                    </a:cubicBezTo>
                    <a:cubicBezTo>
                      <a:pt x="51" y="11"/>
                      <a:pt x="61" y="15"/>
                      <a:pt x="52" y="13"/>
                    </a:cubicBezTo>
                    <a:cubicBezTo>
                      <a:pt x="46" y="15"/>
                      <a:pt x="45" y="17"/>
                      <a:pt x="38" y="18"/>
                    </a:cubicBezTo>
                    <a:cubicBezTo>
                      <a:pt x="36" y="24"/>
                      <a:pt x="36" y="25"/>
                      <a:pt x="30" y="27"/>
                    </a:cubicBezTo>
                    <a:cubicBezTo>
                      <a:pt x="21" y="26"/>
                      <a:pt x="25" y="21"/>
                      <a:pt x="18" y="19"/>
                    </a:cubicBezTo>
                    <a:cubicBezTo>
                      <a:pt x="13" y="28"/>
                      <a:pt x="18" y="26"/>
                      <a:pt x="3" y="27"/>
                    </a:cubicBezTo>
                    <a:cubicBezTo>
                      <a:pt x="2" y="28"/>
                      <a:pt x="0" y="31"/>
                      <a:pt x="0" y="33"/>
                    </a:cubicBezTo>
                    <a:cubicBezTo>
                      <a:pt x="0" y="35"/>
                      <a:pt x="2" y="39"/>
                      <a:pt x="2" y="39"/>
                    </a:cubicBezTo>
                    <a:cubicBezTo>
                      <a:pt x="2" y="44"/>
                      <a:pt x="1" y="50"/>
                      <a:pt x="3" y="55"/>
                    </a:cubicBezTo>
                    <a:cubicBezTo>
                      <a:pt x="4" y="57"/>
                      <a:pt x="9" y="57"/>
                      <a:pt x="9" y="57"/>
                    </a:cubicBezTo>
                    <a:cubicBezTo>
                      <a:pt x="11" y="62"/>
                      <a:pt x="13" y="64"/>
                      <a:pt x="18" y="66"/>
                    </a:cubicBezTo>
                    <a:cubicBezTo>
                      <a:pt x="28" y="64"/>
                      <a:pt x="25" y="63"/>
                      <a:pt x="36" y="65"/>
                    </a:cubicBezTo>
                    <a:cubicBezTo>
                      <a:pt x="39" y="67"/>
                      <a:pt x="42" y="68"/>
                      <a:pt x="46" y="69"/>
                    </a:cubicBezTo>
                    <a:cubicBezTo>
                      <a:pt x="49" y="71"/>
                      <a:pt x="55" y="73"/>
                      <a:pt x="55" y="73"/>
                    </a:cubicBezTo>
                    <a:cubicBezTo>
                      <a:pt x="58" y="84"/>
                      <a:pt x="61" y="84"/>
                      <a:pt x="72" y="85"/>
                    </a:cubicBezTo>
                    <a:cubicBezTo>
                      <a:pt x="78" y="87"/>
                      <a:pt x="77" y="91"/>
                      <a:pt x="82" y="92"/>
                    </a:cubicBezTo>
                    <a:cubicBezTo>
                      <a:pt x="91" y="95"/>
                      <a:pt x="101" y="94"/>
                      <a:pt x="111" y="95"/>
                    </a:cubicBezTo>
                    <a:cubicBezTo>
                      <a:pt x="113" y="101"/>
                      <a:pt x="116" y="100"/>
                      <a:pt x="121" y="103"/>
                    </a:cubicBezTo>
                    <a:cubicBezTo>
                      <a:pt x="123" y="113"/>
                      <a:pt x="126" y="117"/>
                      <a:pt x="136" y="120"/>
                    </a:cubicBezTo>
                    <a:cubicBezTo>
                      <a:pt x="150" y="118"/>
                      <a:pt x="150" y="119"/>
                      <a:pt x="164" y="122"/>
                    </a:cubicBezTo>
                    <a:cubicBezTo>
                      <a:pt x="166" y="119"/>
                      <a:pt x="164" y="111"/>
                      <a:pt x="164" y="111"/>
                    </a:cubicBezTo>
                    <a:cubicBezTo>
                      <a:pt x="165" y="106"/>
                      <a:pt x="165" y="105"/>
                      <a:pt x="169" y="102"/>
                    </a:cubicBezTo>
                    <a:cubicBezTo>
                      <a:pt x="172" y="98"/>
                      <a:pt x="175" y="98"/>
                      <a:pt x="177" y="92"/>
                    </a:cubicBezTo>
                    <a:cubicBezTo>
                      <a:pt x="176" y="88"/>
                      <a:pt x="174" y="86"/>
                      <a:pt x="171" y="84"/>
                    </a:cubicBezTo>
                    <a:cubicBezTo>
                      <a:pt x="168" y="75"/>
                      <a:pt x="170" y="75"/>
                      <a:pt x="160" y="73"/>
                    </a:cubicBezTo>
                    <a:cubicBezTo>
                      <a:pt x="162" y="68"/>
                      <a:pt x="162" y="61"/>
                      <a:pt x="164" y="56"/>
                    </a:cubicBezTo>
                    <a:cubicBezTo>
                      <a:pt x="165" y="54"/>
                      <a:pt x="168" y="50"/>
                      <a:pt x="168" y="50"/>
                    </a:cubicBezTo>
                    <a:cubicBezTo>
                      <a:pt x="170" y="21"/>
                      <a:pt x="169" y="33"/>
                      <a:pt x="184" y="18"/>
                    </a:cubicBezTo>
                    <a:cubicBezTo>
                      <a:pt x="186" y="1"/>
                      <a:pt x="191" y="5"/>
                      <a:pt x="180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grpSp>
            <p:nvGrpSpPr>
              <p:cNvPr id="341" name="Group 48"/>
              <p:cNvGrpSpPr>
                <a:grpSpLocks noChangeAspect="1"/>
              </p:cNvGrpSpPr>
              <p:nvPr/>
            </p:nvGrpSpPr>
            <p:grpSpPr bwMode="auto">
              <a:xfrm>
                <a:off x="1971" y="6871"/>
                <a:ext cx="2639" cy="2667"/>
                <a:chOff x="2499" y="3020"/>
                <a:chExt cx="660" cy="667"/>
              </a:xfrm>
              <a:grpFill/>
            </p:grpSpPr>
            <p:sp>
              <p:nvSpPr>
                <p:cNvPr id="342" name="Freeform 49"/>
                <p:cNvSpPr>
                  <a:spLocks noChangeAspect="1"/>
                </p:cNvSpPr>
                <p:nvPr/>
              </p:nvSpPr>
              <p:spPr bwMode="auto">
                <a:xfrm>
                  <a:off x="2575" y="3447"/>
                  <a:ext cx="92" cy="181"/>
                </a:xfrm>
                <a:custGeom>
                  <a:avLst/>
                  <a:gdLst>
                    <a:gd name="T0" fmla="*/ 61 w 92"/>
                    <a:gd name="T1" fmla="*/ 0 h 181"/>
                    <a:gd name="T2" fmla="*/ 52 w 92"/>
                    <a:gd name="T3" fmla="*/ 6 h 181"/>
                    <a:gd name="T4" fmla="*/ 45 w 92"/>
                    <a:gd name="T5" fmla="*/ 13 h 181"/>
                    <a:gd name="T6" fmla="*/ 33 w 92"/>
                    <a:gd name="T7" fmla="*/ 24 h 181"/>
                    <a:gd name="T8" fmla="*/ 21 w 92"/>
                    <a:gd name="T9" fmla="*/ 30 h 181"/>
                    <a:gd name="T10" fmla="*/ 10 w 92"/>
                    <a:gd name="T11" fmla="*/ 29 h 181"/>
                    <a:gd name="T12" fmla="*/ 3 w 92"/>
                    <a:gd name="T13" fmla="*/ 18 h 181"/>
                    <a:gd name="T14" fmla="*/ 0 w 92"/>
                    <a:gd name="T15" fmla="*/ 36 h 181"/>
                    <a:gd name="T16" fmla="*/ 7 w 92"/>
                    <a:gd name="T17" fmla="*/ 49 h 181"/>
                    <a:gd name="T18" fmla="*/ 13 w 92"/>
                    <a:gd name="T19" fmla="*/ 58 h 181"/>
                    <a:gd name="T20" fmla="*/ 18 w 92"/>
                    <a:gd name="T21" fmla="*/ 76 h 181"/>
                    <a:gd name="T22" fmla="*/ 21 w 92"/>
                    <a:gd name="T23" fmla="*/ 106 h 181"/>
                    <a:gd name="T24" fmla="*/ 15 w 92"/>
                    <a:gd name="T25" fmla="*/ 118 h 181"/>
                    <a:gd name="T26" fmla="*/ 12 w 92"/>
                    <a:gd name="T27" fmla="*/ 132 h 181"/>
                    <a:gd name="T28" fmla="*/ 14 w 92"/>
                    <a:gd name="T29" fmla="*/ 145 h 181"/>
                    <a:gd name="T30" fmla="*/ 8 w 92"/>
                    <a:gd name="T31" fmla="*/ 154 h 181"/>
                    <a:gd name="T32" fmla="*/ 8 w 92"/>
                    <a:gd name="T33" fmla="*/ 168 h 181"/>
                    <a:gd name="T34" fmla="*/ 18 w 92"/>
                    <a:gd name="T35" fmla="*/ 165 h 181"/>
                    <a:gd name="T36" fmla="*/ 24 w 92"/>
                    <a:gd name="T37" fmla="*/ 177 h 181"/>
                    <a:gd name="T38" fmla="*/ 36 w 92"/>
                    <a:gd name="T39" fmla="*/ 180 h 181"/>
                    <a:gd name="T40" fmla="*/ 48 w 92"/>
                    <a:gd name="T41" fmla="*/ 159 h 181"/>
                    <a:gd name="T42" fmla="*/ 55 w 92"/>
                    <a:gd name="T43" fmla="*/ 154 h 181"/>
                    <a:gd name="T44" fmla="*/ 72 w 92"/>
                    <a:gd name="T45" fmla="*/ 160 h 181"/>
                    <a:gd name="T46" fmla="*/ 84 w 92"/>
                    <a:gd name="T47" fmla="*/ 145 h 181"/>
                    <a:gd name="T48" fmla="*/ 91 w 92"/>
                    <a:gd name="T49" fmla="*/ 96 h 181"/>
                    <a:gd name="T50" fmla="*/ 81 w 92"/>
                    <a:gd name="T51" fmla="*/ 72 h 181"/>
                    <a:gd name="T52" fmla="*/ 86 w 92"/>
                    <a:gd name="T53" fmla="*/ 63 h 181"/>
                    <a:gd name="T54" fmla="*/ 90 w 92"/>
                    <a:gd name="T55" fmla="*/ 57 h 181"/>
                    <a:gd name="T56" fmla="*/ 90 w 92"/>
                    <a:gd name="T57" fmla="*/ 28 h 181"/>
                    <a:gd name="T58" fmla="*/ 79 w 92"/>
                    <a:gd name="T59" fmla="*/ 21 h 181"/>
                    <a:gd name="T60" fmla="*/ 79 w 92"/>
                    <a:gd name="T61" fmla="*/ 4 h 181"/>
                    <a:gd name="T62" fmla="*/ 61 w 92"/>
                    <a:gd name="T63" fmla="*/ 0 h 181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92"/>
                    <a:gd name="T97" fmla="*/ 0 h 181"/>
                    <a:gd name="T98" fmla="*/ 92 w 92"/>
                    <a:gd name="T99" fmla="*/ 181 h 181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92" h="181">
                      <a:moveTo>
                        <a:pt x="61" y="0"/>
                      </a:moveTo>
                      <a:cubicBezTo>
                        <a:pt x="58" y="3"/>
                        <a:pt x="55" y="4"/>
                        <a:pt x="52" y="6"/>
                      </a:cubicBezTo>
                      <a:cubicBezTo>
                        <a:pt x="47" y="13"/>
                        <a:pt x="50" y="11"/>
                        <a:pt x="45" y="13"/>
                      </a:cubicBezTo>
                      <a:cubicBezTo>
                        <a:pt x="44" y="17"/>
                        <a:pt x="38" y="22"/>
                        <a:pt x="33" y="24"/>
                      </a:cubicBezTo>
                      <a:cubicBezTo>
                        <a:pt x="30" y="28"/>
                        <a:pt x="26" y="29"/>
                        <a:pt x="21" y="30"/>
                      </a:cubicBezTo>
                      <a:cubicBezTo>
                        <a:pt x="17" y="30"/>
                        <a:pt x="13" y="30"/>
                        <a:pt x="10" y="29"/>
                      </a:cubicBezTo>
                      <a:cubicBezTo>
                        <a:pt x="4" y="27"/>
                        <a:pt x="9" y="20"/>
                        <a:pt x="3" y="18"/>
                      </a:cubicBezTo>
                      <a:cubicBezTo>
                        <a:pt x="2" y="24"/>
                        <a:pt x="2" y="30"/>
                        <a:pt x="0" y="36"/>
                      </a:cubicBezTo>
                      <a:cubicBezTo>
                        <a:pt x="1" y="40"/>
                        <a:pt x="3" y="48"/>
                        <a:pt x="7" y="49"/>
                      </a:cubicBezTo>
                      <a:cubicBezTo>
                        <a:pt x="8" y="53"/>
                        <a:pt x="10" y="55"/>
                        <a:pt x="13" y="58"/>
                      </a:cubicBezTo>
                      <a:cubicBezTo>
                        <a:pt x="15" y="64"/>
                        <a:pt x="15" y="70"/>
                        <a:pt x="18" y="76"/>
                      </a:cubicBezTo>
                      <a:cubicBezTo>
                        <a:pt x="15" y="93"/>
                        <a:pt x="16" y="92"/>
                        <a:pt x="21" y="106"/>
                      </a:cubicBezTo>
                      <a:cubicBezTo>
                        <a:pt x="20" y="110"/>
                        <a:pt x="16" y="114"/>
                        <a:pt x="15" y="118"/>
                      </a:cubicBezTo>
                      <a:cubicBezTo>
                        <a:pt x="16" y="124"/>
                        <a:pt x="18" y="128"/>
                        <a:pt x="12" y="132"/>
                      </a:cubicBezTo>
                      <a:cubicBezTo>
                        <a:pt x="9" y="137"/>
                        <a:pt x="11" y="140"/>
                        <a:pt x="14" y="145"/>
                      </a:cubicBezTo>
                      <a:cubicBezTo>
                        <a:pt x="12" y="148"/>
                        <a:pt x="9" y="150"/>
                        <a:pt x="8" y="154"/>
                      </a:cubicBezTo>
                      <a:cubicBezTo>
                        <a:pt x="10" y="160"/>
                        <a:pt x="10" y="162"/>
                        <a:pt x="8" y="168"/>
                      </a:cubicBezTo>
                      <a:cubicBezTo>
                        <a:pt x="11" y="169"/>
                        <a:pt x="18" y="165"/>
                        <a:pt x="18" y="165"/>
                      </a:cubicBezTo>
                      <a:cubicBezTo>
                        <a:pt x="23" y="157"/>
                        <a:pt x="23" y="175"/>
                        <a:pt x="24" y="177"/>
                      </a:cubicBezTo>
                      <a:cubicBezTo>
                        <a:pt x="25" y="181"/>
                        <a:pt x="32" y="179"/>
                        <a:pt x="36" y="180"/>
                      </a:cubicBezTo>
                      <a:cubicBezTo>
                        <a:pt x="52" y="178"/>
                        <a:pt x="36" y="167"/>
                        <a:pt x="48" y="159"/>
                      </a:cubicBezTo>
                      <a:cubicBezTo>
                        <a:pt x="49" y="156"/>
                        <a:pt x="55" y="154"/>
                        <a:pt x="55" y="154"/>
                      </a:cubicBezTo>
                      <a:cubicBezTo>
                        <a:pt x="63" y="155"/>
                        <a:pt x="65" y="158"/>
                        <a:pt x="72" y="160"/>
                      </a:cubicBezTo>
                      <a:cubicBezTo>
                        <a:pt x="81" y="158"/>
                        <a:pt x="80" y="151"/>
                        <a:pt x="84" y="145"/>
                      </a:cubicBezTo>
                      <a:cubicBezTo>
                        <a:pt x="86" y="128"/>
                        <a:pt x="88" y="112"/>
                        <a:pt x="91" y="96"/>
                      </a:cubicBezTo>
                      <a:cubicBezTo>
                        <a:pt x="90" y="86"/>
                        <a:pt x="86" y="81"/>
                        <a:pt x="81" y="72"/>
                      </a:cubicBezTo>
                      <a:cubicBezTo>
                        <a:pt x="83" y="61"/>
                        <a:pt x="80" y="70"/>
                        <a:pt x="86" y="63"/>
                      </a:cubicBezTo>
                      <a:cubicBezTo>
                        <a:pt x="88" y="61"/>
                        <a:pt x="90" y="57"/>
                        <a:pt x="90" y="57"/>
                      </a:cubicBezTo>
                      <a:cubicBezTo>
                        <a:pt x="91" y="55"/>
                        <a:pt x="92" y="34"/>
                        <a:pt x="90" y="28"/>
                      </a:cubicBezTo>
                      <a:lnTo>
                        <a:pt x="79" y="21"/>
                      </a:lnTo>
                      <a:lnTo>
                        <a:pt x="79" y="4"/>
                      </a:lnTo>
                      <a:lnTo>
                        <a:pt x="61" y="0"/>
                      </a:lnTo>
                      <a:close/>
                    </a:path>
                  </a:pathLst>
                </a:custGeom>
                <a:grpFill/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orpoS" pitchFamily="2" charset="0"/>
                    <a:ea typeface="+mn-ea"/>
                  </a:endParaRPr>
                </a:p>
              </p:txBody>
            </p:sp>
            <p:sp>
              <p:nvSpPr>
                <p:cNvPr id="343" name="Freeform 50"/>
                <p:cNvSpPr>
                  <a:spLocks noChangeAspect="1"/>
                </p:cNvSpPr>
                <p:nvPr/>
              </p:nvSpPr>
              <p:spPr bwMode="auto">
                <a:xfrm>
                  <a:off x="2686" y="3330"/>
                  <a:ext cx="17" cy="14"/>
                </a:xfrm>
                <a:custGeom>
                  <a:avLst/>
                  <a:gdLst>
                    <a:gd name="T0" fmla="*/ 0 w 17"/>
                    <a:gd name="T1" fmla="*/ 3 h 14"/>
                    <a:gd name="T2" fmla="*/ 16 w 17"/>
                    <a:gd name="T3" fmla="*/ 2 h 14"/>
                    <a:gd name="T4" fmla="*/ 15 w 17"/>
                    <a:gd name="T5" fmla="*/ 14 h 14"/>
                    <a:gd name="T6" fmla="*/ 0 w 17"/>
                    <a:gd name="T7" fmla="*/ 3 h 14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7"/>
                    <a:gd name="T13" fmla="*/ 0 h 14"/>
                    <a:gd name="T14" fmla="*/ 17 w 17"/>
                    <a:gd name="T15" fmla="*/ 14 h 14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7" h="14">
                      <a:moveTo>
                        <a:pt x="0" y="3"/>
                      </a:moveTo>
                      <a:cubicBezTo>
                        <a:pt x="5" y="3"/>
                        <a:pt x="11" y="0"/>
                        <a:pt x="16" y="2"/>
                      </a:cubicBezTo>
                      <a:cubicBezTo>
                        <a:pt x="16" y="6"/>
                        <a:pt x="17" y="10"/>
                        <a:pt x="15" y="14"/>
                      </a:cubicBezTo>
                      <a:cubicBezTo>
                        <a:pt x="12" y="14"/>
                        <a:pt x="0" y="5"/>
                        <a:pt x="0" y="3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orpoS" pitchFamily="2" charset="0"/>
                    <a:ea typeface="+mn-ea"/>
                  </a:endParaRPr>
                </a:p>
              </p:txBody>
            </p:sp>
            <p:sp>
              <p:nvSpPr>
                <p:cNvPr id="344" name="Freeform 51"/>
                <p:cNvSpPr>
                  <a:spLocks noChangeAspect="1"/>
                </p:cNvSpPr>
                <p:nvPr/>
              </p:nvSpPr>
              <p:spPr bwMode="auto">
                <a:xfrm>
                  <a:off x="2499" y="3020"/>
                  <a:ext cx="660" cy="667"/>
                </a:xfrm>
                <a:custGeom>
                  <a:avLst/>
                  <a:gdLst>
                    <a:gd name="T0" fmla="*/ 355 w 660"/>
                    <a:gd name="T1" fmla="*/ 73 h 667"/>
                    <a:gd name="T2" fmla="*/ 353 w 660"/>
                    <a:gd name="T3" fmla="*/ 58 h 667"/>
                    <a:gd name="T4" fmla="*/ 302 w 660"/>
                    <a:gd name="T5" fmla="*/ 24 h 667"/>
                    <a:gd name="T6" fmla="*/ 280 w 660"/>
                    <a:gd name="T7" fmla="*/ 0 h 667"/>
                    <a:gd name="T8" fmla="*/ 211 w 660"/>
                    <a:gd name="T9" fmla="*/ 14 h 667"/>
                    <a:gd name="T10" fmla="*/ 184 w 660"/>
                    <a:gd name="T11" fmla="*/ 48 h 667"/>
                    <a:gd name="T12" fmla="*/ 155 w 660"/>
                    <a:gd name="T13" fmla="*/ 52 h 667"/>
                    <a:gd name="T14" fmla="*/ 137 w 660"/>
                    <a:gd name="T15" fmla="*/ 62 h 667"/>
                    <a:gd name="T16" fmla="*/ 118 w 660"/>
                    <a:gd name="T17" fmla="*/ 80 h 667"/>
                    <a:gd name="T18" fmla="*/ 88 w 660"/>
                    <a:gd name="T19" fmla="*/ 62 h 667"/>
                    <a:gd name="T20" fmla="*/ 53 w 660"/>
                    <a:gd name="T21" fmla="*/ 80 h 667"/>
                    <a:gd name="T22" fmla="*/ 22 w 660"/>
                    <a:gd name="T23" fmla="*/ 91 h 667"/>
                    <a:gd name="T24" fmla="*/ 5 w 660"/>
                    <a:gd name="T25" fmla="*/ 150 h 667"/>
                    <a:gd name="T26" fmla="*/ 32 w 660"/>
                    <a:gd name="T27" fmla="*/ 212 h 667"/>
                    <a:gd name="T28" fmla="*/ 64 w 660"/>
                    <a:gd name="T29" fmla="*/ 238 h 667"/>
                    <a:gd name="T30" fmla="*/ 100 w 660"/>
                    <a:gd name="T31" fmla="*/ 208 h 667"/>
                    <a:gd name="T32" fmla="*/ 131 w 660"/>
                    <a:gd name="T33" fmla="*/ 194 h 667"/>
                    <a:gd name="T34" fmla="*/ 176 w 660"/>
                    <a:gd name="T35" fmla="*/ 218 h 667"/>
                    <a:gd name="T36" fmla="*/ 236 w 660"/>
                    <a:gd name="T37" fmla="*/ 323 h 667"/>
                    <a:gd name="T38" fmla="*/ 266 w 660"/>
                    <a:gd name="T39" fmla="*/ 350 h 667"/>
                    <a:gd name="T40" fmla="*/ 335 w 660"/>
                    <a:gd name="T41" fmla="*/ 409 h 667"/>
                    <a:gd name="T42" fmla="*/ 388 w 660"/>
                    <a:gd name="T43" fmla="*/ 420 h 667"/>
                    <a:gd name="T44" fmla="*/ 424 w 660"/>
                    <a:gd name="T45" fmla="*/ 454 h 667"/>
                    <a:gd name="T46" fmla="*/ 502 w 660"/>
                    <a:gd name="T47" fmla="*/ 503 h 667"/>
                    <a:gd name="T48" fmla="*/ 535 w 660"/>
                    <a:gd name="T49" fmla="*/ 571 h 667"/>
                    <a:gd name="T50" fmla="*/ 527 w 660"/>
                    <a:gd name="T51" fmla="*/ 662 h 667"/>
                    <a:gd name="T52" fmla="*/ 551 w 660"/>
                    <a:gd name="T53" fmla="*/ 638 h 667"/>
                    <a:gd name="T54" fmla="*/ 592 w 660"/>
                    <a:gd name="T55" fmla="*/ 582 h 667"/>
                    <a:gd name="T56" fmla="*/ 557 w 660"/>
                    <a:gd name="T57" fmla="*/ 526 h 667"/>
                    <a:gd name="T58" fmla="*/ 583 w 660"/>
                    <a:gd name="T59" fmla="*/ 467 h 667"/>
                    <a:gd name="T60" fmla="*/ 635 w 660"/>
                    <a:gd name="T61" fmla="*/ 498 h 667"/>
                    <a:gd name="T62" fmla="*/ 659 w 660"/>
                    <a:gd name="T63" fmla="*/ 469 h 667"/>
                    <a:gd name="T64" fmla="*/ 608 w 660"/>
                    <a:gd name="T65" fmla="*/ 437 h 667"/>
                    <a:gd name="T66" fmla="*/ 566 w 660"/>
                    <a:gd name="T67" fmla="*/ 424 h 667"/>
                    <a:gd name="T68" fmla="*/ 516 w 660"/>
                    <a:gd name="T69" fmla="*/ 377 h 667"/>
                    <a:gd name="T70" fmla="*/ 469 w 660"/>
                    <a:gd name="T71" fmla="*/ 367 h 667"/>
                    <a:gd name="T72" fmla="*/ 398 w 660"/>
                    <a:gd name="T73" fmla="*/ 323 h 667"/>
                    <a:gd name="T74" fmla="*/ 350 w 660"/>
                    <a:gd name="T75" fmla="*/ 244 h 667"/>
                    <a:gd name="T76" fmla="*/ 314 w 660"/>
                    <a:gd name="T77" fmla="*/ 217 h 667"/>
                    <a:gd name="T78" fmla="*/ 305 w 660"/>
                    <a:gd name="T79" fmla="*/ 168 h 667"/>
                    <a:gd name="T80" fmla="*/ 299 w 660"/>
                    <a:gd name="T81" fmla="*/ 142 h 667"/>
                    <a:gd name="T82" fmla="*/ 336 w 660"/>
                    <a:gd name="T83" fmla="*/ 107 h 667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w 660"/>
                    <a:gd name="T127" fmla="*/ 0 h 667"/>
                    <a:gd name="T128" fmla="*/ 660 w 660"/>
                    <a:gd name="T129" fmla="*/ 667 h 667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T126" t="T127" r="T128" b="T129"/>
                  <a:pathLst>
                    <a:path w="660" h="667">
                      <a:moveTo>
                        <a:pt x="359" y="90"/>
                      </a:moveTo>
                      <a:cubicBezTo>
                        <a:pt x="360" y="87"/>
                        <a:pt x="362" y="80"/>
                        <a:pt x="362" y="80"/>
                      </a:cubicBezTo>
                      <a:cubicBezTo>
                        <a:pt x="360" y="75"/>
                        <a:pt x="360" y="74"/>
                        <a:pt x="355" y="73"/>
                      </a:cubicBezTo>
                      <a:cubicBezTo>
                        <a:pt x="354" y="71"/>
                        <a:pt x="356" y="69"/>
                        <a:pt x="357" y="68"/>
                      </a:cubicBezTo>
                      <a:cubicBezTo>
                        <a:pt x="358" y="67"/>
                        <a:pt x="361" y="66"/>
                        <a:pt x="360" y="64"/>
                      </a:cubicBezTo>
                      <a:cubicBezTo>
                        <a:pt x="359" y="61"/>
                        <a:pt x="353" y="58"/>
                        <a:pt x="353" y="58"/>
                      </a:cubicBezTo>
                      <a:cubicBezTo>
                        <a:pt x="352" y="54"/>
                        <a:pt x="365" y="41"/>
                        <a:pt x="358" y="36"/>
                      </a:cubicBezTo>
                      <a:cubicBezTo>
                        <a:pt x="345" y="32"/>
                        <a:pt x="327" y="33"/>
                        <a:pt x="314" y="30"/>
                      </a:cubicBezTo>
                      <a:cubicBezTo>
                        <a:pt x="310" y="28"/>
                        <a:pt x="302" y="24"/>
                        <a:pt x="302" y="24"/>
                      </a:cubicBezTo>
                      <a:cubicBezTo>
                        <a:pt x="299" y="21"/>
                        <a:pt x="294" y="14"/>
                        <a:pt x="294" y="14"/>
                      </a:cubicBezTo>
                      <a:cubicBezTo>
                        <a:pt x="293" y="10"/>
                        <a:pt x="293" y="7"/>
                        <a:pt x="289" y="6"/>
                      </a:cubicBezTo>
                      <a:cubicBezTo>
                        <a:pt x="286" y="1"/>
                        <a:pt x="285" y="1"/>
                        <a:pt x="280" y="0"/>
                      </a:cubicBezTo>
                      <a:cubicBezTo>
                        <a:pt x="266" y="5"/>
                        <a:pt x="257" y="6"/>
                        <a:pt x="241" y="7"/>
                      </a:cubicBezTo>
                      <a:cubicBezTo>
                        <a:pt x="238" y="11"/>
                        <a:pt x="236" y="15"/>
                        <a:pt x="233" y="19"/>
                      </a:cubicBezTo>
                      <a:cubicBezTo>
                        <a:pt x="224" y="18"/>
                        <a:pt x="219" y="18"/>
                        <a:pt x="211" y="14"/>
                      </a:cubicBezTo>
                      <a:cubicBezTo>
                        <a:pt x="199" y="19"/>
                        <a:pt x="206" y="22"/>
                        <a:pt x="200" y="31"/>
                      </a:cubicBezTo>
                      <a:cubicBezTo>
                        <a:pt x="198" y="38"/>
                        <a:pt x="195" y="36"/>
                        <a:pt x="188" y="37"/>
                      </a:cubicBezTo>
                      <a:cubicBezTo>
                        <a:pt x="187" y="41"/>
                        <a:pt x="185" y="44"/>
                        <a:pt x="184" y="48"/>
                      </a:cubicBezTo>
                      <a:cubicBezTo>
                        <a:pt x="182" y="51"/>
                        <a:pt x="177" y="51"/>
                        <a:pt x="174" y="53"/>
                      </a:cubicBezTo>
                      <a:cubicBezTo>
                        <a:pt x="171" y="54"/>
                        <a:pt x="164" y="61"/>
                        <a:pt x="164" y="61"/>
                      </a:cubicBezTo>
                      <a:cubicBezTo>
                        <a:pt x="162" y="54"/>
                        <a:pt x="162" y="54"/>
                        <a:pt x="155" y="52"/>
                      </a:cubicBezTo>
                      <a:cubicBezTo>
                        <a:pt x="154" y="50"/>
                        <a:pt x="154" y="48"/>
                        <a:pt x="151" y="48"/>
                      </a:cubicBezTo>
                      <a:cubicBezTo>
                        <a:pt x="149" y="48"/>
                        <a:pt x="145" y="50"/>
                        <a:pt x="145" y="50"/>
                      </a:cubicBezTo>
                      <a:cubicBezTo>
                        <a:pt x="143" y="55"/>
                        <a:pt x="141" y="58"/>
                        <a:pt x="137" y="62"/>
                      </a:cubicBezTo>
                      <a:cubicBezTo>
                        <a:pt x="135" y="69"/>
                        <a:pt x="131" y="75"/>
                        <a:pt x="128" y="82"/>
                      </a:cubicBezTo>
                      <a:cubicBezTo>
                        <a:pt x="126" y="86"/>
                        <a:pt x="124" y="94"/>
                        <a:pt x="124" y="94"/>
                      </a:cubicBezTo>
                      <a:cubicBezTo>
                        <a:pt x="122" y="92"/>
                        <a:pt x="118" y="80"/>
                        <a:pt x="118" y="80"/>
                      </a:cubicBezTo>
                      <a:cubicBezTo>
                        <a:pt x="117" y="71"/>
                        <a:pt x="119" y="68"/>
                        <a:pt x="110" y="66"/>
                      </a:cubicBezTo>
                      <a:cubicBezTo>
                        <a:pt x="108" y="59"/>
                        <a:pt x="107" y="55"/>
                        <a:pt x="100" y="53"/>
                      </a:cubicBezTo>
                      <a:cubicBezTo>
                        <a:pt x="95" y="55"/>
                        <a:pt x="94" y="60"/>
                        <a:pt x="88" y="62"/>
                      </a:cubicBezTo>
                      <a:cubicBezTo>
                        <a:pt x="85" y="66"/>
                        <a:pt x="85" y="72"/>
                        <a:pt x="82" y="76"/>
                      </a:cubicBezTo>
                      <a:cubicBezTo>
                        <a:pt x="80" y="79"/>
                        <a:pt x="73" y="80"/>
                        <a:pt x="73" y="80"/>
                      </a:cubicBezTo>
                      <a:cubicBezTo>
                        <a:pt x="65" y="79"/>
                        <a:pt x="61" y="78"/>
                        <a:pt x="53" y="80"/>
                      </a:cubicBezTo>
                      <a:cubicBezTo>
                        <a:pt x="48" y="81"/>
                        <a:pt x="40" y="85"/>
                        <a:pt x="40" y="85"/>
                      </a:cubicBezTo>
                      <a:cubicBezTo>
                        <a:pt x="34" y="84"/>
                        <a:pt x="28" y="81"/>
                        <a:pt x="23" y="85"/>
                      </a:cubicBezTo>
                      <a:cubicBezTo>
                        <a:pt x="25" y="92"/>
                        <a:pt x="24" y="86"/>
                        <a:pt x="22" y="91"/>
                      </a:cubicBezTo>
                      <a:cubicBezTo>
                        <a:pt x="23" y="101"/>
                        <a:pt x="26" y="117"/>
                        <a:pt x="32" y="125"/>
                      </a:cubicBezTo>
                      <a:cubicBezTo>
                        <a:pt x="19" y="136"/>
                        <a:pt x="18" y="139"/>
                        <a:pt x="2" y="140"/>
                      </a:cubicBezTo>
                      <a:cubicBezTo>
                        <a:pt x="0" y="145"/>
                        <a:pt x="0" y="148"/>
                        <a:pt x="5" y="150"/>
                      </a:cubicBezTo>
                      <a:cubicBezTo>
                        <a:pt x="7" y="159"/>
                        <a:pt x="16" y="157"/>
                        <a:pt x="25" y="158"/>
                      </a:cubicBezTo>
                      <a:cubicBezTo>
                        <a:pt x="30" y="165"/>
                        <a:pt x="20" y="179"/>
                        <a:pt x="17" y="186"/>
                      </a:cubicBezTo>
                      <a:cubicBezTo>
                        <a:pt x="19" y="199"/>
                        <a:pt x="21" y="205"/>
                        <a:pt x="32" y="212"/>
                      </a:cubicBezTo>
                      <a:cubicBezTo>
                        <a:pt x="41" y="211"/>
                        <a:pt x="51" y="209"/>
                        <a:pt x="59" y="214"/>
                      </a:cubicBezTo>
                      <a:cubicBezTo>
                        <a:pt x="62" y="219"/>
                        <a:pt x="56" y="232"/>
                        <a:pt x="50" y="234"/>
                      </a:cubicBezTo>
                      <a:cubicBezTo>
                        <a:pt x="46" y="243"/>
                        <a:pt x="58" y="239"/>
                        <a:pt x="64" y="238"/>
                      </a:cubicBezTo>
                      <a:cubicBezTo>
                        <a:pt x="70" y="234"/>
                        <a:pt x="78" y="234"/>
                        <a:pt x="83" y="230"/>
                      </a:cubicBezTo>
                      <a:cubicBezTo>
                        <a:pt x="86" y="228"/>
                        <a:pt x="90" y="221"/>
                        <a:pt x="90" y="221"/>
                      </a:cubicBezTo>
                      <a:cubicBezTo>
                        <a:pt x="91" y="217"/>
                        <a:pt x="95" y="210"/>
                        <a:pt x="100" y="208"/>
                      </a:cubicBezTo>
                      <a:cubicBezTo>
                        <a:pt x="102" y="205"/>
                        <a:pt x="105" y="202"/>
                        <a:pt x="107" y="200"/>
                      </a:cubicBezTo>
                      <a:cubicBezTo>
                        <a:pt x="109" y="198"/>
                        <a:pt x="113" y="196"/>
                        <a:pt x="113" y="196"/>
                      </a:cubicBezTo>
                      <a:cubicBezTo>
                        <a:pt x="118" y="189"/>
                        <a:pt x="115" y="191"/>
                        <a:pt x="131" y="194"/>
                      </a:cubicBezTo>
                      <a:cubicBezTo>
                        <a:pt x="136" y="195"/>
                        <a:pt x="141" y="201"/>
                        <a:pt x="145" y="203"/>
                      </a:cubicBezTo>
                      <a:cubicBezTo>
                        <a:pt x="151" y="206"/>
                        <a:pt x="160" y="209"/>
                        <a:pt x="166" y="210"/>
                      </a:cubicBezTo>
                      <a:cubicBezTo>
                        <a:pt x="170" y="213"/>
                        <a:pt x="172" y="215"/>
                        <a:pt x="176" y="218"/>
                      </a:cubicBezTo>
                      <a:cubicBezTo>
                        <a:pt x="180" y="224"/>
                        <a:pt x="187" y="227"/>
                        <a:pt x="190" y="235"/>
                      </a:cubicBezTo>
                      <a:cubicBezTo>
                        <a:pt x="205" y="250"/>
                        <a:pt x="194" y="277"/>
                        <a:pt x="212" y="289"/>
                      </a:cubicBezTo>
                      <a:cubicBezTo>
                        <a:pt x="219" y="304"/>
                        <a:pt x="230" y="314"/>
                        <a:pt x="236" y="323"/>
                      </a:cubicBezTo>
                      <a:cubicBezTo>
                        <a:pt x="238" y="326"/>
                        <a:pt x="248" y="341"/>
                        <a:pt x="250" y="342"/>
                      </a:cubicBezTo>
                      <a:cubicBezTo>
                        <a:pt x="252" y="343"/>
                        <a:pt x="256" y="344"/>
                        <a:pt x="256" y="344"/>
                      </a:cubicBezTo>
                      <a:cubicBezTo>
                        <a:pt x="259" y="347"/>
                        <a:pt x="263" y="348"/>
                        <a:pt x="266" y="350"/>
                      </a:cubicBezTo>
                      <a:cubicBezTo>
                        <a:pt x="272" y="355"/>
                        <a:pt x="285" y="364"/>
                        <a:pt x="294" y="372"/>
                      </a:cubicBezTo>
                      <a:cubicBezTo>
                        <a:pt x="304" y="377"/>
                        <a:pt x="311" y="392"/>
                        <a:pt x="322" y="398"/>
                      </a:cubicBezTo>
                      <a:cubicBezTo>
                        <a:pt x="324" y="404"/>
                        <a:pt x="329" y="407"/>
                        <a:pt x="335" y="409"/>
                      </a:cubicBezTo>
                      <a:cubicBezTo>
                        <a:pt x="340" y="417"/>
                        <a:pt x="345" y="419"/>
                        <a:pt x="352" y="424"/>
                      </a:cubicBezTo>
                      <a:cubicBezTo>
                        <a:pt x="365" y="422"/>
                        <a:pt x="364" y="421"/>
                        <a:pt x="373" y="418"/>
                      </a:cubicBezTo>
                      <a:cubicBezTo>
                        <a:pt x="378" y="418"/>
                        <a:pt x="384" y="416"/>
                        <a:pt x="388" y="420"/>
                      </a:cubicBezTo>
                      <a:cubicBezTo>
                        <a:pt x="391" y="423"/>
                        <a:pt x="395" y="428"/>
                        <a:pt x="395" y="428"/>
                      </a:cubicBezTo>
                      <a:cubicBezTo>
                        <a:pt x="397" y="435"/>
                        <a:pt x="398" y="442"/>
                        <a:pt x="400" y="449"/>
                      </a:cubicBezTo>
                      <a:cubicBezTo>
                        <a:pt x="405" y="453"/>
                        <a:pt x="415" y="452"/>
                        <a:pt x="424" y="454"/>
                      </a:cubicBezTo>
                      <a:cubicBezTo>
                        <a:pt x="432" y="460"/>
                        <a:pt x="442" y="458"/>
                        <a:pt x="452" y="460"/>
                      </a:cubicBezTo>
                      <a:cubicBezTo>
                        <a:pt x="457" y="468"/>
                        <a:pt x="458" y="489"/>
                        <a:pt x="467" y="492"/>
                      </a:cubicBezTo>
                      <a:cubicBezTo>
                        <a:pt x="475" y="503"/>
                        <a:pt x="489" y="501"/>
                        <a:pt x="502" y="503"/>
                      </a:cubicBezTo>
                      <a:cubicBezTo>
                        <a:pt x="508" y="511"/>
                        <a:pt x="514" y="524"/>
                        <a:pt x="516" y="534"/>
                      </a:cubicBezTo>
                      <a:cubicBezTo>
                        <a:pt x="517" y="539"/>
                        <a:pt x="522" y="547"/>
                        <a:pt x="522" y="547"/>
                      </a:cubicBezTo>
                      <a:cubicBezTo>
                        <a:pt x="524" y="553"/>
                        <a:pt x="530" y="566"/>
                        <a:pt x="535" y="571"/>
                      </a:cubicBezTo>
                      <a:cubicBezTo>
                        <a:pt x="539" y="584"/>
                        <a:pt x="534" y="599"/>
                        <a:pt x="523" y="607"/>
                      </a:cubicBezTo>
                      <a:cubicBezTo>
                        <a:pt x="519" y="620"/>
                        <a:pt x="516" y="633"/>
                        <a:pt x="515" y="647"/>
                      </a:cubicBezTo>
                      <a:cubicBezTo>
                        <a:pt x="516" y="658"/>
                        <a:pt x="517" y="659"/>
                        <a:pt x="527" y="662"/>
                      </a:cubicBezTo>
                      <a:cubicBezTo>
                        <a:pt x="534" y="661"/>
                        <a:pt x="531" y="667"/>
                        <a:pt x="535" y="662"/>
                      </a:cubicBezTo>
                      <a:cubicBezTo>
                        <a:pt x="536" y="658"/>
                        <a:pt x="538" y="656"/>
                        <a:pt x="541" y="653"/>
                      </a:cubicBezTo>
                      <a:cubicBezTo>
                        <a:pt x="543" y="648"/>
                        <a:pt x="547" y="642"/>
                        <a:pt x="551" y="638"/>
                      </a:cubicBezTo>
                      <a:cubicBezTo>
                        <a:pt x="553" y="631"/>
                        <a:pt x="559" y="627"/>
                        <a:pt x="560" y="620"/>
                      </a:cubicBezTo>
                      <a:cubicBezTo>
                        <a:pt x="562" y="606"/>
                        <a:pt x="566" y="589"/>
                        <a:pt x="582" y="586"/>
                      </a:cubicBezTo>
                      <a:cubicBezTo>
                        <a:pt x="585" y="584"/>
                        <a:pt x="592" y="582"/>
                        <a:pt x="592" y="582"/>
                      </a:cubicBezTo>
                      <a:cubicBezTo>
                        <a:pt x="592" y="581"/>
                        <a:pt x="595" y="576"/>
                        <a:pt x="595" y="575"/>
                      </a:cubicBezTo>
                      <a:cubicBezTo>
                        <a:pt x="595" y="568"/>
                        <a:pt x="595" y="561"/>
                        <a:pt x="594" y="554"/>
                      </a:cubicBezTo>
                      <a:cubicBezTo>
                        <a:pt x="592" y="532"/>
                        <a:pt x="571" y="535"/>
                        <a:pt x="557" y="526"/>
                      </a:cubicBezTo>
                      <a:cubicBezTo>
                        <a:pt x="556" y="523"/>
                        <a:pt x="554" y="520"/>
                        <a:pt x="553" y="517"/>
                      </a:cubicBezTo>
                      <a:cubicBezTo>
                        <a:pt x="554" y="494"/>
                        <a:pt x="556" y="491"/>
                        <a:pt x="563" y="479"/>
                      </a:cubicBezTo>
                      <a:cubicBezTo>
                        <a:pt x="566" y="471"/>
                        <a:pt x="575" y="468"/>
                        <a:pt x="583" y="467"/>
                      </a:cubicBezTo>
                      <a:cubicBezTo>
                        <a:pt x="595" y="468"/>
                        <a:pt x="592" y="471"/>
                        <a:pt x="601" y="474"/>
                      </a:cubicBezTo>
                      <a:cubicBezTo>
                        <a:pt x="607" y="474"/>
                        <a:pt x="628" y="469"/>
                        <a:pt x="630" y="478"/>
                      </a:cubicBezTo>
                      <a:cubicBezTo>
                        <a:pt x="629" y="484"/>
                        <a:pt x="627" y="495"/>
                        <a:pt x="635" y="498"/>
                      </a:cubicBezTo>
                      <a:cubicBezTo>
                        <a:pt x="639" y="506"/>
                        <a:pt x="649" y="504"/>
                        <a:pt x="656" y="509"/>
                      </a:cubicBezTo>
                      <a:cubicBezTo>
                        <a:pt x="659" y="501"/>
                        <a:pt x="659" y="498"/>
                        <a:pt x="660" y="490"/>
                      </a:cubicBezTo>
                      <a:cubicBezTo>
                        <a:pt x="660" y="483"/>
                        <a:pt x="660" y="476"/>
                        <a:pt x="659" y="469"/>
                      </a:cubicBezTo>
                      <a:cubicBezTo>
                        <a:pt x="658" y="464"/>
                        <a:pt x="644" y="462"/>
                        <a:pt x="644" y="462"/>
                      </a:cubicBezTo>
                      <a:cubicBezTo>
                        <a:pt x="638" y="450"/>
                        <a:pt x="632" y="450"/>
                        <a:pt x="622" y="443"/>
                      </a:cubicBezTo>
                      <a:cubicBezTo>
                        <a:pt x="618" y="440"/>
                        <a:pt x="608" y="437"/>
                        <a:pt x="608" y="437"/>
                      </a:cubicBezTo>
                      <a:cubicBezTo>
                        <a:pt x="604" y="434"/>
                        <a:pt x="595" y="431"/>
                        <a:pt x="595" y="431"/>
                      </a:cubicBezTo>
                      <a:cubicBezTo>
                        <a:pt x="591" y="425"/>
                        <a:pt x="584" y="427"/>
                        <a:pt x="578" y="426"/>
                      </a:cubicBezTo>
                      <a:cubicBezTo>
                        <a:pt x="574" y="425"/>
                        <a:pt x="570" y="425"/>
                        <a:pt x="566" y="424"/>
                      </a:cubicBezTo>
                      <a:cubicBezTo>
                        <a:pt x="556" y="420"/>
                        <a:pt x="527" y="408"/>
                        <a:pt x="518" y="403"/>
                      </a:cubicBezTo>
                      <a:cubicBezTo>
                        <a:pt x="512" y="401"/>
                        <a:pt x="512" y="399"/>
                        <a:pt x="509" y="394"/>
                      </a:cubicBezTo>
                      <a:cubicBezTo>
                        <a:pt x="511" y="388"/>
                        <a:pt x="513" y="383"/>
                        <a:pt x="516" y="377"/>
                      </a:cubicBezTo>
                      <a:cubicBezTo>
                        <a:pt x="517" y="375"/>
                        <a:pt x="520" y="362"/>
                        <a:pt x="520" y="362"/>
                      </a:cubicBezTo>
                      <a:cubicBezTo>
                        <a:pt x="518" y="351"/>
                        <a:pt x="509" y="361"/>
                        <a:pt x="499" y="360"/>
                      </a:cubicBezTo>
                      <a:cubicBezTo>
                        <a:pt x="485" y="362"/>
                        <a:pt x="483" y="368"/>
                        <a:pt x="469" y="367"/>
                      </a:cubicBezTo>
                      <a:cubicBezTo>
                        <a:pt x="457" y="363"/>
                        <a:pt x="434" y="351"/>
                        <a:pt x="422" y="347"/>
                      </a:cubicBezTo>
                      <a:cubicBezTo>
                        <a:pt x="417" y="342"/>
                        <a:pt x="412" y="339"/>
                        <a:pt x="407" y="334"/>
                      </a:cubicBezTo>
                      <a:cubicBezTo>
                        <a:pt x="406" y="330"/>
                        <a:pt x="402" y="325"/>
                        <a:pt x="398" y="323"/>
                      </a:cubicBezTo>
                      <a:cubicBezTo>
                        <a:pt x="387" y="307"/>
                        <a:pt x="395" y="279"/>
                        <a:pt x="378" y="268"/>
                      </a:cubicBezTo>
                      <a:cubicBezTo>
                        <a:pt x="377" y="264"/>
                        <a:pt x="365" y="254"/>
                        <a:pt x="361" y="253"/>
                      </a:cubicBezTo>
                      <a:cubicBezTo>
                        <a:pt x="358" y="249"/>
                        <a:pt x="350" y="244"/>
                        <a:pt x="350" y="244"/>
                      </a:cubicBezTo>
                      <a:cubicBezTo>
                        <a:pt x="347" y="239"/>
                        <a:pt x="341" y="235"/>
                        <a:pt x="335" y="233"/>
                      </a:cubicBezTo>
                      <a:cubicBezTo>
                        <a:pt x="332" y="230"/>
                        <a:pt x="330" y="227"/>
                        <a:pt x="326" y="226"/>
                      </a:cubicBezTo>
                      <a:cubicBezTo>
                        <a:pt x="323" y="222"/>
                        <a:pt x="319" y="218"/>
                        <a:pt x="314" y="217"/>
                      </a:cubicBezTo>
                      <a:cubicBezTo>
                        <a:pt x="310" y="215"/>
                        <a:pt x="311" y="212"/>
                        <a:pt x="307" y="210"/>
                      </a:cubicBezTo>
                      <a:cubicBezTo>
                        <a:pt x="306" y="202"/>
                        <a:pt x="304" y="194"/>
                        <a:pt x="301" y="187"/>
                      </a:cubicBezTo>
                      <a:cubicBezTo>
                        <a:pt x="305" y="155"/>
                        <a:pt x="302" y="181"/>
                        <a:pt x="305" y="168"/>
                      </a:cubicBezTo>
                      <a:cubicBezTo>
                        <a:pt x="306" y="165"/>
                        <a:pt x="307" y="158"/>
                        <a:pt x="307" y="158"/>
                      </a:cubicBezTo>
                      <a:cubicBezTo>
                        <a:pt x="307" y="155"/>
                        <a:pt x="307" y="151"/>
                        <a:pt x="305" y="148"/>
                      </a:cubicBezTo>
                      <a:cubicBezTo>
                        <a:pt x="303" y="146"/>
                        <a:pt x="299" y="142"/>
                        <a:pt x="299" y="142"/>
                      </a:cubicBezTo>
                      <a:cubicBezTo>
                        <a:pt x="298" y="138"/>
                        <a:pt x="295" y="137"/>
                        <a:pt x="294" y="133"/>
                      </a:cubicBezTo>
                      <a:cubicBezTo>
                        <a:pt x="296" y="126"/>
                        <a:pt x="294" y="128"/>
                        <a:pt x="299" y="125"/>
                      </a:cubicBezTo>
                      <a:cubicBezTo>
                        <a:pt x="303" y="114"/>
                        <a:pt x="326" y="109"/>
                        <a:pt x="336" y="107"/>
                      </a:cubicBezTo>
                      <a:cubicBezTo>
                        <a:pt x="339" y="105"/>
                        <a:pt x="346" y="100"/>
                        <a:pt x="346" y="100"/>
                      </a:cubicBezTo>
                      <a:cubicBezTo>
                        <a:pt x="349" y="96"/>
                        <a:pt x="354" y="92"/>
                        <a:pt x="359" y="90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orpoS" pitchFamily="2" charset="0"/>
                    <a:ea typeface="+mn-ea"/>
                  </a:endParaRPr>
                </a:p>
              </p:txBody>
            </p:sp>
          </p:grpSp>
        </p:grpSp>
        <p:grpSp>
          <p:nvGrpSpPr>
            <p:cNvPr id="265" name="Group 52"/>
            <p:cNvGrpSpPr>
              <a:grpSpLocks noChangeAspect="1"/>
            </p:cNvGrpSpPr>
            <p:nvPr/>
          </p:nvGrpSpPr>
          <p:grpSpPr bwMode="auto">
            <a:xfrm>
              <a:off x="1502" y="3309"/>
              <a:ext cx="714" cy="596"/>
              <a:chOff x="1648" y="3145"/>
              <a:chExt cx="707" cy="590"/>
            </a:xfrm>
            <a:grpFill/>
          </p:grpSpPr>
          <p:sp>
            <p:nvSpPr>
              <p:cNvPr id="335" name="Freeform 53"/>
              <p:cNvSpPr>
                <a:spLocks noChangeAspect="1"/>
              </p:cNvSpPr>
              <p:nvPr/>
            </p:nvSpPr>
            <p:spPr bwMode="auto">
              <a:xfrm>
                <a:off x="2167" y="3576"/>
                <a:ext cx="27" cy="21"/>
              </a:xfrm>
              <a:custGeom>
                <a:avLst/>
                <a:gdLst>
                  <a:gd name="T0" fmla="*/ 25 w 27"/>
                  <a:gd name="T1" fmla="*/ 0 h 21"/>
                  <a:gd name="T2" fmla="*/ 0 w 27"/>
                  <a:gd name="T3" fmla="*/ 10 h 21"/>
                  <a:gd name="T4" fmla="*/ 10 w 27"/>
                  <a:gd name="T5" fmla="*/ 20 h 21"/>
                  <a:gd name="T6" fmla="*/ 27 w 27"/>
                  <a:gd name="T7" fmla="*/ 15 h 21"/>
                  <a:gd name="T8" fmla="*/ 19 w 27"/>
                  <a:gd name="T9" fmla="*/ 1 h 21"/>
                  <a:gd name="T10" fmla="*/ 9 w 27"/>
                  <a:gd name="T11" fmla="*/ 3 h 21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7"/>
                  <a:gd name="T19" fmla="*/ 0 h 21"/>
                  <a:gd name="T20" fmla="*/ 27 w 27"/>
                  <a:gd name="T21" fmla="*/ 21 h 21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7" h="21">
                    <a:moveTo>
                      <a:pt x="25" y="0"/>
                    </a:moveTo>
                    <a:cubicBezTo>
                      <a:pt x="5" y="2"/>
                      <a:pt x="12" y="2"/>
                      <a:pt x="0" y="10"/>
                    </a:cubicBezTo>
                    <a:cubicBezTo>
                      <a:pt x="1" y="15"/>
                      <a:pt x="10" y="20"/>
                      <a:pt x="10" y="20"/>
                    </a:cubicBezTo>
                    <a:cubicBezTo>
                      <a:pt x="16" y="19"/>
                      <a:pt x="23" y="21"/>
                      <a:pt x="27" y="15"/>
                    </a:cubicBezTo>
                    <a:cubicBezTo>
                      <a:pt x="25" y="10"/>
                      <a:pt x="24" y="3"/>
                      <a:pt x="19" y="1"/>
                    </a:cubicBezTo>
                    <a:cubicBezTo>
                      <a:pt x="16" y="2"/>
                      <a:pt x="9" y="3"/>
                      <a:pt x="9" y="3"/>
                    </a:cubicBezTo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36" name="Freeform 54"/>
              <p:cNvSpPr>
                <a:spLocks noChangeAspect="1"/>
              </p:cNvSpPr>
              <p:nvPr/>
            </p:nvSpPr>
            <p:spPr bwMode="auto">
              <a:xfrm>
                <a:off x="2178" y="3606"/>
                <a:ext cx="23" cy="9"/>
              </a:xfrm>
              <a:custGeom>
                <a:avLst/>
                <a:gdLst>
                  <a:gd name="T0" fmla="*/ 1 w 23"/>
                  <a:gd name="T1" fmla="*/ 0 h 9"/>
                  <a:gd name="T2" fmla="*/ 3 w 23"/>
                  <a:gd name="T3" fmla="*/ 7 h 9"/>
                  <a:gd name="T4" fmla="*/ 1 w 23"/>
                  <a:gd name="T5" fmla="*/ 0 h 9"/>
                  <a:gd name="T6" fmla="*/ 0 60000 65536"/>
                  <a:gd name="T7" fmla="*/ 0 60000 65536"/>
                  <a:gd name="T8" fmla="*/ 0 60000 65536"/>
                  <a:gd name="T9" fmla="*/ 0 w 23"/>
                  <a:gd name="T10" fmla="*/ 0 h 9"/>
                  <a:gd name="T11" fmla="*/ 23 w 23"/>
                  <a:gd name="T12" fmla="*/ 9 h 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3" h="9">
                    <a:moveTo>
                      <a:pt x="1" y="0"/>
                    </a:moveTo>
                    <a:cubicBezTo>
                      <a:pt x="23" y="2"/>
                      <a:pt x="19" y="9"/>
                      <a:pt x="3" y="7"/>
                    </a:cubicBezTo>
                    <a:cubicBezTo>
                      <a:pt x="0" y="3"/>
                      <a:pt x="1" y="5"/>
                      <a:pt x="1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37" name="Freeform 55"/>
              <p:cNvSpPr>
                <a:spLocks noChangeAspect="1"/>
              </p:cNvSpPr>
              <p:nvPr/>
            </p:nvSpPr>
            <p:spPr bwMode="auto">
              <a:xfrm>
                <a:off x="2239" y="3523"/>
                <a:ext cx="64" cy="50"/>
              </a:xfrm>
              <a:custGeom>
                <a:avLst/>
                <a:gdLst>
                  <a:gd name="T0" fmla="*/ 3 w 64"/>
                  <a:gd name="T1" fmla="*/ 19 h 50"/>
                  <a:gd name="T2" fmla="*/ 18 w 64"/>
                  <a:gd name="T3" fmla="*/ 14 h 50"/>
                  <a:gd name="T4" fmla="*/ 30 w 64"/>
                  <a:gd name="T5" fmla="*/ 6 h 50"/>
                  <a:gd name="T6" fmla="*/ 44 w 64"/>
                  <a:gd name="T7" fmla="*/ 0 h 50"/>
                  <a:gd name="T8" fmla="*/ 52 w 64"/>
                  <a:gd name="T9" fmla="*/ 21 h 50"/>
                  <a:gd name="T10" fmla="*/ 64 w 64"/>
                  <a:gd name="T11" fmla="*/ 18 h 50"/>
                  <a:gd name="T12" fmla="*/ 58 w 64"/>
                  <a:gd name="T13" fmla="*/ 32 h 50"/>
                  <a:gd name="T14" fmla="*/ 56 w 64"/>
                  <a:gd name="T15" fmla="*/ 35 h 50"/>
                  <a:gd name="T16" fmla="*/ 52 w 64"/>
                  <a:gd name="T17" fmla="*/ 37 h 50"/>
                  <a:gd name="T18" fmla="*/ 40 w 64"/>
                  <a:gd name="T19" fmla="*/ 50 h 50"/>
                  <a:gd name="T20" fmla="*/ 26 w 64"/>
                  <a:gd name="T21" fmla="*/ 42 h 50"/>
                  <a:gd name="T22" fmla="*/ 19 w 64"/>
                  <a:gd name="T23" fmla="*/ 31 h 50"/>
                  <a:gd name="T24" fmla="*/ 0 w 64"/>
                  <a:gd name="T25" fmla="*/ 25 h 50"/>
                  <a:gd name="T26" fmla="*/ 15 w 64"/>
                  <a:gd name="T27" fmla="*/ 15 h 50"/>
                  <a:gd name="T28" fmla="*/ 18 w 64"/>
                  <a:gd name="T29" fmla="*/ 14 h 50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64"/>
                  <a:gd name="T46" fmla="*/ 0 h 50"/>
                  <a:gd name="T47" fmla="*/ 64 w 64"/>
                  <a:gd name="T48" fmla="*/ 50 h 50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64" h="50">
                    <a:moveTo>
                      <a:pt x="3" y="19"/>
                    </a:moveTo>
                    <a:cubicBezTo>
                      <a:pt x="8" y="17"/>
                      <a:pt x="13" y="16"/>
                      <a:pt x="18" y="14"/>
                    </a:cubicBezTo>
                    <a:cubicBezTo>
                      <a:pt x="23" y="12"/>
                      <a:pt x="25" y="8"/>
                      <a:pt x="30" y="6"/>
                    </a:cubicBezTo>
                    <a:cubicBezTo>
                      <a:pt x="33" y="2"/>
                      <a:pt x="44" y="0"/>
                      <a:pt x="44" y="0"/>
                    </a:cubicBezTo>
                    <a:cubicBezTo>
                      <a:pt x="55" y="3"/>
                      <a:pt x="43" y="15"/>
                      <a:pt x="52" y="21"/>
                    </a:cubicBezTo>
                    <a:cubicBezTo>
                      <a:pt x="60" y="16"/>
                      <a:pt x="56" y="17"/>
                      <a:pt x="64" y="18"/>
                    </a:cubicBezTo>
                    <a:cubicBezTo>
                      <a:pt x="63" y="24"/>
                      <a:pt x="63" y="29"/>
                      <a:pt x="58" y="32"/>
                    </a:cubicBezTo>
                    <a:cubicBezTo>
                      <a:pt x="57" y="33"/>
                      <a:pt x="57" y="34"/>
                      <a:pt x="56" y="35"/>
                    </a:cubicBezTo>
                    <a:cubicBezTo>
                      <a:pt x="55" y="36"/>
                      <a:pt x="53" y="36"/>
                      <a:pt x="52" y="37"/>
                    </a:cubicBezTo>
                    <a:cubicBezTo>
                      <a:pt x="45" y="45"/>
                      <a:pt x="52" y="44"/>
                      <a:pt x="40" y="50"/>
                    </a:cubicBezTo>
                    <a:cubicBezTo>
                      <a:pt x="35" y="46"/>
                      <a:pt x="33" y="43"/>
                      <a:pt x="26" y="42"/>
                    </a:cubicBezTo>
                    <a:cubicBezTo>
                      <a:pt x="24" y="36"/>
                      <a:pt x="24" y="34"/>
                      <a:pt x="19" y="31"/>
                    </a:cubicBezTo>
                    <a:cubicBezTo>
                      <a:pt x="3" y="32"/>
                      <a:pt x="0" y="38"/>
                      <a:pt x="0" y="25"/>
                    </a:cubicBezTo>
                    <a:cubicBezTo>
                      <a:pt x="0" y="19"/>
                      <a:pt x="10" y="17"/>
                      <a:pt x="15" y="15"/>
                    </a:cubicBezTo>
                    <a:cubicBezTo>
                      <a:pt x="16" y="15"/>
                      <a:pt x="18" y="14"/>
                      <a:pt x="18" y="14"/>
                    </a:cubicBezTo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38" name="Freeform 56"/>
              <p:cNvSpPr>
                <a:spLocks noChangeAspect="1"/>
              </p:cNvSpPr>
              <p:nvPr/>
            </p:nvSpPr>
            <p:spPr bwMode="auto">
              <a:xfrm>
                <a:off x="2324" y="3522"/>
                <a:ext cx="31" cy="24"/>
              </a:xfrm>
              <a:custGeom>
                <a:avLst/>
                <a:gdLst>
                  <a:gd name="T0" fmla="*/ 1 w 31"/>
                  <a:gd name="T1" fmla="*/ 0 h 24"/>
                  <a:gd name="T2" fmla="*/ 24 w 31"/>
                  <a:gd name="T3" fmla="*/ 1 h 24"/>
                  <a:gd name="T4" fmla="*/ 29 w 31"/>
                  <a:gd name="T5" fmla="*/ 21 h 24"/>
                  <a:gd name="T6" fmla="*/ 19 w 31"/>
                  <a:gd name="T7" fmla="*/ 13 h 24"/>
                  <a:gd name="T8" fmla="*/ 6 w 31"/>
                  <a:gd name="T9" fmla="*/ 10 h 24"/>
                  <a:gd name="T10" fmla="*/ 1 w 31"/>
                  <a:gd name="T11" fmla="*/ 0 h 2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1"/>
                  <a:gd name="T19" fmla="*/ 0 h 24"/>
                  <a:gd name="T20" fmla="*/ 31 w 31"/>
                  <a:gd name="T21" fmla="*/ 24 h 2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1" h="24">
                    <a:moveTo>
                      <a:pt x="1" y="0"/>
                    </a:moveTo>
                    <a:cubicBezTo>
                      <a:pt x="9" y="0"/>
                      <a:pt x="16" y="0"/>
                      <a:pt x="24" y="1"/>
                    </a:cubicBezTo>
                    <a:cubicBezTo>
                      <a:pt x="31" y="2"/>
                      <a:pt x="29" y="21"/>
                      <a:pt x="29" y="21"/>
                    </a:cubicBezTo>
                    <a:cubicBezTo>
                      <a:pt x="21" y="24"/>
                      <a:pt x="24" y="16"/>
                      <a:pt x="19" y="13"/>
                    </a:cubicBezTo>
                    <a:cubicBezTo>
                      <a:pt x="15" y="11"/>
                      <a:pt x="10" y="11"/>
                      <a:pt x="6" y="10"/>
                    </a:cubicBezTo>
                    <a:cubicBezTo>
                      <a:pt x="0" y="6"/>
                      <a:pt x="0" y="9"/>
                      <a:pt x="1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39" name="Freeform 57"/>
              <p:cNvSpPr>
                <a:spLocks noChangeAspect="1"/>
              </p:cNvSpPr>
              <p:nvPr/>
            </p:nvSpPr>
            <p:spPr bwMode="auto">
              <a:xfrm>
                <a:off x="1648" y="3145"/>
                <a:ext cx="665" cy="590"/>
              </a:xfrm>
              <a:custGeom>
                <a:avLst/>
                <a:gdLst>
                  <a:gd name="T0" fmla="*/ 395 w 665"/>
                  <a:gd name="T1" fmla="*/ 96 h 590"/>
                  <a:gd name="T2" fmla="*/ 361 w 665"/>
                  <a:gd name="T3" fmla="*/ 90 h 590"/>
                  <a:gd name="T4" fmla="*/ 337 w 665"/>
                  <a:gd name="T5" fmla="*/ 86 h 590"/>
                  <a:gd name="T6" fmla="*/ 310 w 665"/>
                  <a:gd name="T7" fmla="*/ 71 h 590"/>
                  <a:gd name="T8" fmla="*/ 258 w 665"/>
                  <a:gd name="T9" fmla="*/ 61 h 590"/>
                  <a:gd name="T10" fmla="*/ 220 w 665"/>
                  <a:gd name="T11" fmla="*/ 53 h 590"/>
                  <a:gd name="T12" fmla="*/ 137 w 665"/>
                  <a:gd name="T13" fmla="*/ 26 h 590"/>
                  <a:gd name="T14" fmla="*/ 90 w 665"/>
                  <a:gd name="T15" fmla="*/ 2 h 590"/>
                  <a:gd name="T16" fmla="*/ 66 w 665"/>
                  <a:gd name="T17" fmla="*/ 18 h 590"/>
                  <a:gd name="T18" fmla="*/ 40 w 665"/>
                  <a:gd name="T19" fmla="*/ 23 h 590"/>
                  <a:gd name="T20" fmla="*/ 15 w 665"/>
                  <a:gd name="T21" fmla="*/ 20 h 590"/>
                  <a:gd name="T22" fmla="*/ 12 w 665"/>
                  <a:gd name="T23" fmla="*/ 102 h 590"/>
                  <a:gd name="T24" fmla="*/ 29 w 665"/>
                  <a:gd name="T25" fmla="*/ 115 h 590"/>
                  <a:gd name="T26" fmla="*/ 43 w 665"/>
                  <a:gd name="T27" fmla="*/ 133 h 590"/>
                  <a:gd name="T28" fmla="*/ 129 w 665"/>
                  <a:gd name="T29" fmla="*/ 147 h 590"/>
                  <a:gd name="T30" fmla="*/ 138 w 665"/>
                  <a:gd name="T31" fmla="*/ 182 h 590"/>
                  <a:gd name="T32" fmla="*/ 99 w 665"/>
                  <a:gd name="T33" fmla="*/ 212 h 590"/>
                  <a:gd name="T34" fmla="*/ 91 w 665"/>
                  <a:gd name="T35" fmla="*/ 247 h 590"/>
                  <a:gd name="T36" fmla="*/ 82 w 665"/>
                  <a:gd name="T37" fmla="*/ 275 h 590"/>
                  <a:gd name="T38" fmla="*/ 63 w 665"/>
                  <a:gd name="T39" fmla="*/ 303 h 590"/>
                  <a:gd name="T40" fmla="*/ 45 w 665"/>
                  <a:gd name="T41" fmla="*/ 309 h 590"/>
                  <a:gd name="T42" fmla="*/ 48 w 665"/>
                  <a:gd name="T43" fmla="*/ 362 h 590"/>
                  <a:gd name="T44" fmla="*/ 34 w 665"/>
                  <a:gd name="T45" fmla="*/ 392 h 590"/>
                  <a:gd name="T46" fmla="*/ 40 w 665"/>
                  <a:gd name="T47" fmla="*/ 409 h 590"/>
                  <a:gd name="T48" fmla="*/ 23 w 665"/>
                  <a:gd name="T49" fmla="*/ 428 h 590"/>
                  <a:gd name="T50" fmla="*/ 0 w 665"/>
                  <a:gd name="T51" fmla="*/ 461 h 590"/>
                  <a:gd name="T52" fmla="*/ 34 w 665"/>
                  <a:gd name="T53" fmla="*/ 492 h 590"/>
                  <a:gd name="T54" fmla="*/ 57 w 665"/>
                  <a:gd name="T55" fmla="*/ 537 h 590"/>
                  <a:gd name="T56" fmla="*/ 75 w 665"/>
                  <a:gd name="T57" fmla="*/ 590 h 590"/>
                  <a:gd name="T58" fmla="*/ 124 w 665"/>
                  <a:gd name="T59" fmla="*/ 572 h 590"/>
                  <a:gd name="T60" fmla="*/ 186 w 665"/>
                  <a:gd name="T61" fmla="*/ 554 h 590"/>
                  <a:gd name="T62" fmla="*/ 281 w 665"/>
                  <a:gd name="T63" fmla="*/ 567 h 590"/>
                  <a:gd name="T64" fmla="*/ 336 w 665"/>
                  <a:gd name="T65" fmla="*/ 537 h 590"/>
                  <a:gd name="T66" fmla="*/ 402 w 665"/>
                  <a:gd name="T67" fmla="*/ 518 h 590"/>
                  <a:gd name="T68" fmla="*/ 438 w 665"/>
                  <a:gd name="T69" fmla="*/ 455 h 590"/>
                  <a:gd name="T70" fmla="*/ 450 w 665"/>
                  <a:gd name="T71" fmla="*/ 425 h 590"/>
                  <a:gd name="T72" fmla="*/ 435 w 665"/>
                  <a:gd name="T73" fmla="*/ 405 h 590"/>
                  <a:gd name="T74" fmla="*/ 456 w 665"/>
                  <a:gd name="T75" fmla="*/ 371 h 590"/>
                  <a:gd name="T76" fmla="*/ 480 w 665"/>
                  <a:gd name="T77" fmla="*/ 341 h 590"/>
                  <a:gd name="T78" fmla="*/ 497 w 665"/>
                  <a:gd name="T79" fmla="*/ 315 h 590"/>
                  <a:gd name="T80" fmla="*/ 522 w 665"/>
                  <a:gd name="T81" fmla="*/ 297 h 590"/>
                  <a:gd name="T82" fmla="*/ 549 w 665"/>
                  <a:gd name="T83" fmla="*/ 281 h 590"/>
                  <a:gd name="T84" fmla="*/ 607 w 665"/>
                  <a:gd name="T85" fmla="*/ 267 h 590"/>
                  <a:gd name="T86" fmla="*/ 640 w 665"/>
                  <a:gd name="T87" fmla="*/ 251 h 590"/>
                  <a:gd name="T88" fmla="*/ 659 w 665"/>
                  <a:gd name="T89" fmla="*/ 191 h 590"/>
                  <a:gd name="T90" fmla="*/ 598 w 665"/>
                  <a:gd name="T91" fmla="*/ 193 h 590"/>
                  <a:gd name="T92" fmla="*/ 569 w 665"/>
                  <a:gd name="T93" fmla="*/ 170 h 590"/>
                  <a:gd name="T94" fmla="*/ 531 w 665"/>
                  <a:gd name="T95" fmla="*/ 162 h 590"/>
                  <a:gd name="T96" fmla="*/ 504 w 665"/>
                  <a:gd name="T97" fmla="*/ 159 h 590"/>
                  <a:gd name="T98" fmla="*/ 467 w 665"/>
                  <a:gd name="T99" fmla="*/ 143 h 590"/>
                  <a:gd name="T100" fmla="*/ 437 w 665"/>
                  <a:gd name="T101" fmla="*/ 131 h 590"/>
                  <a:gd name="T102" fmla="*/ 418 w 665"/>
                  <a:gd name="T103" fmla="*/ 89 h 590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665"/>
                  <a:gd name="T157" fmla="*/ 0 h 590"/>
                  <a:gd name="T158" fmla="*/ 665 w 665"/>
                  <a:gd name="T159" fmla="*/ 590 h 590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665" h="590">
                    <a:moveTo>
                      <a:pt x="418" y="89"/>
                    </a:moveTo>
                    <a:cubicBezTo>
                      <a:pt x="411" y="90"/>
                      <a:pt x="402" y="95"/>
                      <a:pt x="395" y="96"/>
                    </a:cubicBezTo>
                    <a:cubicBezTo>
                      <a:pt x="384" y="95"/>
                      <a:pt x="382" y="94"/>
                      <a:pt x="373" y="92"/>
                    </a:cubicBezTo>
                    <a:cubicBezTo>
                      <a:pt x="369" y="91"/>
                      <a:pt x="361" y="90"/>
                      <a:pt x="361" y="90"/>
                    </a:cubicBezTo>
                    <a:cubicBezTo>
                      <a:pt x="358" y="86"/>
                      <a:pt x="356" y="84"/>
                      <a:pt x="351" y="83"/>
                    </a:cubicBezTo>
                    <a:cubicBezTo>
                      <a:pt x="346" y="84"/>
                      <a:pt x="337" y="86"/>
                      <a:pt x="337" y="86"/>
                    </a:cubicBezTo>
                    <a:cubicBezTo>
                      <a:pt x="332" y="84"/>
                      <a:pt x="332" y="78"/>
                      <a:pt x="327" y="75"/>
                    </a:cubicBezTo>
                    <a:cubicBezTo>
                      <a:pt x="323" y="73"/>
                      <a:pt x="315" y="72"/>
                      <a:pt x="310" y="71"/>
                    </a:cubicBezTo>
                    <a:cubicBezTo>
                      <a:pt x="302" y="70"/>
                      <a:pt x="285" y="68"/>
                      <a:pt x="285" y="68"/>
                    </a:cubicBezTo>
                    <a:cubicBezTo>
                      <a:pt x="274" y="64"/>
                      <a:pt x="271" y="62"/>
                      <a:pt x="258" y="61"/>
                    </a:cubicBezTo>
                    <a:cubicBezTo>
                      <a:pt x="249" y="58"/>
                      <a:pt x="240" y="57"/>
                      <a:pt x="231" y="56"/>
                    </a:cubicBezTo>
                    <a:cubicBezTo>
                      <a:pt x="227" y="55"/>
                      <a:pt x="224" y="54"/>
                      <a:pt x="220" y="53"/>
                    </a:cubicBezTo>
                    <a:cubicBezTo>
                      <a:pt x="210" y="43"/>
                      <a:pt x="202" y="37"/>
                      <a:pt x="187" y="35"/>
                    </a:cubicBezTo>
                    <a:cubicBezTo>
                      <a:pt x="168" y="29"/>
                      <a:pt x="160" y="27"/>
                      <a:pt x="137" y="26"/>
                    </a:cubicBezTo>
                    <a:cubicBezTo>
                      <a:pt x="128" y="24"/>
                      <a:pt x="125" y="15"/>
                      <a:pt x="115" y="13"/>
                    </a:cubicBezTo>
                    <a:cubicBezTo>
                      <a:pt x="103" y="5"/>
                      <a:pt x="107" y="3"/>
                      <a:pt x="90" y="2"/>
                    </a:cubicBezTo>
                    <a:cubicBezTo>
                      <a:pt x="84" y="0"/>
                      <a:pt x="84" y="4"/>
                      <a:pt x="79" y="7"/>
                    </a:cubicBezTo>
                    <a:cubicBezTo>
                      <a:pt x="77" y="12"/>
                      <a:pt x="71" y="17"/>
                      <a:pt x="66" y="18"/>
                    </a:cubicBezTo>
                    <a:cubicBezTo>
                      <a:pt x="62" y="21"/>
                      <a:pt x="59" y="24"/>
                      <a:pt x="54" y="26"/>
                    </a:cubicBezTo>
                    <a:cubicBezTo>
                      <a:pt x="49" y="25"/>
                      <a:pt x="45" y="25"/>
                      <a:pt x="40" y="23"/>
                    </a:cubicBezTo>
                    <a:cubicBezTo>
                      <a:pt x="38" y="18"/>
                      <a:pt x="33" y="18"/>
                      <a:pt x="28" y="17"/>
                    </a:cubicBezTo>
                    <a:cubicBezTo>
                      <a:pt x="24" y="18"/>
                      <a:pt x="15" y="20"/>
                      <a:pt x="15" y="20"/>
                    </a:cubicBezTo>
                    <a:cubicBezTo>
                      <a:pt x="6" y="33"/>
                      <a:pt x="14" y="53"/>
                      <a:pt x="16" y="68"/>
                    </a:cubicBezTo>
                    <a:cubicBezTo>
                      <a:pt x="15" y="91"/>
                      <a:pt x="15" y="87"/>
                      <a:pt x="12" y="102"/>
                    </a:cubicBezTo>
                    <a:cubicBezTo>
                      <a:pt x="12" y="109"/>
                      <a:pt x="7" y="121"/>
                      <a:pt x="16" y="119"/>
                    </a:cubicBezTo>
                    <a:cubicBezTo>
                      <a:pt x="23" y="120"/>
                      <a:pt x="24" y="116"/>
                      <a:pt x="29" y="115"/>
                    </a:cubicBezTo>
                    <a:cubicBezTo>
                      <a:pt x="42" y="116"/>
                      <a:pt x="45" y="111"/>
                      <a:pt x="49" y="122"/>
                    </a:cubicBezTo>
                    <a:cubicBezTo>
                      <a:pt x="48" y="127"/>
                      <a:pt x="47" y="130"/>
                      <a:pt x="43" y="133"/>
                    </a:cubicBezTo>
                    <a:cubicBezTo>
                      <a:pt x="55" y="141"/>
                      <a:pt x="67" y="139"/>
                      <a:pt x="81" y="141"/>
                    </a:cubicBezTo>
                    <a:cubicBezTo>
                      <a:pt x="97" y="140"/>
                      <a:pt x="117" y="135"/>
                      <a:pt x="129" y="147"/>
                    </a:cubicBezTo>
                    <a:cubicBezTo>
                      <a:pt x="133" y="158"/>
                      <a:pt x="130" y="164"/>
                      <a:pt x="141" y="170"/>
                    </a:cubicBezTo>
                    <a:cubicBezTo>
                      <a:pt x="142" y="175"/>
                      <a:pt x="142" y="178"/>
                      <a:pt x="138" y="182"/>
                    </a:cubicBezTo>
                    <a:cubicBezTo>
                      <a:pt x="133" y="196"/>
                      <a:pt x="121" y="196"/>
                      <a:pt x="109" y="199"/>
                    </a:cubicBezTo>
                    <a:cubicBezTo>
                      <a:pt x="105" y="204"/>
                      <a:pt x="102" y="207"/>
                      <a:pt x="99" y="212"/>
                    </a:cubicBezTo>
                    <a:cubicBezTo>
                      <a:pt x="98" y="217"/>
                      <a:pt x="95" y="227"/>
                      <a:pt x="95" y="227"/>
                    </a:cubicBezTo>
                    <a:cubicBezTo>
                      <a:pt x="94" y="237"/>
                      <a:pt x="95" y="239"/>
                      <a:pt x="91" y="247"/>
                    </a:cubicBezTo>
                    <a:cubicBezTo>
                      <a:pt x="90" y="255"/>
                      <a:pt x="91" y="263"/>
                      <a:pt x="82" y="266"/>
                    </a:cubicBezTo>
                    <a:cubicBezTo>
                      <a:pt x="78" y="270"/>
                      <a:pt x="80" y="270"/>
                      <a:pt x="82" y="275"/>
                    </a:cubicBezTo>
                    <a:cubicBezTo>
                      <a:pt x="81" y="282"/>
                      <a:pt x="78" y="291"/>
                      <a:pt x="73" y="296"/>
                    </a:cubicBezTo>
                    <a:cubicBezTo>
                      <a:pt x="72" y="300"/>
                      <a:pt x="63" y="303"/>
                      <a:pt x="63" y="303"/>
                    </a:cubicBezTo>
                    <a:cubicBezTo>
                      <a:pt x="59" y="302"/>
                      <a:pt x="55" y="301"/>
                      <a:pt x="51" y="300"/>
                    </a:cubicBezTo>
                    <a:cubicBezTo>
                      <a:pt x="40" y="301"/>
                      <a:pt x="41" y="301"/>
                      <a:pt x="45" y="309"/>
                    </a:cubicBezTo>
                    <a:cubicBezTo>
                      <a:pt x="45" y="316"/>
                      <a:pt x="54" y="336"/>
                      <a:pt x="54" y="345"/>
                    </a:cubicBezTo>
                    <a:cubicBezTo>
                      <a:pt x="65" y="351"/>
                      <a:pt x="54" y="358"/>
                      <a:pt x="48" y="362"/>
                    </a:cubicBezTo>
                    <a:cubicBezTo>
                      <a:pt x="44" y="369"/>
                      <a:pt x="40" y="375"/>
                      <a:pt x="37" y="383"/>
                    </a:cubicBezTo>
                    <a:cubicBezTo>
                      <a:pt x="36" y="386"/>
                      <a:pt x="35" y="389"/>
                      <a:pt x="34" y="392"/>
                    </a:cubicBezTo>
                    <a:cubicBezTo>
                      <a:pt x="34" y="393"/>
                      <a:pt x="33" y="395"/>
                      <a:pt x="33" y="395"/>
                    </a:cubicBezTo>
                    <a:cubicBezTo>
                      <a:pt x="35" y="401"/>
                      <a:pt x="35" y="405"/>
                      <a:pt x="40" y="409"/>
                    </a:cubicBezTo>
                    <a:cubicBezTo>
                      <a:pt x="43" y="415"/>
                      <a:pt x="48" y="416"/>
                      <a:pt x="39" y="422"/>
                    </a:cubicBezTo>
                    <a:cubicBezTo>
                      <a:pt x="35" y="427"/>
                      <a:pt x="29" y="427"/>
                      <a:pt x="23" y="428"/>
                    </a:cubicBezTo>
                    <a:cubicBezTo>
                      <a:pt x="21" y="435"/>
                      <a:pt x="24" y="427"/>
                      <a:pt x="13" y="434"/>
                    </a:cubicBezTo>
                    <a:cubicBezTo>
                      <a:pt x="12" y="435"/>
                      <a:pt x="1" y="458"/>
                      <a:pt x="0" y="461"/>
                    </a:cubicBezTo>
                    <a:cubicBezTo>
                      <a:pt x="1" y="470"/>
                      <a:pt x="2" y="466"/>
                      <a:pt x="4" y="483"/>
                    </a:cubicBezTo>
                    <a:cubicBezTo>
                      <a:pt x="21" y="477"/>
                      <a:pt x="25" y="483"/>
                      <a:pt x="34" y="492"/>
                    </a:cubicBezTo>
                    <a:cubicBezTo>
                      <a:pt x="37" y="500"/>
                      <a:pt x="39" y="510"/>
                      <a:pt x="46" y="515"/>
                    </a:cubicBezTo>
                    <a:cubicBezTo>
                      <a:pt x="51" y="522"/>
                      <a:pt x="52" y="530"/>
                      <a:pt x="57" y="537"/>
                    </a:cubicBezTo>
                    <a:cubicBezTo>
                      <a:pt x="59" y="550"/>
                      <a:pt x="58" y="545"/>
                      <a:pt x="60" y="552"/>
                    </a:cubicBezTo>
                    <a:cubicBezTo>
                      <a:pt x="62" y="565"/>
                      <a:pt x="68" y="579"/>
                      <a:pt x="75" y="590"/>
                    </a:cubicBezTo>
                    <a:cubicBezTo>
                      <a:pt x="87" y="587"/>
                      <a:pt x="97" y="579"/>
                      <a:pt x="111" y="577"/>
                    </a:cubicBezTo>
                    <a:cubicBezTo>
                      <a:pt x="116" y="575"/>
                      <a:pt x="120" y="573"/>
                      <a:pt x="124" y="572"/>
                    </a:cubicBezTo>
                    <a:cubicBezTo>
                      <a:pt x="133" y="563"/>
                      <a:pt x="142" y="565"/>
                      <a:pt x="155" y="564"/>
                    </a:cubicBezTo>
                    <a:cubicBezTo>
                      <a:pt x="166" y="561"/>
                      <a:pt x="175" y="555"/>
                      <a:pt x="186" y="554"/>
                    </a:cubicBezTo>
                    <a:cubicBezTo>
                      <a:pt x="198" y="555"/>
                      <a:pt x="204" y="560"/>
                      <a:pt x="216" y="561"/>
                    </a:cubicBezTo>
                    <a:cubicBezTo>
                      <a:pt x="236" y="569"/>
                      <a:pt x="260" y="566"/>
                      <a:pt x="281" y="567"/>
                    </a:cubicBezTo>
                    <a:cubicBezTo>
                      <a:pt x="302" y="566"/>
                      <a:pt x="289" y="572"/>
                      <a:pt x="309" y="569"/>
                    </a:cubicBezTo>
                    <a:cubicBezTo>
                      <a:pt x="312" y="567"/>
                      <a:pt x="336" y="537"/>
                      <a:pt x="336" y="537"/>
                    </a:cubicBezTo>
                    <a:cubicBezTo>
                      <a:pt x="340" y="526"/>
                      <a:pt x="358" y="529"/>
                      <a:pt x="370" y="527"/>
                    </a:cubicBezTo>
                    <a:cubicBezTo>
                      <a:pt x="394" y="528"/>
                      <a:pt x="396" y="531"/>
                      <a:pt x="402" y="518"/>
                    </a:cubicBezTo>
                    <a:cubicBezTo>
                      <a:pt x="400" y="507"/>
                      <a:pt x="404" y="486"/>
                      <a:pt x="414" y="483"/>
                    </a:cubicBezTo>
                    <a:cubicBezTo>
                      <a:pt x="421" y="474"/>
                      <a:pt x="431" y="462"/>
                      <a:pt x="438" y="455"/>
                    </a:cubicBezTo>
                    <a:cubicBezTo>
                      <a:pt x="440" y="449"/>
                      <a:pt x="455" y="453"/>
                      <a:pt x="459" y="447"/>
                    </a:cubicBezTo>
                    <a:cubicBezTo>
                      <a:pt x="458" y="439"/>
                      <a:pt x="459" y="428"/>
                      <a:pt x="450" y="425"/>
                    </a:cubicBezTo>
                    <a:cubicBezTo>
                      <a:pt x="448" y="421"/>
                      <a:pt x="443" y="418"/>
                      <a:pt x="439" y="415"/>
                    </a:cubicBezTo>
                    <a:cubicBezTo>
                      <a:pt x="437" y="412"/>
                      <a:pt x="435" y="405"/>
                      <a:pt x="435" y="405"/>
                    </a:cubicBezTo>
                    <a:cubicBezTo>
                      <a:pt x="438" y="394"/>
                      <a:pt x="439" y="390"/>
                      <a:pt x="445" y="381"/>
                    </a:cubicBezTo>
                    <a:cubicBezTo>
                      <a:pt x="448" y="377"/>
                      <a:pt x="456" y="371"/>
                      <a:pt x="456" y="371"/>
                    </a:cubicBezTo>
                    <a:cubicBezTo>
                      <a:pt x="458" y="365"/>
                      <a:pt x="466" y="355"/>
                      <a:pt x="471" y="350"/>
                    </a:cubicBezTo>
                    <a:cubicBezTo>
                      <a:pt x="474" y="347"/>
                      <a:pt x="480" y="341"/>
                      <a:pt x="480" y="341"/>
                    </a:cubicBezTo>
                    <a:cubicBezTo>
                      <a:pt x="481" y="337"/>
                      <a:pt x="486" y="333"/>
                      <a:pt x="489" y="330"/>
                    </a:cubicBezTo>
                    <a:cubicBezTo>
                      <a:pt x="491" y="325"/>
                      <a:pt x="492" y="317"/>
                      <a:pt x="497" y="315"/>
                    </a:cubicBezTo>
                    <a:cubicBezTo>
                      <a:pt x="499" y="310"/>
                      <a:pt x="505" y="306"/>
                      <a:pt x="509" y="303"/>
                    </a:cubicBezTo>
                    <a:cubicBezTo>
                      <a:pt x="511" y="300"/>
                      <a:pt x="519" y="300"/>
                      <a:pt x="522" y="297"/>
                    </a:cubicBezTo>
                    <a:cubicBezTo>
                      <a:pt x="524" y="295"/>
                      <a:pt x="528" y="293"/>
                      <a:pt x="528" y="293"/>
                    </a:cubicBezTo>
                    <a:cubicBezTo>
                      <a:pt x="530" y="286"/>
                      <a:pt x="542" y="282"/>
                      <a:pt x="549" y="281"/>
                    </a:cubicBezTo>
                    <a:cubicBezTo>
                      <a:pt x="560" y="276"/>
                      <a:pt x="574" y="277"/>
                      <a:pt x="586" y="275"/>
                    </a:cubicBezTo>
                    <a:cubicBezTo>
                      <a:pt x="592" y="271"/>
                      <a:pt x="600" y="270"/>
                      <a:pt x="607" y="267"/>
                    </a:cubicBezTo>
                    <a:cubicBezTo>
                      <a:pt x="610" y="266"/>
                      <a:pt x="616" y="264"/>
                      <a:pt x="616" y="264"/>
                    </a:cubicBezTo>
                    <a:cubicBezTo>
                      <a:pt x="621" y="259"/>
                      <a:pt x="633" y="254"/>
                      <a:pt x="640" y="251"/>
                    </a:cubicBezTo>
                    <a:cubicBezTo>
                      <a:pt x="643" y="247"/>
                      <a:pt x="650" y="243"/>
                      <a:pt x="654" y="240"/>
                    </a:cubicBezTo>
                    <a:cubicBezTo>
                      <a:pt x="665" y="218"/>
                      <a:pt x="665" y="199"/>
                      <a:pt x="659" y="191"/>
                    </a:cubicBezTo>
                    <a:lnTo>
                      <a:pt x="616" y="194"/>
                    </a:lnTo>
                    <a:lnTo>
                      <a:pt x="598" y="193"/>
                    </a:lnTo>
                    <a:lnTo>
                      <a:pt x="593" y="179"/>
                    </a:lnTo>
                    <a:lnTo>
                      <a:pt x="569" y="170"/>
                    </a:lnTo>
                    <a:lnTo>
                      <a:pt x="539" y="153"/>
                    </a:lnTo>
                    <a:lnTo>
                      <a:pt x="531" y="162"/>
                    </a:lnTo>
                    <a:lnTo>
                      <a:pt x="519" y="164"/>
                    </a:lnTo>
                    <a:lnTo>
                      <a:pt x="504" y="159"/>
                    </a:lnTo>
                    <a:lnTo>
                      <a:pt x="486" y="156"/>
                    </a:lnTo>
                    <a:lnTo>
                      <a:pt x="467" y="143"/>
                    </a:lnTo>
                    <a:lnTo>
                      <a:pt x="455" y="131"/>
                    </a:lnTo>
                    <a:lnTo>
                      <a:pt x="437" y="131"/>
                    </a:lnTo>
                    <a:lnTo>
                      <a:pt x="419" y="110"/>
                    </a:lnTo>
                    <a:lnTo>
                      <a:pt x="418" y="89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</p:grpSp>
        <p:grpSp>
          <p:nvGrpSpPr>
            <p:cNvPr id="266" name="Group 58"/>
            <p:cNvGrpSpPr>
              <a:grpSpLocks/>
            </p:cNvGrpSpPr>
            <p:nvPr/>
          </p:nvGrpSpPr>
          <p:grpSpPr bwMode="auto">
            <a:xfrm>
              <a:off x="2355" y="2602"/>
              <a:ext cx="422" cy="564"/>
              <a:chOff x="2491" y="2445"/>
              <a:chExt cx="418" cy="558"/>
            </a:xfrm>
            <a:grpFill/>
          </p:grpSpPr>
          <p:grpSp>
            <p:nvGrpSpPr>
              <p:cNvPr id="331" name="Group 59"/>
              <p:cNvGrpSpPr>
                <a:grpSpLocks noChangeAspect="1"/>
              </p:cNvGrpSpPr>
              <p:nvPr/>
            </p:nvGrpSpPr>
            <p:grpSpPr bwMode="auto">
              <a:xfrm>
                <a:off x="2491" y="2445"/>
                <a:ext cx="418" cy="558"/>
                <a:chOff x="2492" y="2445"/>
                <a:chExt cx="418" cy="558"/>
              </a:xfrm>
              <a:grpFill/>
            </p:grpSpPr>
            <p:sp>
              <p:nvSpPr>
                <p:cNvPr id="333" name="Freeform 60"/>
                <p:cNvSpPr>
                  <a:spLocks noChangeAspect="1"/>
                </p:cNvSpPr>
                <p:nvPr/>
              </p:nvSpPr>
              <p:spPr bwMode="auto">
                <a:xfrm>
                  <a:off x="2606" y="2445"/>
                  <a:ext cx="12" cy="31"/>
                </a:xfrm>
                <a:custGeom>
                  <a:avLst/>
                  <a:gdLst>
                    <a:gd name="T0" fmla="*/ 6 w 12"/>
                    <a:gd name="T1" fmla="*/ 0 h 31"/>
                    <a:gd name="T2" fmla="*/ 0 w 12"/>
                    <a:gd name="T3" fmla="*/ 12 h 31"/>
                    <a:gd name="T4" fmla="*/ 3 w 12"/>
                    <a:gd name="T5" fmla="*/ 31 h 31"/>
                    <a:gd name="T6" fmla="*/ 6 w 12"/>
                    <a:gd name="T7" fmla="*/ 0 h 31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2"/>
                    <a:gd name="T13" fmla="*/ 0 h 31"/>
                    <a:gd name="T14" fmla="*/ 12 w 12"/>
                    <a:gd name="T15" fmla="*/ 31 h 31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2" h="31">
                      <a:moveTo>
                        <a:pt x="6" y="0"/>
                      </a:moveTo>
                      <a:cubicBezTo>
                        <a:pt x="5" y="4"/>
                        <a:pt x="0" y="12"/>
                        <a:pt x="0" y="12"/>
                      </a:cubicBezTo>
                      <a:cubicBezTo>
                        <a:pt x="1" y="18"/>
                        <a:pt x="2" y="25"/>
                        <a:pt x="3" y="31"/>
                      </a:cubicBezTo>
                      <a:cubicBezTo>
                        <a:pt x="12" y="22"/>
                        <a:pt x="8" y="11"/>
                        <a:pt x="6" y="0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orpoS" pitchFamily="2" charset="0"/>
                    <a:ea typeface="+mn-ea"/>
                  </a:endParaRPr>
                </a:p>
              </p:txBody>
            </p:sp>
            <p:sp>
              <p:nvSpPr>
                <p:cNvPr id="334" name="Freeform 61"/>
                <p:cNvSpPr>
                  <a:spLocks noChangeAspect="1"/>
                </p:cNvSpPr>
                <p:nvPr/>
              </p:nvSpPr>
              <p:spPr bwMode="auto">
                <a:xfrm>
                  <a:off x="2492" y="2450"/>
                  <a:ext cx="418" cy="553"/>
                </a:xfrm>
                <a:custGeom>
                  <a:avLst/>
                  <a:gdLst>
                    <a:gd name="T0" fmla="*/ 351 w 418"/>
                    <a:gd name="T1" fmla="*/ 427 h 553"/>
                    <a:gd name="T2" fmla="*/ 335 w 418"/>
                    <a:gd name="T3" fmla="*/ 412 h 553"/>
                    <a:gd name="T4" fmla="*/ 320 w 418"/>
                    <a:gd name="T5" fmla="*/ 398 h 553"/>
                    <a:gd name="T6" fmla="*/ 303 w 418"/>
                    <a:gd name="T7" fmla="*/ 379 h 553"/>
                    <a:gd name="T8" fmla="*/ 287 w 418"/>
                    <a:gd name="T9" fmla="*/ 344 h 553"/>
                    <a:gd name="T10" fmla="*/ 313 w 418"/>
                    <a:gd name="T11" fmla="*/ 328 h 553"/>
                    <a:gd name="T12" fmla="*/ 354 w 418"/>
                    <a:gd name="T13" fmla="*/ 306 h 553"/>
                    <a:gd name="T14" fmla="*/ 371 w 418"/>
                    <a:gd name="T15" fmla="*/ 298 h 553"/>
                    <a:gd name="T16" fmla="*/ 398 w 418"/>
                    <a:gd name="T17" fmla="*/ 287 h 553"/>
                    <a:gd name="T18" fmla="*/ 411 w 418"/>
                    <a:gd name="T19" fmla="*/ 263 h 553"/>
                    <a:gd name="T20" fmla="*/ 411 w 418"/>
                    <a:gd name="T21" fmla="*/ 242 h 553"/>
                    <a:gd name="T22" fmla="*/ 393 w 418"/>
                    <a:gd name="T23" fmla="*/ 214 h 553"/>
                    <a:gd name="T24" fmla="*/ 392 w 418"/>
                    <a:gd name="T25" fmla="*/ 172 h 553"/>
                    <a:gd name="T26" fmla="*/ 381 w 418"/>
                    <a:gd name="T27" fmla="*/ 154 h 553"/>
                    <a:gd name="T28" fmla="*/ 371 w 418"/>
                    <a:gd name="T29" fmla="*/ 137 h 553"/>
                    <a:gd name="T30" fmla="*/ 371 w 418"/>
                    <a:gd name="T31" fmla="*/ 86 h 553"/>
                    <a:gd name="T32" fmla="*/ 345 w 418"/>
                    <a:gd name="T33" fmla="*/ 59 h 553"/>
                    <a:gd name="T34" fmla="*/ 326 w 418"/>
                    <a:gd name="T35" fmla="*/ 44 h 553"/>
                    <a:gd name="T36" fmla="*/ 303 w 418"/>
                    <a:gd name="T37" fmla="*/ 38 h 553"/>
                    <a:gd name="T38" fmla="*/ 254 w 418"/>
                    <a:gd name="T39" fmla="*/ 61 h 553"/>
                    <a:gd name="T40" fmla="*/ 233 w 418"/>
                    <a:gd name="T41" fmla="*/ 44 h 553"/>
                    <a:gd name="T42" fmla="*/ 195 w 418"/>
                    <a:gd name="T43" fmla="*/ 37 h 553"/>
                    <a:gd name="T44" fmla="*/ 162 w 418"/>
                    <a:gd name="T45" fmla="*/ 6 h 553"/>
                    <a:gd name="T46" fmla="*/ 129 w 418"/>
                    <a:gd name="T47" fmla="*/ 1 h 553"/>
                    <a:gd name="T48" fmla="*/ 138 w 418"/>
                    <a:gd name="T49" fmla="*/ 18 h 553"/>
                    <a:gd name="T50" fmla="*/ 141 w 418"/>
                    <a:gd name="T51" fmla="*/ 46 h 553"/>
                    <a:gd name="T52" fmla="*/ 131 w 418"/>
                    <a:gd name="T53" fmla="*/ 79 h 553"/>
                    <a:gd name="T54" fmla="*/ 117 w 418"/>
                    <a:gd name="T55" fmla="*/ 103 h 553"/>
                    <a:gd name="T56" fmla="*/ 92 w 418"/>
                    <a:gd name="T57" fmla="*/ 86 h 553"/>
                    <a:gd name="T58" fmla="*/ 63 w 418"/>
                    <a:gd name="T59" fmla="*/ 113 h 553"/>
                    <a:gd name="T60" fmla="*/ 63 w 418"/>
                    <a:gd name="T61" fmla="*/ 145 h 553"/>
                    <a:gd name="T62" fmla="*/ 51 w 418"/>
                    <a:gd name="T63" fmla="*/ 167 h 553"/>
                    <a:gd name="T64" fmla="*/ 39 w 418"/>
                    <a:gd name="T65" fmla="*/ 164 h 553"/>
                    <a:gd name="T66" fmla="*/ 57 w 418"/>
                    <a:gd name="T67" fmla="*/ 185 h 553"/>
                    <a:gd name="T68" fmla="*/ 44 w 418"/>
                    <a:gd name="T69" fmla="*/ 200 h 553"/>
                    <a:gd name="T70" fmla="*/ 9 w 418"/>
                    <a:gd name="T71" fmla="*/ 220 h 553"/>
                    <a:gd name="T72" fmla="*/ 13 w 418"/>
                    <a:gd name="T73" fmla="*/ 242 h 553"/>
                    <a:gd name="T74" fmla="*/ 0 w 418"/>
                    <a:gd name="T75" fmla="*/ 280 h 553"/>
                    <a:gd name="T76" fmla="*/ 3 w 418"/>
                    <a:gd name="T77" fmla="*/ 295 h 553"/>
                    <a:gd name="T78" fmla="*/ 18 w 418"/>
                    <a:gd name="T79" fmla="*/ 328 h 553"/>
                    <a:gd name="T80" fmla="*/ 7 w 418"/>
                    <a:gd name="T81" fmla="*/ 350 h 553"/>
                    <a:gd name="T82" fmla="*/ 18 w 418"/>
                    <a:gd name="T83" fmla="*/ 392 h 553"/>
                    <a:gd name="T84" fmla="*/ 65 w 418"/>
                    <a:gd name="T85" fmla="*/ 415 h 553"/>
                    <a:gd name="T86" fmla="*/ 102 w 418"/>
                    <a:gd name="T87" fmla="*/ 434 h 553"/>
                    <a:gd name="T88" fmla="*/ 81 w 418"/>
                    <a:gd name="T89" fmla="*/ 455 h 553"/>
                    <a:gd name="T90" fmla="*/ 66 w 418"/>
                    <a:gd name="T91" fmla="*/ 509 h 553"/>
                    <a:gd name="T92" fmla="*/ 111 w 418"/>
                    <a:gd name="T93" fmla="*/ 532 h 553"/>
                    <a:gd name="T94" fmla="*/ 111 w 418"/>
                    <a:gd name="T95" fmla="*/ 514 h 553"/>
                    <a:gd name="T96" fmla="*/ 134 w 418"/>
                    <a:gd name="T97" fmla="*/ 528 h 553"/>
                    <a:gd name="T98" fmla="*/ 157 w 418"/>
                    <a:gd name="T99" fmla="*/ 526 h 553"/>
                    <a:gd name="T100" fmla="*/ 188 w 418"/>
                    <a:gd name="T101" fmla="*/ 541 h 553"/>
                    <a:gd name="T102" fmla="*/ 204 w 418"/>
                    <a:gd name="T103" fmla="*/ 553 h 553"/>
                    <a:gd name="T104" fmla="*/ 231 w 418"/>
                    <a:gd name="T105" fmla="*/ 542 h 553"/>
                    <a:gd name="T106" fmla="*/ 258 w 418"/>
                    <a:gd name="T107" fmla="*/ 540 h 553"/>
                    <a:gd name="T108" fmla="*/ 299 w 418"/>
                    <a:gd name="T109" fmla="*/ 523 h 553"/>
                    <a:gd name="T110" fmla="*/ 324 w 418"/>
                    <a:gd name="T111" fmla="*/ 527 h 553"/>
                    <a:gd name="T112" fmla="*/ 333 w 418"/>
                    <a:gd name="T113" fmla="*/ 522 h 553"/>
                    <a:gd name="T114" fmla="*/ 320 w 418"/>
                    <a:gd name="T115" fmla="*/ 490 h 553"/>
                    <a:gd name="T116" fmla="*/ 348 w 418"/>
                    <a:gd name="T117" fmla="*/ 473 h 553"/>
                    <a:gd name="T118" fmla="*/ 369 w 418"/>
                    <a:gd name="T119" fmla="*/ 444 h 553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w 418"/>
                    <a:gd name="T181" fmla="*/ 0 h 553"/>
                    <a:gd name="T182" fmla="*/ 418 w 418"/>
                    <a:gd name="T183" fmla="*/ 553 h 553"/>
                  </a:gdLst>
                  <a:ahLst/>
                  <a:cxnLst>
                    <a:cxn ang="T120">
                      <a:pos x="T0" y="T1"/>
                    </a:cxn>
                    <a:cxn ang="T121">
                      <a:pos x="T2" y="T3"/>
                    </a:cxn>
                    <a:cxn ang="T122">
                      <a:pos x="T4" y="T5"/>
                    </a:cxn>
                    <a:cxn ang="T123">
                      <a:pos x="T6" y="T7"/>
                    </a:cxn>
                    <a:cxn ang="T124">
                      <a:pos x="T8" y="T9"/>
                    </a:cxn>
                    <a:cxn ang="T125">
                      <a:pos x="T10" y="T11"/>
                    </a:cxn>
                    <a:cxn ang="T126">
                      <a:pos x="T12" y="T13"/>
                    </a:cxn>
                    <a:cxn ang="T127">
                      <a:pos x="T14" y="T15"/>
                    </a:cxn>
                    <a:cxn ang="T128">
                      <a:pos x="T16" y="T17"/>
                    </a:cxn>
                    <a:cxn ang="T129">
                      <a:pos x="T18" y="T19"/>
                    </a:cxn>
                    <a:cxn ang="T130">
                      <a:pos x="T20" y="T21"/>
                    </a:cxn>
                    <a:cxn ang="T131">
                      <a:pos x="T22" y="T23"/>
                    </a:cxn>
                    <a:cxn ang="T132">
                      <a:pos x="T24" y="T25"/>
                    </a:cxn>
                    <a:cxn ang="T133">
                      <a:pos x="T26" y="T27"/>
                    </a:cxn>
                    <a:cxn ang="T134">
                      <a:pos x="T28" y="T29"/>
                    </a:cxn>
                    <a:cxn ang="T135">
                      <a:pos x="T30" y="T31"/>
                    </a:cxn>
                    <a:cxn ang="T136">
                      <a:pos x="T32" y="T33"/>
                    </a:cxn>
                    <a:cxn ang="T137">
                      <a:pos x="T34" y="T35"/>
                    </a:cxn>
                    <a:cxn ang="T138">
                      <a:pos x="T36" y="T37"/>
                    </a:cxn>
                    <a:cxn ang="T139">
                      <a:pos x="T38" y="T39"/>
                    </a:cxn>
                    <a:cxn ang="T140">
                      <a:pos x="T40" y="T41"/>
                    </a:cxn>
                    <a:cxn ang="T141">
                      <a:pos x="T42" y="T43"/>
                    </a:cxn>
                    <a:cxn ang="T142">
                      <a:pos x="T44" y="T45"/>
                    </a:cxn>
                    <a:cxn ang="T143">
                      <a:pos x="T46" y="T47"/>
                    </a:cxn>
                    <a:cxn ang="T144">
                      <a:pos x="T48" y="T49"/>
                    </a:cxn>
                    <a:cxn ang="T145">
                      <a:pos x="T50" y="T51"/>
                    </a:cxn>
                    <a:cxn ang="T146">
                      <a:pos x="T52" y="T53"/>
                    </a:cxn>
                    <a:cxn ang="T147">
                      <a:pos x="T54" y="T55"/>
                    </a:cxn>
                    <a:cxn ang="T148">
                      <a:pos x="T56" y="T57"/>
                    </a:cxn>
                    <a:cxn ang="T149">
                      <a:pos x="T58" y="T59"/>
                    </a:cxn>
                    <a:cxn ang="T150">
                      <a:pos x="T60" y="T61"/>
                    </a:cxn>
                    <a:cxn ang="T151">
                      <a:pos x="T62" y="T63"/>
                    </a:cxn>
                    <a:cxn ang="T152">
                      <a:pos x="T64" y="T65"/>
                    </a:cxn>
                    <a:cxn ang="T153">
                      <a:pos x="T66" y="T67"/>
                    </a:cxn>
                    <a:cxn ang="T154">
                      <a:pos x="T68" y="T69"/>
                    </a:cxn>
                    <a:cxn ang="T155">
                      <a:pos x="T70" y="T71"/>
                    </a:cxn>
                    <a:cxn ang="T156">
                      <a:pos x="T72" y="T73"/>
                    </a:cxn>
                    <a:cxn ang="T157">
                      <a:pos x="T74" y="T75"/>
                    </a:cxn>
                    <a:cxn ang="T158">
                      <a:pos x="T76" y="T77"/>
                    </a:cxn>
                    <a:cxn ang="T159">
                      <a:pos x="T78" y="T79"/>
                    </a:cxn>
                    <a:cxn ang="T160">
                      <a:pos x="T80" y="T81"/>
                    </a:cxn>
                    <a:cxn ang="T161">
                      <a:pos x="T82" y="T83"/>
                    </a:cxn>
                    <a:cxn ang="T162">
                      <a:pos x="T84" y="T85"/>
                    </a:cxn>
                    <a:cxn ang="T163">
                      <a:pos x="T86" y="T87"/>
                    </a:cxn>
                    <a:cxn ang="T164">
                      <a:pos x="T88" y="T89"/>
                    </a:cxn>
                    <a:cxn ang="T165">
                      <a:pos x="T90" y="T91"/>
                    </a:cxn>
                    <a:cxn ang="T166">
                      <a:pos x="T92" y="T93"/>
                    </a:cxn>
                    <a:cxn ang="T167">
                      <a:pos x="T94" y="T95"/>
                    </a:cxn>
                    <a:cxn ang="T168">
                      <a:pos x="T96" y="T97"/>
                    </a:cxn>
                    <a:cxn ang="T169">
                      <a:pos x="T98" y="T99"/>
                    </a:cxn>
                    <a:cxn ang="T170">
                      <a:pos x="T100" y="T101"/>
                    </a:cxn>
                    <a:cxn ang="T171">
                      <a:pos x="T102" y="T103"/>
                    </a:cxn>
                    <a:cxn ang="T172">
                      <a:pos x="T104" y="T105"/>
                    </a:cxn>
                    <a:cxn ang="T173">
                      <a:pos x="T106" y="T107"/>
                    </a:cxn>
                    <a:cxn ang="T174">
                      <a:pos x="T108" y="T109"/>
                    </a:cxn>
                    <a:cxn ang="T175">
                      <a:pos x="T110" y="T111"/>
                    </a:cxn>
                    <a:cxn ang="T176">
                      <a:pos x="T112" y="T113"/>
                    </a:cxn>
                    <a:cxn ang="T177">
                      <a:pos x="T114" y="T115"/>
                    </a:cxn>
                    <a:cxn ang="T178">
                      <a:pos x="T116" y="T117"/>
                    </a:cxn>
                    <a:cxn ang="T179">
                      <a:pos x="T118" y="T119"/>
                    </a:cxn>
                  </a:cxnLst>
                  <a:rect l="T180" t="T181" r="T182" b="T183"/>
                  <a:pathLst>
                    <a:path w="418" h="553">
                      <a:moveTo>
                        <a:pt x="369" y="444"/>
                      </a:moveTo>
                      <a:cubicBezTo>
                        <a:pt x="366" y="430"/>
                        <a:pt x="362" y="428"/>
                        <a:pt x="351" y="427"/>
                      </a:cubicBezTo>
                      <a:cubicBezTo>
                        <a:pt x="349" y="423"/>
                        <a:pt x="345" y="421"/>
                        <a:pt x="342" y="418"/>
                      </a:cubicBezTo>
                      <a:cubicBezTo>
                        <a:pt x="340" y="413"/>
                        <a:pt x="339" y="414"/>
                        <a:pt x="335" y="412"/>
                      </a:cubicBezTo>
                      <a:cubicBezTo>
                        <a:pt x="332" y="410"/>
                        <a:pt x="326" y="406"/>
                        <a:pt x="326" y="406"/>
                      </a:cubicBezTo>
                      <a:cubicBezTo>
                        <a:pt x="325" y="403"/>
                        <a:pt x="322" y="400"/>
                        <a:pt x="320" y="398"/>
                      </a:cubicBezTo>
                      <a:cubicBezTo>
                        <a:pt x="318" y="396"/>
                        <a:pt x="314" y="394"/>
                        <a:pt x="314" y="394"/>
                      </a:cubicBezTo>
                      <a:cubicBezTo>
                        <a:pt x="312" y="389"/>
                        <a:pt x="306" y="385"/>
                        <a:pt x="303" y="379"/>
                      </a:cubicBezTo>
                      <a:cubicBezTo>
                        <a:pt x="301" y="369"/>
                        <a:pt x="305" y="357"/>
                        <a:pt x="294" y="353"/>
                      </a:cubicBezTo>
                      <a:cubicBezTo>
                        <a:pt x="287" y="346"/>
                        <a:pt x="289" y="350"/>
                        <a:pt x="287" y="344"/>
                      </a:cubicBezTo>
                      <a:cubicBezTo>
                        <a:pt x="288" y="335"/>
                        <a:pt x="295" y="335"/>
                        <a:pt x="303" y="330"/>
                      </a:cubicBezTo>
                      <a:cubicBezTo>
                        <a:pt x="306" y="328"/>
                        <a:pt x="313" y="328"/>
                        <a:pt x="313" y="328"/>
                      </a:cubicBezTo>
                      <a:cubicBezTo>
                        <a:pt x="314" y="326"/>
                        <a:pt x="339" y="311"/>
                        <a:pt x="343" y="310"/>
                      </a:cubicBezTo>
                      <a:cubicBezTo>
                        <a:pt x="344" y="310"/>
                        <a:pt x="353" y="306"/>
                        <a:pt x="354" y="306"/>
                      </a:cubicBezTo>
                      <a:cubicBezTo>
                        <a:pt x="356" y="305"/>
                        <a:pt x="360" y="304"/>
                        <a:pt x="360" y="304"/>
                      </a:cubicBezTo>
                      <a:cubicBezTo>
                        <a:pt x="361" y="300"/>
                        <a:pt x="371" y="298"/>
                        <a:pt x="371" y="298"/>
                      </a:cubicBezTo>
                      <a:cubicBezTo>
                        <a:pt x="375" y="294"/>
                        <a:pt x="381" y="284"/>
                        <a:pt x="384" y="283"/>
                      </a:cubicBezTo>
                      <a:cubicBezTo>
                        <a:pt x="390" y="284"/>
                        <a:pt x="393" y="285"/>
                        <a:pt x="398" y="287"/>
                      </a:cubicBezTo>
                      <a:cubicBezTo>
                        <a:pt x="407" y="286"/>
                        <a:pt x="409" y="286"/>
                        <a:pt x="416" y="282"/>
                      </a:cubicBezTo>
                      <a:cubicBezTo>
                        <a:pt x="418" y="275"/>
                        <a:pt x="417" y="267"/>
                        <a:pt x="411" y="263"/>
                      </a:cubicBezTo>
                      <a:cubicBezTo>
                        <a:pt x="410" y="258"/>
                        <a:pt x="408" y="252"/>
                        <a:pt x="414" y="250"/>
                      </a:cubicBezTo>
                      <a:cubicBezTo>
                        <a:pt x="417" y="246"/>
                        <a:pt x="418" y="240"/>
                        <a:pt x="411" y="242"/>
                      </a:cubicBezTo>
                      <a:cubicBezTo>
                        <a:pt x="403" y="241"/>
                        <a:pt x="398" y="243"/>
                        <a:pt x="395" y="236"/>
                      </a:cubicBezTo>
                      <a:cubicBezTo>
                        <a:pt x="392" y="222"/>
                        <a:pt x="395" y="224"/>
                        <a:pt x="393" y="214"/>
                      </a:cubicBezTo>
                      <a:cubicBezTo>
                        <a:pt x="398" y="199"/>
                        <a:pt x="391" y="191"/>
                        <a:pt x="387" y="185"/>
                      </a:cubicBezTo>
                      <a:cubicBezTo>
                        <a:pt x="388" y="180"/>
                        <a:pt x="389" y="176"/>
                        <a:pt x="392" y="172"/>
                      </a:cubicBezTo>
                      <a:cubicBezTo>
                        <a:pt x="393" y="167"/>
                        <a:pt x="394" y="164"/>
                        <a:pt x="389" y="161"/>
                      </a:cubicBezTo>
                      <a:cubicBezTo>
                        <a:pt x="387" y="158"/>
                        <a:pt x="381" y="154"/>
                        <a:pt x="381" y="154"/>
                      </a:cubicBezTo>
                      <a:cubicBezTo>
                        <a:pt x="378" y="150"/>
                        <a:pt x="369" y="146"/>
                        <a:pt x="369" y="146"/>
                      </a:cubicBezTo>
                      <a:cubicBezTo>
                        <a:pt x="366" y="142"/>
                        <a:pt x="366" y="139"/>
                        <a:pt x="371" y="137"/>
                      </a:cubicBezTo>
                      <a:cubicBezTo>
                        <a:pt x="372" y="134"/>
                        <a:pt x="374" y="128"/>
                        <a:pt x="374" y="128"/>
                      </a:cubicBezTo>
                      <a:cubicBezTo>
                        <a:pt x="373" y="114"/>
                        <a:pt x="383" y="94"/>
                        <a:pt x="371" y="86"/>
                      </a:cubicBezTo>
                      <a:cubicBezTo>
                        <a:pt x="368" y="81"/>
                        <a:pt x="362" y="75"/>
                        <a:pt x="357" y="72"/>
                      </a:cubicBezTo>
                      <a:cubicBezTo>
                        <a:pt x="355" y="65"/>
                        <a:pt x="352" y="61"/>
                        <a:pt x="345" y="59"/>
                      </a:cubicBezTo>
                      <a:cubicBezTo>
                        <a:pt x="342" y="55"/>
                        <a:pt x="337" y="53"/>
                        <a:pt x="333" y="52"/>
                      </a:cubicBezTo>
                      <a:cubicBezTo>
                        <a:pt x="328" y="45"/>
                        <a:pt x="331" y="47"/>
                        <a:pt x="326" y="44"/>
                      </a:cubicBezTo>
                      <a:cubicBezTo>
                        <a:pt x="326" y="40"/>
                        <a:pt x="327" y="34"/>
                        <a:pt x="321" y="34"/>
                      </a:cubicBezTo>
                      <a:cubicBezTo>
                        <a:pt x="316" y="34"/>
                        <a:pt x="308" y="36"/>
                        <a:pt x="303" y="38"/>
                      </a:cubicBezTo>
                      <a:cubicBezTo>
                        <a:pt x="291" y="43"/>
                        <a:pt x="286" y="49"/>
                        <a:pt x="273" y="52"/>
                      </a:cubicBezTo>
                      <a:cubicBezTo>
                        <a:pt x="269" y="54"/>
                        <a:pt x="254" y="61"/>
                        <a:pt x="254" y="61"/>
                      </a:cubicBezTo>
                      <a:cubicBezTo>
                        <a:pt x="252" y="65"/>
                        <a:pt x="247" y="67"/>
                        <a:pt x="243" y="68"/>
                      </a:cubicBezTo>
                      <a:cubicBezTo>
                        <a:pt x="232" y="66"/>
                        <a:pt x="238" y="51"/>
                        <a:pt x="233" y="44"/>
                      </a:cubicBezTo>
                      <a:cubicBezTo>
                        <a:pt x="230" y="34"/>
                        <a:pt x="230" y="43"/>
                        <a:pt x="222" y="38"/>
                      </a:cubicBezTo>
                      <a:cubicBezTo>
                        <a:pt x="214" y="44"/>
                        <a:pt x="204" y="39"/>
                        <a:pt x="195" y="37"/>
                      </a:cubicBezTo>
                      <a:cubicBezTo>
                        <a:pt x="190" y="30"/>
                        <a:pt x="190" y="19"/>
                        <a:pt x="183" y="14"/>
                      </a:cubicBezTo>
                      <a:cubicBezTo>
                        <a:pt x="177" y="5"/>
                        <a:pt x="175" y="7"/>
                        <a:pt x="162" y="6"/>
                      </a:cubicBezTo>
                      <a:cubicBezTo>
                        <a:pt x="154" y="4"/>
                        <a:pt x="148" y="1"/>
                        <a:pt x="140" y="0"/>
                      </a:cubicBezTo>
                      <a:cubicBezTo>
                        <a:pt x="136" y="0"/>
                        <a:pt x="132" y="0"/>
                        <a:pt x="129" y="1"/>
                      </a:cubicBezTo>
                      <a:cubicBezTo>
                        <a:pt x="128" y="1"/>
                        <a:pt x="131" y="3"/>
                        <a:pt x="131" y="4"/>
                      </a:cubicBezTo>
                      <a:cubicBezTo>
                        <a:pt x="134" y="10"/>
                        <a:pt x="133" y="15"/>
                        <a:pt x="138" y="18"/>
                      </a:cubicBezTo>
                      <a:cubicBezTo>
                        <a:pt x="140" y="23"/>
                        <a:pt x="143" y="27"/>
                        <a:pt x="146" y="31"/>
                      </a:cubicBezTo>
                      <a:cubicBezTo>
                        <a:pt x="145" y="37"/>
                        <a:pt x="144" y="41"/>
                        <a:pt x="141" y="46"/>
                      </a:cubicBezTo>
                      <a:cubicBezTo>
                        <a:pt x="142" y="51"/>
                        <a:pt x="145" y="62"/>
                        <a:pt x="145" y="62"/>
                      </a:cubicBezTo>
                      <a:cubicBezTo>
                        <a:pt x="147" y="78"/>
                        <a:pt x="144" y="75"/>
                        <a:pt x="131" y="79"/>
                      </a:cubicBezTo>
                      <a:cubicBezTo>
                        <a:pt x="127" y="83"/>
                        <a:pt x="126" y="87"/>
                        <a:pt x="122" y="91"/>
                      </a:cubicBezTo>
                      <a:cubicBezTo>
                        <a:pt x="121" y="96"/>
                        <a:pt x="122" y="100"/>
                        <a:pt x="117" y="103"/>
                      </a:cubicBezTo>
                      <a:cubicBezTo>
                        <a:pt x="110" y="101"/>
                        <a:pt x="111" y="99"/>
                        <a:pt x="105" y="95"/>
                      </a:cubicBezTo>
                      <a:cubicBezTo>
                        <a:pt x="103" y="89"/>
                        <a:pt x="97" y="89"/>
                        <a:pt x="92" y="86"/>
                      </a:cubicBezTo>
                      <a:cubicBezTo>
                        <a:pt x="81" y="87"/>
                        <a:pt x="70" y="84"/>
                        <a:pt x="66" y="95"/>
                      </a:cubicBezTo>
                      <a:cubicBezTo>
                        <a:pt x="65" y="101"/>
                        <a:pt x="64" y="107"/>
                        <a:pt x="63" y="113"/>
                      </a:cubicBezTo>
                      <a:cubicBezTo>
                        <a:pt x="63" y="117"/>
                        <a:pt x="65" y="117"/>
                        <a:pt x="65" y="122"/>
                      </a:cubicBezTo>
                      <a:cubicBezTo>
                        <a:pt x="66" y="130"/>
                        <a:pt x="66" y="137"/>
                        <a:pt x="63" y="145"/>
                      </a:cubicBezTo>
                      <a:cubicBezTo>
                        <a:pt x="61" y="149"/>
                        <a:pt x="57" y="157"/>
                        <a:pt x="57" y="157"/>
                      </a:cubicBezTo>
                      <a:cubicBezTo>
                        <a:pt x="56" y="163"/>
                        <a:pt x="57" y="166"/>
                        <a:pt x="51" y="167"/>
                      </a:cubicBezTo>
                      <a:cubicBezTo>
                        <a:pt x="50" y="165"/>
                        <a:pt x="50" y="163"/>
                        <a:pt x="49" y="161"/>
                      </a:cubicBezTo>
                      <a:cubicBezTo>
                        <a:pt x="48" y="158"/>
                        <a:pt x="39" y="164"/>
                        <a:pt x="39" y="164"/>
                      </a:cubicBezTo>
                      <a:cubicBezTo>
                        <a:pt x="42" y="174"/>
                        <a:pt x="43" y="174"/>
                        <a:pt x="53" y="176"/>
                      </a:cubicBezTo>
                      <a:cubicBezTo>
                        <a:pt x="55" y="179"/>
                        <a:pt x="57" y="185"/>
                        <a:pt x="57" y="185"/>
                      </a:cubicBezTo>
                      <a:cubicBezTo>
                        <a:pt x="57" y="188"/>
                        <a:pt x="57" y="191"/>
                        <a:pt x="56" y="194"/>
                      </a:cubicBezTo>
                      <a:cubicBezTo>
                        <a:pt x="54" y="198"/>
                        <a:pt x="44" y="200"/>
                        <a:pt x="44" y="200"/>
                      </a:cubicBezTo>
                      <a:cubicBezTo>
                        <a:pt x="41" y="204"/>
                        <a:pt x="37" y="203"/>
                        <a:pt x="42" y="206"/>
                      </a:cubicBezTo>
                      <a:cubicBezTo>
                        <a:pt x="52" y="221"/>
                        <a:pt x="21" y="219"/>
                        <a:pt x="9" y="220"/>
                      </a:cubicBezTo>
                      <a:cubicBezTo>
                        <a:pt x="7" y="227"/>
                        <a:pt x="5" y="227"/>
                        <a:pt x="11" y="224"/>
                      </a:cubicBezTo>
                      <a:cubicBezTo>
                        <a:pt x="12" y="230"/>
                        <a:pt x="11" y="236"/>
                        <a:pt x="13" y="242"/>
                      </a:cubicBezTo>
                      <a:cubicBezTo>
                        <a:pt x="14" y="244"/>
                        <a:pt x="15" y="248"/>
                        <a:pt x="15" y="248"/>
                      </a:cubicBezTo>
                      <a:cubicBezTo>
                        <a:pt x="13" y="261"/>
                        <a:pt x="11" y="273"/>
                        <a:pt x="0" y="280"/>
                      </a:cubicBezTo>
                      <a:cubicBezTo>
                        <a:pt x="4" y="281"/>
                        <a:pt x="7" y="290"/>
                        <a:pt x="7" y="290"/>
                      </a:cubicBezTo>
                      <a:cubicBezTo>
                        <a:pt x="6" y="292"/>
                        <a:pt x="3" y="293"/>
                        <a:pt x="3" y="295"/>
                      </a:cubicBezTo>
                      <a:cubicBezTo>
                        <a:pt x="2" y="300"/>
                        <a:pt x="13" y="317"/>
                        <a:pt x="17" y="319"/>
                      </a:cubicBezTo>
                      <a:cubicBezTo>
                        <a:pt x="18" y="321"/>
                        <a:pt x="21" y="326"/>
                        <a:pt x="18" y="328"/>
                      </a:cubicBezTo>
                      <a:cubicBezTo>
                        <a:pt x="16" y="330"/>
                        <a:pt x="12" y="332"/>
                        <a:pt x="12" y="332"/>
                      </a:cubicBezTo>
                      <a:cubicBezTo>
                        <a:pt x="10" y="338"/>
                        <a:pt x="9" y="344"/>
                        <a:pt x="7" y="350"/>
                      </a:cubicBezTo>
                      <a:cubicBezTo>
                        <a:pt x="7" y="356"/>
                        <a:pt x="18" y="360"/>
                        <a:pt x="21" y="367"/>
                      </a:cubicBezTo>
                      <a:cubicBezTo>
                        <a:pt x="23" y="374"/>
                        <a:pt x="15" y="385"/>
                        <a:pt x="18" y="392"/>
                      </a:cubicBezTo>
                      <a:cubicBezTo>
                        <a:pt x="20" y="395"/>
                        <a:pt x="34" y="411"/>
                        <a:pt x="38" y="412"/>
                      </a:cubicBezTo>
                      <a:cubicBezTo>
                        <a:pt x="47" y="414"/>
                        <a:pt x="55" y="414"/>
                        <a:pt x="65" y="415"/>
                      </a:cubicBezTo>
                      <a:cubicBezTo>
                        <a:pt x="75" y="417"/>
                        <a:pt x="80" y="426"/>
                        <a:pt x="90" y="428"/>
                      </a:cubicBezTo>
                      <a:cubicBezTo>
                        <a:pt x="94" y="431"/>
                        <a:pt x="98" y="431"/>
                        <a:pt x="102" y="434"/>
                      </a:cubicBezTo>
                      <a:cubicBezTo>
                        <a:pt x="101" y="440"/>
                        <a:pt x="100" y="442"/>
                        <a:pt x="96" y="446"/>
                      </a:cubicBezTo>
                      <a:cubicBezTo>
                        <a:pt x="94" y="451"/>
                        <a:pt x="83" y="450"/>
                        <a:pt x="81" y="455"/>
                      </a:cubicBezTo>
                      <a:cubicBezTo>
                        <a:pt x="78" y="461"/>
                        <a:pt x="86" y="470"/>
                        <a:pt x="80" y="474"/>
                      </a:cubicBezTo>
                      <a:cubicBezTo>
                        <a:pt x="77" y="486"/>
                        <a:pt x="68" y="496"/>
                        <a:pt x="66" y="509"/>
                      </a:cubicBezTo>
                      <a:cubicBezTo>
                        <a:pt x="67" y="542"/>
                        <a:pt x="65" y="531"/>
                        <a:pt x="90" y="533"/>
                      </a:cubicBezTo>
                      <a:cubicBezTo>
                        <a:pt x="97" y="534"/>
                        <a:pt x="104" y="533"/>
                        <a:pt x="111" y="532"/>
                      </a:cubicBezTo>
                      <a:cubicBezTo>
                        <a:pt x="121" y="527"/>
                        <a:pt x="122" y="526"/>
                        <a:pt x="111" y="522"/>
                      </a:cubicBezTo>
                      <a:cubicBezTo>
                        <a:pt x="109" y="518"/>
                        <a:pt x="106" y="516"/>
                        <a:pt x="111" y="514"/>
                      </a:cubicBezTo>
                      <a:cubicBezTo>
                        <a:pt x="116" y="515"/>
                        <a:pt x="125" y="518"/>
                        <a:pt x="125" y="518"/>
                      </a:cubicBezTo>
                      <a:cubicBezTo>
                        <a:pt x="127" y="523"/>
                        <a:pt x="129" y="526"/>
                        <a:pt x="134" y="528"/>
                      </a:cubicBezTo>
                      <a:cubicBezTo>
                        <a:pt x="141" y="526"/>
                        <a:pt x="138" y="527"/>
                        <a:pt x="143" y="524"/>
                      </a:cubicBezTo>
                      <a:cubicBezTo>
                        <a:pt x="147" y="527"/>
                        <a:pt x="152" y="525"/>
                        <a:pt x="157" y="526"/>
                      </a:cubicBezTo>
                      <a:cubicBezTo>
                        <a:pt x="161" y="530"/>
                        <a:pt x="171" y="533"/>
                        <a:pt x="176" y="536"/>
                      </a:cubicBezTo>
                      <a:cubicBezTo>
                        <a:pt x="180" y="538"/>
                        <a:pt x="184" y="540"/>
                        <a:pt x="188" y="541"/>
                      </a:cubicBezTo>
                      <a:cubicBezTo>
                        <a:pt x="189" y="541"/>
                        <a:pt x="191" y="542"/>
                        <a:pt x="191" y="542"/>
                      </a:cubicBezTo>
                      <a:cubicBezTo>
                        <a:pt x="195" y="548"/>
                        <a:pt x="197" y="551"/>
                        <a:pt x="204" y="553"/>
                      </a:cubicBezTo>
                      <a:cubicBezTo>
                        <a:pt x="215" y="551"/>
                        <a:pt x="212" y="549"/>
                        <a:pt x="215" y="539"/>
                      </a:cubicBezTo>
                      <a:cubicBezTo>
                        <a:pt x="226" y="540"/>
                        <a:pt x="224" y="536"/>
                        <a:pt x="231" y="542"/>
                      </a:cubicBezTo>
                      <a:cubicBezTo>
                        <a:pt x="234" y="544"/>
                        <a:pt x="240" y="546"/>
                        <a:pt x="240" y="546"/>
                      </a:cubicBezTo>
                      <a:cubicBezTo>
                        <a:pt x="246" y="545"/>
                        <a:pt x="254" y="545"/>
                        <a:pt x="258" y="540"/>
                      </a:cubicBezTo>
                      <a:cubicBezTo>
                        <a:pt x="259" y="539"/>
                        <a:pt x="266" y="530"/>
                        <a:pt x="267" y="530"/>
                      </a:cubicBezTo>
                      <a:cubicBezTo>
                        <a:pt x="274" y="527"/>
                        <a:pt x="292" y="523"/>
                        <a:pt x="299" y="523"/>
                      </a:cubicBezTo>
                      <a:cubicBezTo>
                        <a:pt x="302" y="524"/>
                        <a:pt x="305" y="526"/>
                        <a:pt x="308" y="527"/>
                      </a:cubicBezTo>
                      <a:cubicBezTo>
                        <a:pt x="316" y="524"/>
                        <a:pt x="312" y="521"/>
                        <a:pt x="324" y="527"/>
                      </a:cubicBezTo>
                      <a:cubicBezTo>
                        <a:pt x="328" y="529"/>
                        <a:pt x="336" y="536"/>
                        <a:pt x="336" y="536"/>
                      </a:cubicBezTo>
                      <a:cubicBezTo>
                        <a:pt x="344" y="533"/>
                        <a:pt x="338" y="524"/>
                        <a:pt x="333" y="522"/>
                      </a:cubicBezTo>
                      <a:cubicBezTo>
                        <a:pt x="331" y="514"/>
                        <a:pt x="335" y="503"/>
                        <a:pt x="327" y="498"/>
                      </a:cubicBezTo>
                      <a:cubicBezTo>
                        <a:pt x="325" y="494"/>
                        <a:pt x="324" y="491"/>
                        <a:pt x="320" y="490"/>
                      </a:cubicBezTo>
                      <a:cubicBezTo>
                        <a:pt x="323" y="488"/>
                        <a:pt x="329" y="486"/>
                        <a:pt x="329" y="486"/>
                      </a:cubicBezTo>
                      <a:cubicBezTo>
                        <a:pt x="334" y="479"/>
                        <a:pt x="341" y="478"/>
                        <a:pt x="348" y="473"/>
                      </a:cubicBezTo>
                      <a:cubicBezTo>
                        <a:pt x="352" y="460"/>
                        <a:pt x="353" y="457"/>
                        <a:pt x="367" y="455"/>
                      </a:cubicBezTo>
                      <a:cubicBezTo>
                        <a:pt x="370" y="450"/>
                        <a:pt x="374" y="447"/>
                        <a:pt x="369" y="444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orpoS" pitchFamily="2" charset="0"/>
                    <a:ea typeface="+mn-ea"/>
                  </a:endParaRPr>
                </a:p>
              </p:txBody>
            </p:sp>
          </p:grpSp>
          <p:sp>
            <p:nvSpPr>
              <p:cNvPr id="332" name="Freeform 62"/>
              <p:cNvSpPr>
                <a:spLocks noChangeAspect="1"/>
              </p:cNvSpPr>
              <p:nvPr/>
            </p:nvSpPr>
            <p:spPr bwMode="auto">
              <a:xfrm>
                <a:off x="2812" y="2466"/>
                <a:ext cx="24" cy="19"/>
              </a:xfrm>
              <a:custGeom>
                <a:avLst/>
                <a:gdLst>
                  <a:gd name="T0" fmla="*/ 4 w 24"/>
                  <a:gd name="T1" fmla="*/ 0 h 19"/>
                  <a:gd name="T2" fmla="*/ 9 w 24"/>
                  <a:gd name="T3" fmla="*/ 12 h 19"/>
                  <a:gd name="T4" fmla="*/ 15 w 24"/>
                  <a:gd name="T5" fmla="*/ 19 h 19"/>
                  <a:gd name="T6" fmla="*/ 18 w 24"/>
                  <a:gd name="T7" fmla="*/ 9 h 19"/>
                  <a:gd name="T8" fmla="*/ 9 w 24"/>
                  <a:gd name="T9" fmla="*/ 4 h 19"/>
                  <a:gd name="T10" fmla="*/ 3 w 24"/>
                  <a:gd name="T11" fmla="*/ 2 h 19"/>
                  <a:gd name="T12" fmla="*/ 4 w 24"/>
                  <a:gd name="T13" fmla="*/ 0 h 1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4"/>
                  <a:gd name="T22" fmla="*/ 0 h 19"/>
                  <a:gd name="T23" fmla="*/ 24 w 24"/>
                  <a:gd name="T24" fmla="*/ 19 h 1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4" h="19">
                    <a:moveTo>
                      <a:pt x="4" y="0"/>
                    </a:moveTo>
                    <a:cubicBezTo>
                      <a:pt x="0" y="6"/>
                      <a:pt x="4" y="9"/>
                      <a:pt x="9" y="12"/>
                    </a:cubicBezTo>
                    <a:cubicBezTo>
                      <a:pt x="11" y="16"/>
                      <a:pt x="14" y="15"/>
                      <a:pt x="15" y="19"/>
                    </a:cubicBezTo>
                    <a:cubicBezTo>
                      <a:pt x="21" y="18"/>
                      <a:pt x="24" y="15"/>
                      <a:pt x="18" y="9"/>
                    </a:cubicBezTo>
                    <a:cubicBezTo>
                      <a:pt x="16" y="6"/>
                      <a:pt x="12" y="6"/>
                      <a:pt x="9" y="4"/>
                    </a:cubicBezTo>
                    <a:cubicBezTo>
                      <a:pt x="7" y="3"/>
                      <a:pt x="2" y="4"/>
                      <a:pt x="3" y="2"/>
                    </a:cubicBezTo>
                    <a:cubicBezTo>
                      <a:pt x="3" y="1"/>
                      <a:pt x="4" y="1"/>
                      <a:pt x="4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</p:grpSp>
        <p:grpSp>
          <p:nvGrpSpPr>
            <p:cNvPr id="267" name="Group 63"/>
            <p:cNvGrpSpPr>
              <a:grpSpLocks/>
            </p:cNvGrpSpPr>
            <p:nvPr/>
          </p:nvGrpSpPr>
          <p:grpSpPr bwMode="auto">
            <a:xfrm>
              <a:off x="2464" y="2401"/>
              <a:ext cx="301" cy="238"/>
              <a:chOff x="2599" y="2246"/>
              <a:chExt cx="298" cy="236"/>
            </a:xfrm>
            <a:grpFill/>
          </p:grpSpPr>
          <p:sp>
            <p:nvSpPr>
              <p:cNvPr id="326" name="Freeform 64"/>
              <p:cNvSpPr>
                <a:spLocks noChangeAspect="1"/>
              </p:cNvSpPr>
              <p:nvPr/>
            </p:nvSpPr>
            <p:spPr bwMode="auto">
              <a:xfrm>
                <a:off x="2868" y="2422"/>
                <a:ext cx="29" cy="24"/>
              </a:xfrm>
              <a:custGeom>
                <a:avLst/>
                <a:gdLst>
                  <a:gd name="T0" fmla="*/ 4 w 29"/>
                  <a:gd name="T1" fmla="*/ 0 h 24"/>
                  <a:gd name="T2" fmla="*/ 15 w 29"/>
                  <a:gd name="T3" fmla="*/ 4 h 24"/>
                  <a:gd name="T4" fmla="*/ 16 w 29"/>
                  <a:gd name="T5" fmla="*/ 24 h 24"/>
                  <a:gd name="T6" fmla="*/ 3 w 29"/>
                  <a:gd name="T7" fmla="*/ 18 h 24"/>
                  <a:gd name="T8" fmla="*/ 4 w 29"/>
                  <a:gd name="T9" fmla="*/ 0 h 2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9"/>
                  <a:gd name="T16" fmla="*/ 0 h 24"/>
                  <a:gd name="T17" fmla="*/ 29 w 29"/>
                  <a:gd name="T18" fmla="*/ 24 h 2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9" h="24">
                    <a:moveTo>
                      <a:pt x="4" y="0"/>
                    </a:moveTo>
                    <a:cubicBezTo>
                      <a:pt x="8" y="2"/>
                      <a:pt x="11" y="3"/>
                      <a:pt x="15" y="4"/>
                    </a:cubicBezTo>
                    <a:cubicBezTo>
                      <a:pt x="19" y="10"/>
                      <a:pt x="29" y="21"/>
                      <a:pt x="16" y="24"/>
                    </a:cubicBezTo>
                    <a:cubicBezTo>
                      <a:pt x="11" y="23"/>
                      <a:pt x="3" y="18"/>
                      <a:pt x="3" y="18"/>
                    </a:cubicBezTo>
                    <a:cubicBezTo>
                      <a:pt x="0" y="13"/>
                      <a:pt x="4" y="6"/>
                      <a:pt x="4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27" name="Freeform 65"/>
              <p:cNvSpPr>
                <a:spLocks noChangeAspect="1"/>
              </p:cNvSpPr>
              <p:nvPr/>
            </p:nvSpPr>
            <p:spPr bwMode="auto">
              <a:xfrm>
                <a:off x="2708" y="2364"/>
                <a:ext cx="79" cy="88"/>
              </a:xfrm>
              <a:custGeom>
                <a:avLst/>
                <a:gdLst>
                  <a:gd name="T0" fmla="*/ 60 w 79"/>
                  <a:gd name="T1" fmla="*/ 0 h 88"/>
                  <a:gd name="T2" fmla="*/ 49 w 79"/>
                  <a:gd name="T3" fmla="*/ 8 h 88"/>
                  <a:gd name="T4" fmla="*/ 53 w 79"/>
                  <a:gd name="T5" fmla="*/ 26 h 88"/>
                  <a:gd name="T6" fmla="*/ 52 w 79"/>
                  <a:gd name="T7" fmla="*/ 32 h 88"/>
                  <a:gd name="T8" fmla="*/ 42 w 79"/>
                  <a:gd name="T9" fmla="*/ 31 h 88"/>
                  <a:gd name="T10" fmla="*/ 40 w 79"/>
                  <a:gd name="T11" fmla="*/ 21 h 88"/>
                  <a:gd name="T12" fmla="*/ 23 w 79"/>
                  <a:gd name="T13" fmla="*/ 8 h 88"/>
                  <a:gd name="T14" fmla="*/ 17 w 79"/>
                  <a:gd name="T15" fmla="*/ 26 h 88"/>
                  <a:gd name="T16" fmla="*/ 12 w 79"/>
                  <a:gd name="T17" fmla="*/ 33 h 88"/>
                  <a:gd name="T18" fmla="*/ 19 w 79"/>
                  <a:gd name="T19" fmla="*/ 67 h 88"/>
                  <a:gd name="T20" fmla="*/ 32 w 79"/>
                  <a:gd name="T21" fmla="*/ 68 h 88"/>
                  <a:gd name="T22" fmla="*/ 40 w 79"/>
                  <a:gd name="T23" fmla="*/ 72 h 88"/>
                  <a:gd name="T24" fmla="*/ 52 w 79"/>
                  <a:gd name="T25" fmla="*/ 82 h 88"/>
                  <a:gd name="T26" fmla="*/ 61 w 79"/>
                  <a:gd name="T27" fmla="*/ 88 h 88"/>
                  <a:gd name="T28" fmla="*/ 58 w 79"/>
                  <a:gd name="T29" fmla="*/ 69 h 88"/>
                  <a:gd name="T30" fmla="*/ 70 w 79"/>
                  <a:gd name="T31" fmla="*/ 61 h 88"/>
                  <a:gd name="T32" fmla="*/ 61 w 79"/>
                  <a:gd name="T33" fmla="*/ 48 h 88"/>
                  <a:gd name="T34" fmla="*/ 76 w 79"/>
                  <a:gd name="T35" fmla="*/ 39 h 88"/>
                  <a:gd name="T36" fmla="*/ 73 w 79"/>
                  <a:gd name="T37" fmla="*/ 24 h 88"/>
                  <a:gd name="T38" fmla="*/ 76 w 79"/>
                  <a:gd name="T39" fmla="*/ 10 h 88"/>
                  <a:gd name="T40" fmla="*/ 76 w 79"/>
                  <a:gd name="T41" fmla="*/ 4 h 88"/>
                  <a:gd name="T42" fmla="*/ 60 w 79"/>
                  <a:gd name="T43" fmla="*/ 0 h 88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79"/>
                  <a:gd name="T67" fmla="*/ 0 h 88"/>
                  <a:gd name="T68" fmla="*/ 79 w 79"/>
                  <a:gd name="T69" fmla="*/ 88 h 88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79" h="88">
                    <a:moveTo>
                      <a:pt x="60" y="0"/>
                    </a:moveTo>
                    <a:cubicBezTo>
                      <a:pt x="53" y="2"/>
                      <a:pt x="54" y="5"/>
                      <a:pt x="49" y="8"/>
                    </a:cubicBezTo>
                    <a:cubicBezTo>
                      <a:pt x="50" y="18"/>
                      <a:pt x="51" y="18"/>
                      <a:pt x="53" y="26"/>
                    </a:cubicBezTo>
                    <a:cubicBezTo>
                      <a:pt x="53" y="28"/>
                      <a:pt x="54" y="31"/>
                      <a:pt x="52" y="32"/>
                    </a:cubicBezTo>
                    <a:cubicBezTo>
                      <a:pt x="49" y="33"/>
                      <a:pt x="44" y="33"/>
                      <a:pt x="42" y="31"/>
                    </a:cubicBezTo>
                    <a:cubicBezTo>
                      <a:pt x="39" y="29"/>
                      <a:pt x="42" y="24"/>
                      <a:pt x="40" y="21"/>
                    </a:cubicBezTo>
                    <a:cubicBezTo>
                      <a:pt x="35" y="13"/>
                      <a:pt x="32" y="11"/>
                      <a:pt x="23" y="8"/>
                    </a:cubicBezTo>
                    <a:cubicBezTo>
                      <a:pt x="25" y="17"/>
                      <a:pt x="29" y="28"/>
                      <a:pt x="17" y="26"/>
                    </a:cubicBezTo>
                    <a:cubicBezTo>
                      <a:pt x="6" y="27"/>
                      <a:pt x="0" y="30"/>
                      <a:pt x="12" y="33"/>
                    </a:cubicBezTo>
                    <a:cubicBezTo>
                      <a:pt x="21" y="42"/>
                      <a:pt x="18" y="55"/>
                      <a:pt x="19" y="67"/>
                    </a:cubicBezTo>
                    <a:cubicBezTo>
                      <a:pt x="24" y="66"/>
                      <a:pt x="28" y="66"/>
                      <a:pt x="32" y="68"/>
                    </a:cubicBezTo>
                    <a:cubicBezTo>
                      <a:pt x="35" y="69"/>
                      <a:pt x="40" y="72"/>
                      <a:pt x="40" y="72"/>
                    </a:cubicBezTo>
                    <a:cubicBezTo>
                      <a:pt x="44" y="78"/>
                      <a:pt x="45" y="81"/>
                      <a:pt x="52" y="82"/>
                    </a:cubicBezTo>
                    <a:cubicBezTo>
                      <a:pt x="54" y="86"/>
                      <a:pt x="57" y="87"/>
                      <a:pt x="61" y="88"/>
                    </a:cubicBezTo>
                    <a:cubicBezTo>
                      <a:pt x="74" y="85"/>
                      <a:pt x="67" y="72"/>
                      <a:pt x="58" y="69"/>
                    </a:cubicBezTo>
                    <a:cubicBezTo>
                      <a:pt x="60" y="64"/>
                      <a:pt x="70" y="61"/>
                      <a:pt x="70" y="61"/>
                    </a:cubicBezTo>
                    <a:cubicBezTo>
                      <a:pt x="73" y="53"/>
                      <a:pt x="68" y="50"/>
                      <a:pt x="61" y="48"/>
                    </a:cubicBezTo>
                    <a:cubicBezTo>
                      <a:pt x="62" y="33"/>
                      <a:pt x="63" y="36"/>
                      <a:pt x="76" y="39"/>
                    </a:cubicBezTo>
                    <a:cubicBezTo>
                      <a:pt x="79" y="34"/>
                      <a:pt x="76" y="29"/>
                      <a:pt x="73" y="24"/>
                    </a:cubicBezTo>
                    <a:cubicBezTo>
                      <a:pt x="71" y="18"/>
                      <a:pt x="73" y="15"/>
                      <a:pt x="76" y="10"/>
                    </a:cubicBezTo>
                    <a:cubicBezTo>
                      <a:pt x="77" y="4"/>
                      <a:pt x="79" y="4"/>
                      <a:pt x="76" y="4"/>
                    </a:cubicBezTo>
                    <a:lnTo>
                      <a:pt x="60" y="0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28" name="Freeform 66"/>
              <p:cNvSpPr>
                <a:spLocks noChangeAspect="1"/>
              </p:cNvSpPr>
              <p:nvPr/>
            </p:nvSpPr>
            <p:spPr bwMode="auto">
              <a:xfrm>
                <a:off x="2717" y="2445"/>
                <a:ext cx="47" cy="37"/>
              </a:xfrm>
              <a:custGeom>
                <a:avLst/>
                <a:gdLst>
                  <a:gd name="T0" fmla="*/ 9 w 47"/>
                  <a:gd name="T1" fmla="*/ 3 h 37"/>
                  <a:gd name="T2" fmla="*/ 19 w 47"/>
                  <a:gd name="T3" fmla="*/ 9 h 37"/>
                  <a:gd name="T4" fmla="*/ 25 w 47"/>
                  <a:gd name="T5" fmla="*/ 13 h 37"/>
                  <a:gd name="T6" fmla="*/ 33 w 47"/>
                  <a:gd name="T7" fmla="*/ 11 h 37"/>
                  <a:gd name="T8" fmla="*/ 35 w 47"/>
                  <a:gd name="T9" fmla="*/ 3 h 37"/>
                  <a:gd name="T10" fmla="*/ 44 w 47"/>
                  <a:gd name="T11" fmla="*/ 12 h 37"/>
                  <a:gd name="T12" fmla="*/ 43 w 47"/>
                  <a:gd name="T13" fmla="*/ 21 h 37"/>
                  <a:gd name="T14" fmla="*/ 34 w 47"/>
                  <a:gd name="T15" fmla="*/ 18 h 37"/>
                  <a:gd name="T16" fmla="*/ 31 w 47"/>
                  <a:gd name="T17" fmla="*/ 27 h 37"/>
                  <a:gd name="T18" fmla="*/ 22 w 47"/>
                  <a:gd name="T19" fmla="*/ 30 h 37"/>
                  <a:gd name="T20" fmla="*/ 5 w 47"/>
                  <a:gd name="T21" fmla="*/ 12 h 37"/>
                  <a:gd name="T22" fmla="*/ 13 w 47"/>
                  <a:gd name="T23" fmla="*/ 0 h 37"/>
                  <a:gd name="T24" fmla="*/ 28 w 47"/>
                  <a:gd name="T25" fmla="*/ 9 h 37"/>
                  <a:gd name="T26" fmla="*/ 9 w 47"/>
                  <a:gd name="T27" fmla="*/ 3 h 37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47"/>
                  <a:gd name="T43" fmla="*/ 0 h 37"/>
                  <a:gd name="T44" fmla="*/ 47 w 47"/>
                  <a:gd name="T45" fmla="*/ 37 h 37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47" h="37">
                    <a:moveTo>
                      <a:pt x="9" y="3"/>
                    </a:moveTo>
                    <a:cubicBezTo>
                      <a:pt x="14" y="4"/>
                      <a:pt x="15" y="6"/>
                      <a:pt x="19" y="9"/>
                    </a:cubicBezTo>
                    <a:cubicBezTo>
                      <a:pt x="21" y="10"/>
                      <a:pt x="25" y="13"/>
                      <a:pt x="25" y="13"/>
                    </a:cubicBezTo>
                    <a:cubicBezTo>
                      <a:pt x="28" y="12"/>
                      <a:pt x="31" y="13"/>
                      <a:pt x="33" y="11"/>
                    </a:cubicBezTo>
                    <a:cubicBezTo>
                      <a:pt x="35" y="9"/>
                      <a:pt x="35" y="3"/>
                      <a:pt x="35" y="3"/>
                    </a:cubicBezTo>
                    <a:cubicBezTo>
                      <a:pt x="40" y="5"/>
                      <a:pt x="40" y="9"/>
                      <a:pt x="44" y="12"/>
                    </a:cubicBezTo>
                    <a:cubicBezTo>
                      <a:pt x="47" y="16"/>
                      <a:pt x="46" y="17"/>
                      <a:pt x="43" y="21"/>
                    </a:cubicBezTo>
                    <a:cubicBezTo>
                      <a:pt x="39" y="37"/>
                      <a:pt x="37" y="26"/>
                      <a:pt x="34" y="18"/>
                    </a:cubicBezTo>
                    <a:cubicBezTo>
                      <a:pt x="34" y="20"/>
                      <a:pt x="33" y="26"/>
                      <a:pt x="31" y="27"/>
                    </a:cubicBezTo>
                    <a:cubicBezTo>
                      <a:pt x="28" y="29"/>
                      <a:pt x="22" y="30"/>
                      <a:pt x="22" y="30"/>
                    </a:cubicBezTo>
                    <a:cubicBezTo>
                      <a:pt x="18" y="27"/>
                      <a:pt x="6" y="17"/>
                      <a:pt x="5" y="12"/>
                    </a:cubicBezTo>
                    <a:cubicBezTo>
                      <a:pt x="0" y="5"/>
                      <a:pt x="5" y="2"/>
                      <a:pt x="13" y="0"/>
                    </a:cubicBezTo>
                    <a:cubicBezTo>
                      <a:pt x="19" y="2"/>
                      <a:pt x="22" y="9"/>
                      <a:pt x="28" y="9"/>
                    </a:cubicBezTo>
                    <a:lnTo>
                      <a:pt x="9" y="3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29" name="Freeform 67"/>
              <p:cNvSpPr>
                <a:spLocks noChangeAspect="1"/>
              </p:cNvSpPr>
              <p:nvPr/>
            </p:nvSpPr>
            <p:spPr bwMode="auto">
              <a:xfrm>
                <a:off x="2608" y="2246"/>
                <a:ext cx="95" cy="76"/>
              </a:xfrm>
              <a:custGeom>
                <a:avLst/>
                <a:gdLst>
                  <a:gd name="T0" fmla="*/ 0 w 95"/>
                  <a:gd name="T1" fmla="*/ 72 h 76"/>
                  <a:gd name="T2" fmla="*/ 8 w 95"/>
                  <a:gd name="T3" fmla="*/ 54 h 76"/>
                  <a:gd name="T4" fmla="*/ 14 w 95"/>
                  <a:gd name="T5" fmla="*/ 46 h 76"/>
                  <a:gd name="T6" fmla="*/ 50 w 95"/>
                  <a:gd name="T7" fmla="*/ 40 h 76"/>
                  <a:gd name="T8" fmla="*/ 57 w 95"/>
                  <a:gd name="T9" fmla="*/ 29 h 76"/>
                  <a:gd name="T10" fmla="*/ 63 w 95"/>
                  <a:gd name="T11" fmla="*/ 22 h 76"/>
                  <a:gd name="T12" fmla="*/ 81 w 95"/>
                  <a:gd name="T13" fmla="*/ 10 h 76"/>
                  <a:gd name="T14" fmla="*/ 90 w 95"/>
                  <a:gd name="T15" fmla="*/ 4 h 76"/>
                  <a:gd name="T16" fmla="*/ 93 w 95"/>
                  <a:gd name="T17" fmla="*/ 1 h 76"/>
                  <a:gd name="T18" fmla="*/ 86 w 95"/>
                  <a:gd name="T19" fmla="*/ 11 h 76"/>
                  <a:gd name="T20" fmla="*/ 93 w 95"/>
                  <a:gd name="T21" fmla="*/ 22 h 76"/>
                  <a:gd name="T22" fmla="*/ 86 w 95"/>
                  <a:gd name="T23" fmla="*/ 43 h 76"/>
                  <a:gd name="T24" fmla="*/ 84 w 95"/>
                  <a:gd name="T25" fmla="*/ 46 h 76"/>
                  <a:gd name="T26" fmla="*/ 83 w 95"/>
                  <a:gd name="T27" fmla="*/ 53 h 76"/>
                  <a:gd name="T28" fmla="*/ 80 w 95"/>
                  <a:gd name="T29" fmla="*/ 47 h 76"/>
                  <a:gd name="T30" fmla="*/ 72 w 95"/>
                  <a:gd name="T31" fmla="*/ 44 h 76"/>
                  <a:gd name="T32" fmla="*/ 48 w 95"/>
                  <a:gd name="T33" fmla="*/ 49 h 76"/>
                  <a:gd name="T34" fmla="*/ 39 w 95"/>
                  <a:gd name="T35" fmla="*/ 54 h 76"/>
                  <a:gd name="T36" fmla="*/ 29 w 95"/>
                  <a:gd name="T37" fmla="*/ 52 h 76"/>
                  <a:gd name="T38" fmla="*/ 24 w 95"/>
                  <a:gd name="T39" fmla="*/ 58 h 76"/>
                  <a:gd name="T40" fmla="*/ 18 w 95"/>
                  <a:gd name="T41" fmla="*/ 60 h 76"/>
                  <a:gd name="T42" fmla="*/ 0 w 95"/>
                  <a:gd name="T43" fmla="*/ 72 h 7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95"/>
                  <a:gd name="T67" fmla="*/ 0 h 76"/>
                  <a:gd name="T68" fmla="*/ 95 w 95"/>
                  <a:gd name="T69" fmla="*/ 76 h 7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95" h="76">
                    <a:moveTo>
                      <a:pt x="0" y="72"/>
                    </a:moveTo>
                    <a:cubicBezTo>
                      <a:pt x="2" y="64"/>
                      <a:pt x="1" y="58"/>
                      <a:pt x="8" y="54"/>
                    </a:cubicBezTo>
                    <a:cubicBezTo>
                      <a:pt x="9" y="49"/>
                      <a:pt x="9" y="47"/>
                      <a:pt x="14" y="46"/>
                    </a:cubicBezTo>
                    <a:cubicBezTo>
                      <a:pt x="26" y="48"/>
                      <a:pt x="38" y="42"/>
                      <a:pt x="50" y="40"/>
                    </a:cubicBezTo>
                    <a:cubicBezTo>
                      <a:pt x="53" y="36"/>
                      <a:pt x="53" y="32"/>
                      <a:pt x="57" y="29"/>
                    </a:cubicBezTo>
                    <a:cubicBezTo>
                      <a:pt x="58" y="25"/>
                      <a:pt x="59" y="23"/>
                      <a:pt x="63" y="22"/>
                    </a:cubicBezTo>
                    <a:cubicBezTo>
                      <a:pt x="68" y="17"/>
                      <a:pt x="73" y="12"/>
                      <a:pt x="81" y="10"/>
                    </a:cubicBezTo>
                    <a:cubicBezTo>
                      <a:pt x="84" y="7"/>
                      <a:pt x="86" y="5"/>
                      <a:pt x="90" y="4"/>
                    </a:cubicBezTo>
                    <a:cubicBezTo>
                      <a:pt x="91" y="3"/>
                      <a:pt x="93" y="0"/>
                      <a:pt x="93" y="1"/>
                    </a:cubicBezTo>
                    <a:cubicBezTo>
                      <a:pt x="93" y="5"/>
                      <a:pt x="86" y="11"/>
                      <a:pt x="86" y="11"/>
                    </a:cubicBezTo>
                    <a:cubicBezTo>
                      <a:pt x="87" y="17"/>
                      <a:pt x="89" y="17"/>
                      <a:pt x="93" y="22"/>
                    </a:cubicBezTo>
                    <a:cubicBezTo>
                      <a:pt x="95" y="28"/>
                      <a:pt x="91" y="40"/>
                      <a:pt x="86" y="43"/>
                    </a:cubicBezTo>
                    <a:cubicBezTo>
                      <a:pt x="85" y="44"/>
                      <a:pt x="84" y="45"/>
                      <a:pt x="84" y="46"/>
                    </a:cubicBezTo>
                    <a:cubicBezTo>
                      <a:pt x="83" y="48"/>
                      <a:pt x="84" y="51"/>
                      <a:pt x="83" y="53"/>
                    </a:cubicBezTo>
                    <a:cubicBezTo>
                      <a:pt x="82" y="55"/>
                      <a:pt x="82" y="48"/>
                      <a:pt x="80" y="47"/>
                    </a:cubicBezTo>
                    <a:cubicBezTo>
                      <a:pt x="78" y="45"/>
                      <a:pt x="75" y="45"/>
                      <a:pt x="72" y="44"/>
                    </a:cubicBezTo>
                    <a:cubicBezTo>
                      <a:pt x="64" y="45"/>
                      <a:pt x="56" y="47"/>
                      <a:pt x="48" y="49"/>
                    </a:cubicBezTo>
                    <a:cubicBezTo>
                      <a:pt x="46" y="51"/>
                      <a:pt x="39" y="54"/>
                      <a:pt x="39" y="54"/>
                    </a:cubicBezTo>
                    <a:cubicBezTo>
                      <a:pt x="36" y="54"/>
                      <a:pt x="32" y="51"/>
                      <a:pt x="29" y="52"/>
                    </a:cubicBezTo>
                    <a:cubicBezTo>
                      <a:pt x="27" y="53"/>
                      <a:pt x="26" y="57"/>
                      <a:pt x="24" y="58"/>
                    </a:cubicBezTo>
                    <a:cubicBezTo>
                      <a:pt x="22" y="59"/>
                      <a:pt x="18" y="60"/>
                      <a:pt x="18" y="60"/>
                    </a:cubicBezTo>
                    <a:cubicBezTo>
                      <a:pt x="12" y="68"/>
                      <a:pt x="11" y="76"/>
                      <a:pt x="0" y="72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30" name="Freeform 68"/>
              <p:cNvSpPr>
                <a:spLocks noChangeAspect="1"/>
              </p:cNvSpPr>
              <p:nvPr/>
            </p:nvSpPr>
            <p:spPr bwMode="auto">
              <a:xfrm>
                <a:off x="2599" y="2294"/>
                <a:ext cx="117" cy="175"/>
              </a:xfrm>
              <a:custGeom>
                <a:avLst/>
                <a:gdLst>
                  <a:gd name="T0" fmla="*/ 21 w 117"/>
                  <a:gd name="T1" fmla="*/ 156 h 175"/>
                  <a:gd name="T2" fmla="*/ 20 w 117"/>
                  <a:gd name="T3" fmla="*/ 130 h 175"/>
                  <a:gd name="T4" fmla="*/ 12 w 117"/>
                  <a:gd name="T5" fmla="*/ 122 h 175"/>
                  <a:gd name="T6" fmla="*/ 7 w 117"/>
                  <a:gd name="T7" fmla="*/ 108 h 175"/>
                  <a:gd name="T8" fmla="*/ 5 w 117"/>
                  <a:gd name="T9" fmla="*/ 89 h 175"/>
                  <a:gd name="T10" fmla="*/ 2 w 117"/>
                  <a:gd name="T11" fmla="*/ 74 h 175"/>
                  <a:gd name="T12" fmla="*/ 17 w 117"/>
                  <a:gd name="T13" fmla="*/ 34 h 175"/>
                  <a:gd name="T14" fmla="*/ 24 w 117"/>
                  <a:gd name="T15" fmla="*/ 29 h 175"/>
                  <a:gd name="T16" fmla="*/ 33 w 117"/>
                  <a:gd name="T17" fmla="*/ 23 h 175"/>
                  <a:gd name="T18" fmla="*/ 53 w 117"/>
                  <a:gd name="T19" fmla="*/ 10 h 175"/>
                  <a:gd name="T20" fmla="*/ 68 w 117"/>
                  <a:gd name="T21" fmla="*/ 2 h 175"/>
                  <a:gd name="T22" fmla="*/ 86 w 117"/>
                  <a:gd name="T23" fmla="*/ 5 h 175"/>
                  <a:gd name="T24" fmla="*/ 92 w 117"/>
                  <a:gd name="T25" fmla="*/ 25 h 175"/>
                  <a:gd name="T26" fmla="*/ 99 w 117"/>
                  <a:gd name="T27" fmla="*/ 37 h 175"/>
                  <a:gd name="T28" fmla="*/ 114 w 117"/>
                  <a:gd name="T29" fmla="*/ 41 h 175"/>
                  <a:gd name="T30" fmla="*/ 110 w 117"/>
                  <a:gd name="T31" fmla="*/ 59 h 175"/>
                  <a:gd name="T32" fmla="*/ 105 w 117"/>
                  <a:gd name="T33" fmla="*/ 67 h 175"/>
                  <a:gd name="T34" fmla="*/ 92 w 117"/>
                  <a:gd name="T35" fmla="*/ 78 h 175"/>
                  <a:gd name="T36" fmla="*/ 81 w 117"/>
                  <a:gd name="T37" fmla="*/ 97 h 175"/>
                  <a:gd name="T38" fmla="*/ 72 w 117"/>
                  <a:gd name="T39" fmla="*/ 109 h 175"/>
                  <a:gd name="T40" fmla="*/ 96 w 117"/>
                  <a:gd name="T41" fmla="*/ 108 h 175"/>
                  <a:gd name="T42" fmla="*/ 107 w 117"/>
                  <a:gd name="T43" fmla="*/ 124 h 175"/>
                  <a:gd name="T44" fmla="*/ 110 w 117"/>
                  <a:gd name="T45" fmla="*/ 133 h 175"/>
                  <a:gd name="T46" fmla="*/ 98 w 117"/>
                  <a:gd name="T47" fmla="*/ 156 h 175"/>
                  <a:gd name="T48" fmla="*/ 90 w 117"/>
                  <a:gd name="T49" fmla="*/ 138 h 175"/>
                  <a:gd name="T50" fmla="*/ 72 w 117"/>
                  <a:gd name="T51" fmla="*/ 131 h 175"/>
                  <a:gd name="T52" fmla="*/ 62 w 117"/>
                  <a:gd name="T53" fmla="*/ 132 h 175"/>
                  <a:gd name="T54" fmla="*/ 71 w 117"/>
                  <a:gd name="T55" fmla="*/ 162 h 175"/>
                  <a:gd name="T56" fmla="*/ 79 w 117"/>
                  <a:gd name="T57" fmla="*/ 175 h 175"/>
                  <a:gd name="T58" fmla="*/ 75 w 117"/>
                  <a:gd name="T59" fmla="*/ 172 h 175"/>
                  <a:gd name="T60" fmla="*/ 41 w 117"/>
                  <a:gd name="T61" fmla="*/ 162 h 175"/>
                  <a:gd name="T62" fmla="*/ 21 w 117"/>
                  <a:gd name="T63" fmla="*/ 156 h 175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117"/>
                  <a:gd name="T97" fmla="*/ 0 h 175"/>
                  <a:gd name="T98" fmla="*/ 117 w 117"/>
                  <a:gd name="T99" fmla="*/ 175 h 175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117" h="175">
                    <a:moveTo>
                      <a:pt x="21" y="156"/>
                    </a:moveTo>
                    <a:cubicBezTo>
                      <a:pt x="24" y="151"/>
                      <a:pt x="20" y="134"/>
                      <a:pt x="20" y="130"/>
                    </a:cubicBezTo>
                    <a:cubicBezTo>
                      <a:pt x="17" y="124"/>
                      <a:pt x="16" y="126"/>
                      <a:pt x="12" y="122"/>
                    </a:cubicBezTo>
                    <a:cubicBezTo>
                      <a:pt x="10" y="117"/>
                      <a:pt x="8" y="113"/>
                      <a:pt x="7" y="108"/>
                    </a:cubicBezTo>
                    <a:cubicBezTo>
                      <a:pt x="6" y="101"/>
                      <a:pt x="6" y="96"/>
                      <a:pt x="5" y="89"/>
                    </a:cubicBezTo>
                    <a:cubicBezTo>
                      <a:pt x="4" y="84"/>
                      <a:pt x="2" y="74"/>
                      <a:pt x="2" y="74"/>
                    </a:cubicBezTo>
                    <a:cubicBezTo>
                      <a:pt x="11" y="65"/>
                      <a:pt x="0" y="38"/>
                      <a:pt x="17" y="34"/>
                    </a:cubicBezTo>
                    <a:cubicBezTo>
                      <a:pt x="18" y="31"/>
                      <a:pt x="24" y="29"/>
                      <a:pt x="24" y="29"/>
                    </a:cubicBezTo>
                    <a:cubicBezTo>
                      <a:pt x="27" y="26"/>
                      <a:pt x="30" y="25"/>
                      <a:pt x="33" y="23"/>
                    </a:cubicBezTo>
                    <a:cubicBezTo>
                      <a:pt x="37" y="16"/>
                      <a:pt x="46" y="12"/>
                      <a:pt x="53" y="10"/>
                    </a:cubicBezTo>
                    <a:cubicBezTo>
                      <a:pt x="57" y="6"/>
                      <a:pt x="62" y="4"/>
                      <a:pt x="68" y="2"/>
                    </a:cubicBezTo>
                    <a:cubicBezTo>
                      <a:pt x="74" y="3"/>
                      <a:pt x="83" y="0"/>
                      <a:pt x="86" y="5"/>
                    </a:cubicBezTo>
                    <a:cubicBezTo>
                      <a:pt x="89" y="10"/>
                      <a:pt x="88" y="21"/>
                      <a:pt x="92" y="25"/>
                    </a:cubicBezTo>
                    <a:cubicBezTo>
                      <a:pt x="95" y="28"/>
                      <a:pt x="99" y="37"/>
                      <a:pt x="99" y="37"/>
                    </a:cubicBezTo>
                    <a:cubicBezTo>
                      <a:pt x="101" y="39"/>
                      <a:pt x="114" y="41"/>
                      <a:pt x="114" y="41"/>
                    </a:cubicBezTo>
                    <a:cubicBezTo>
                      <a:pt x="117" y="49"/>
                      <a:pt x="116" y="53"/>
                      <a:pt x="110" y="59"/>
                    </a:cubicBezTo>
                    <a:cubicBezTo>
                      <a:pt x="108" y="66"/>
                      <a:pt x="110" y="64"/>
                      <a:pt x="105" y="67"/>
                    </a:cubicBezTo>
                    <a:cubicBezTo>
                      <a:pt x="102" y="72"/>
                      <a:pt x="97" y="75"/>
                      <a:pt x="92" y="78"/>
                    </a:cubicBezTo>
                    <a:cubicBezTo>
                      <a:pt x="89" y="84"/>
                      <a:pt x="86" y="92"/>
                      <a:pt x="81" y="97"/>
                    </a:cubicBezTo>
                    <a:cubicBezTo>
                      <a:pt x="79" y="102"/>
                      <a:pt x="72" y="109"/>
                      <a:pt x="72" y="109"/>
                    </a:cubicBezTo>
                    <a:cubicBezTo>
                      <a:pt x="69" y="119"/>
                      <a:pt x="90" y="106"/>
                      <a:pt x="96" y="108"/>
                    </a:cubicBezTo>
                    <a:cubicBezTo>
                      <a:pt x="102" y="111"/>
                      <a:pt x="102" y="117"/>
                      <a:pt x="107" y="124"/>
                    </a:cubicBezTo>
                    <a:cubicBezTo>
                      <a:pt x="109" y="127"/>
                      <a:pt x="110" y="133"/>
                      <a:pt x="110" y="133"/>
                    </a:cubicBezTo>
                    <a:cubicBezTo>
                      <a:pt x="109" y="167"/>
                      <a:pt x="117" y="162"/>
                      <a:pt x="98" y="156"/>
                    </a:cubicBezTo>
                    <a:cubicBezTo>
                      <a:pt x="96" y="153"/>
                      <a:pt x="93" y="141"/>
                      <a:pt x="90" y="138"/>
                    </a:cubicBezTo>
                    <a:cubicBezTo>
                      <a:pt x="88" y="131"/>
                      <a:pt x="78" y="133"/>
                      <a:pt x="72" y="131"/>
                    </a:cubicBezTo>
                    <a:cubicBezTo>
                      <a:pt x="69" y="131"/>
                      <a:pt x="65" y="131"/>
                      <a:pt x="62" y="132"/>
                    </a:cubicBezTo>
                    <a:cubicBezTo>
                      <a:pt x="54" y="136"/>
                      <a:pt x="66" y="159"/>
                      <a:pt x="71" y="162"/>
                    </a:cubicBezTo>
                    <a:cubicBezTo>
                      <a:pt x="74" y="169"/>
                      <a:pt x="78" y="174"/>
                      <a:pt x="79" y="175"/>
                    </a:cubicBezTo>
                    <a:cubicBezTo>
                      <a:pt x="78" y="174"/>
                      <a:pt x="76" y="173"/>
                      <a:pt x="75" y="172"/>
                    </a:cubicBezTo>
                    <a:cubicBezTo>
                      <a:pt x="70" y="158"/>
                      <a:pt x="52" y="162"/>
                      <a:pt x="41" y="162"/>
                    </a:cubicBezTo>
                    <a:cubicBezTo>
                      <a:pt x="34" y="161"/>
                      <a:pt x="28" y="158"/>
                      <a:pt x="21" y="156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</p:grpSp>
        <p:sp>
          <p:nvSpPr>
            <p:cNvPr id="268" name="Freeform 69"/>
            <p:cNvSpPr>
              <a:spLocks noChangeAspect="1"/>
            </p:cNvSpPr>
            <p:nvPr/>
          </p:nvSpPr>
          <p:spPr bwMode="auto">
            <a:xfrm>
              <a:off x="1631" y="2486"/>
              <a:ext cx="222" cy="257"/>
            </a:xfrm>
            <a:custGeom>
              <a:avLst/>
              <a:gdLst>
                <a:gd name="T0" fmla="*/ 474 w 219"/>
                <a:gd name="T1" fmla="*/ 203 h 254"/>
                <a:gd name="T2" fmla="*/ 446 w 219"/>
                <a:gd name="T3" fmla="*/ 165 h 254"/>
                <a:gd name="T4" fmla="*/ 392 w 219"/>
                <a:gd name="T5" fmla="*/ 177 h 254"/>
                <a:gd name="T6" fmla="*/ 335 w 219"/>
                <a:gd name="T7" fmla="*/ 137 h 254"/>
                <a:gd name="T8" fmla="*/ 360 w 219"/>
                <a:gd name="T9" fmla="*/ 117 h 254"/>
                <a:gd name="T10" fmla="*/ 420 w 219"/>
                <a:gd name="T11" fmla="*/ 38 h 254"/>
                <a:gd name="T12" fmla="*/ 458 w 219"/>
                <a:gd name="T13" fmla="*/ 19 h 254"/>
                <a:gd name="T14" fmla="*/ 434 w 219"/>
                <a:gd name="T15" fmla="*/ 7 h 254"/>
                <a:gd name="T16" fmla="*/ 417 w 219"/>
                <a:gd name="T17" fmla="*/ 25 h 254"/>
                <a:gd name="T18" fmla="*/ 335 w 219"/>
                <a:gd name="T19" fmla="*/ 18 h 254"/>
                <a:gd name="T20" fmla="*/ 298 w 219"/>
                <a:gd name="T21" fmla="*/ 35 h 254"/>
                <a:gd name="T22" fmla="*/ 306 w 219"/>
                <a:gd name="T23" fmla="*/ 105 h 254"/>
                <a:gd name="T24" fmla="*/ 316 w 219"/>
                <a:gd name="T25" fmla="*/ 120 h 254"/>
                <a:gd name="T26" fmla="*/ 284 w 219"/>
                <a:gd name="T27" fmla="*/ 137 h 254"/>
                <a:gd name="T28" fmla="*/ 211 w 219"/>
                <a:gd name="T29" fmla="*/ 120 h 254"/>
                <a:gd name="T30" fmla="*/ 138 w 219"/>
                <a:gd name="T31" fmla="*/ 119 h 254"/>
                <a:gd name="T32" fmla="*/ 134 w 219"/>
                <a:gd name="T33" fmla="*/ 159 h 254"/>
                <a:gd name="T34" fmla="*/ 130 w 219"/>
                <a:gd name="T35" fmla="*/ 175 h 254"/>
                <a:gd name="T36" fmla="*/ 106 w 219"/>
                <a:gd name="T37" fmla="*/ 207 h 254"/>
                <a:gd name="T38" fmla="*/ 208 w 219"/>
                <a:gd name="T39" fmla="*/ 278 h 254"/>
                <a:gd name="T40" fmla="*/ 140 w 219"/>
                <a:gd name="T41" fmla="*/ 303 h 254"/>
                <a:gd name="T42" fmla="*/ 105 w 219"/>
                <a:gd name="T43" fmla="*/ 349 h 254"/>
                <a:gd name="T44" fmla="*/ 118 w 219"/>
                <a:gd name="T45" fmla="*/ 363 h 254"/>
                <a:gd name="T46" fmla="*/ 29 w 219"/>
                <a:gd name="T47" fmla="*/ 398 h 254"/>
                <a:gd name="T48" fmla="*/ 13 w 219"/>
                <a:gd name="T49" fmla="*/ 377 h 254"/>
                <a:gd name="T50" fmla="*/ 4 w 219"/>
                <a:gd name="T51" fmla="*/ 413 h 254"/>
                <a:gd name="T52" fmla="*/ 23 w 219"/>
                <a:gd name="T53" fmla="*/ 408 h 254"/>
                <a:gd name="T54" fmla="*/ 4 w 219"/>
                <a:gd name="T55" fmla="*/ 447 h 254"/>
                <a:gd name="T56" fmla="*/ 29 w 219"/>
                <a:gd name="T57" fmla="*/ 456 h 254"/>
                <a:gd name="T58" fmla="*/ 5 w 219"/>
                <a:gd name="T59" fmla="*/ 480 h 254"/>
                <a:gd name="T60" fmla="*/ 26 w 219"/>
                <a:gd name="T61" fmla="*/ 509 h 254"/>
                <a:gd name="T62" fmla="*/ 170 w 219"/>
                <a:gd name="T63" fmla="*/ 504 h 254"/>
                <a:gd name="T64" fmla="*/ 274 w 219"/>
                <a:gd name="T65" fmla="*/ 497 h 254"/>
                <a:gd name="T66" fmla="*/ 332 w 219"/>
                <a:gd name="T67" fmla="*/ 468 h 254"/>
                <a:gd name="T68" fmla="*/ 428 w 219"/>
                <a:gd name="T69" fmla="*/ 452 h 254"/>
                <a:gd name="T70" fmla="*/ 464 w 219"/>
                <a:gd name="T71" fmla="*/ 398 h 254"/>
                <a:gd name="T72" fmla="*/ 474 w 219"/>
                <a:gd name="T73" fmla="*/ 377 h 254"/>
                <a:gd name="T74" fmla="*/ 471 w 219"/>
                <a:gd name="T75" fmla="*/ 278 h 254"/>
                <a:gd name="T76" fmla="*/ 494 w 219"/>
                <a:gd name="T77" fmla="*/ 216 h 254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219"/>
                <a:gd name="T118" fmla="*/ 0 h 254"/>
                <a:gd name="T119" fmla="*/ 219 w 219"/>
                <a:gd name="T120" fmla="*/ 254 h 254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219" h="254">
                  <a:moveTo>
                    <a:pt x="217" y="110"/>
                  </a:moveTo>
                  <a:cubicBezTo>
                    <a:pt x="219" y="105"/>
                    <a:pt x="213" y="105"/>
                    <a:pt x="208" y="104"/>
                  </a:cubicBezTo>
                  <a:cubicBezTo>
                    <a:pt x="202" y="100"/>
                    <a:pt x="201" y="97"/>
                    <a:pt x="196" y="92"/>
                  </a:cubicBezTo>
                  <a:cubicBezTo>
                    <a:pt x="194" y="90"/>
                    <a:pt x="194" y="85"/>
                    <a:pt x="194" y="85"/>
                  </a:cubicBezTo>
                  <a:cubicBezTo>
                    <a:pt x="191" y="77"/>
                    <a:pt x="190" y="79"/>
                    <a:pt x="182" y="82"/>
                  </a:cubicBezTo>
                  <a:cubicBezTo>
                    <a:pt x="179" y="90"/>
                    <a:pt x="182" y="92"/>
                    <a:pt x="172" y="91"/>
                  </a:cubicBezTo>
                  <a:cubicBezTo>
                    <a:pt x="165" y="89"/>
                    <a:pt x="164" y="79"/>
                    <a:pt x="154" y="76"/>
                  </a:cubicBezTo>
                  <a:cubicBezTo>
                    <a:pt x="152" y="69"/>
                    <a:pt x="155" y="77"/>
                    <a:pt x="149" y="71"/>
                  </a:cubicBezTo>
                  <a:cubicBezTo>
                    <a:pt x="147" y="69"/>
                    <a:pt x="147" y="64"/>
                    <a:pt x="146" y="61"/>
                  </a:cubicBezTo>
                  <a:cubicBezTo>
                    <a:pt x="150" y="58"/>
                    <a:pt x="154" y="57"/>
                    <a:pt x="159" y="56"/>
                  </a:cubicBezTo>
                  <a:cubicBezTo>
                    <a:pt x="165" y="47"/>
                    <a:pt x="162" y="47"/>
                    <a:pt x="173" y="46"/>
                  </a:cubicBezTo>
                  <a:cubicBezTo>
                    <a:pt x="180" y="41"/>
                    <a:pt x="178" y="44"/>
                    <a:pt x="182" y="38"/>
                  </a:cubicBezTo>
                  <a:cubicBezTo>
                    <a:pt x="184" y="32"/>
                    <a:pt x="184" y="31"/>
                    <a:pt x="190" y="29"/>
                  </a:cubicBezTo>
                  <a:cubicBezTo>
                    <a:pt x="193" y="26"/>
                    <a:pt x="196" y="20"/>
                    <a:pt x="200" y="19"/>
                  </a:cubicBezTo>
                  <a:cubicBezTo>
                    <a:pt x="202" y="14"/>
                    <a:pt x="206" y="9"/>
                    <a:pt x="202" y="6"/>
                  </a:cubicBezTo>
                  <a:cubicBezTo>
                    <a:pt x="200" y="0"/>
                    <a:pt x="194" y="3"/>
                    <a:pt x="188" y="7"/>
                  </a:cubicBezTo>
                  <a:cubicBezTo>
                    <a:pt x="187" y="11"/>
                    <a:pt x="184" y="15"/>
                    <a:pt x="183" y="19"/>
                  </a:cubicBezTo>
                  <a:cubicBezTo>
                    <a:pt x="182" y="21"/>
                    <a:pt x="181" y="25"/>
                    <a:pt x="181" y="25"/>
                  </a:cubicBezTo>
                  <a:cubicBezTo>
                    <a:pt x="170" y="22"/>
                    <a:pt x="182" y="10"/>
                    <a:pt x="165" y="8"/>
                  </a:cubicBezTo>
                  <a:cubicBezTo>
                    <a:pt x="149" y="9"/>
                    <a:pt x="158" y="15"/>
                    <a:pt x="149" y="18"/>
                  </a:cubicBezTo>
                  <a:cubicBezTo>
                    <a:pt x="148" y="23"/>
                    <a:pt x="147" y="23"/>
                    <a:pt x="142" y="25"/>
                  </a:cubicBezTo>
                  <a:cubicBezTo>
                    <a:pt x="139" y="29"/>
                    <a:pt x="135" y="34"/>
                    <a:pt x="131" y="35"/>
                  </a:cubicBezTo>
                  <a:cubicBezTo>
                    <a:pt x="131" y="36"/>
                    <a:pt x="127" y="40"/>
                    <a:pt x="128" y="41"/>
                  </a:cubicBezTo>
                  <a:cubicBezTo>
                    <a:pt x="129" y="43"/>
                    <a:pt x="134" y="43"/>
                    <a:pt x="135" y="44"/>
                  </a:cubicBezTo>
                  <a:cubicBezTo>
                    <a:pt x="138" y="45"/>
                    <a:pt x="145" y="48"/>
                    <a:pt x="145" y="48"/>
                  </a:cubicBezTo>
                  <a:cubicBezTo>
                    <a:pt x="144" y="49"/>
                    <a:pt x="142" y="58"/>
                    <a:pt x="140" y="59"/>
                  </a:cubicBezTo>
                  <a:cubicBezTo>
                    <a:pt x="137" y="61"/>
                    <a:pt x="131" y="62"/>
                    <a:pt x="131" y="62"/>
                  </a:cubicBezTo>
                  <a:cubicBezTo>
                    <a:pt x="127" y="67"/>
                    <a:pt x="125" y="64"/>
                    <a:pt x="124" y="71"/>
                  </a:cubicBezTo>
                  <a:cubicBezTo>
                    <a:pt x="116" y="70"/>
                    <a:pt x="120" y="68"/>
                    <a:pt x="113" y="65"/>
                  </a:cubicBezTo>
                  <a:cubicBezTo>
                    <a:pt x="111" y="58"/>
                    <a:pt x="101" y="60"/>
                    <a:pt x="95" y="59"/>
                  </a:cubicBezTo>
                  <a:cubicBezTo>
                    <a:pt x="92" y="55"/>
                    <a:pt x="87" y="53"/>
                    <a:pt x="83" y="52"/>
                  </a:cubicBezTo>
                  <a:cubicBezTo>
                    <a:pt x="75" y="53"/>
                    <a:pt x="67" y="51"/>
                    <a:pt x="63" y="58"/>
                  </a:cubicBezTo>
                  <a:cubicBezTo>
                    <a:pt x="62" y="64"/>
                    <a:pt x="62" y="66"/>
                    <a:pt x="58" y="70"/>
                  </a:cubicBezTo>
                  <a:cubicBezTo>
                    <a:pt x="57" y="74"/>
                    <a:pt x="57" y="79"/>
                    <a:pt x="61" y="82"/>
                  </a:cubicBezTo>
                  <a:cubicBezTo>
                    <a:pt x="64" y="85"/>
                    <a:pt x="74" y="86"/>
                    <a:pt x="74" y="86"/>
                  </a:cubicBezTo>
                  <a:cubicBezTo>
                    <a:pt x="69" y="88"/>
                    <a:pt x="64" y="88"/>
                    <a:pt x="59" y="90"/>
                  </a:cubicBezTo>
                  <a:cubicBezTo>
                    <a:pt x="61" y="95"/>
                    <a:pt x="62" y="96"/>
                    <a:pt x="61" y="101"/>
                  </a:cubicBezTo>
                  <a:cubicBezTo>
                    <a:pt x="48" y="100"/>
                    <a:pt x="47" y="93"/>
                    <a:pt x="45" y="106"/>
                  </a:cubicBezTo>
                  <a:cubicBezTo>
                    <a:pt x="46" y="114"/>
                    <a:pt x="50" y="119"/>
                    <a:pt x="59" y="121"/>
                  </a:cubicBezTo>
                  <a:cubicBezTo>
                    <a:pt x="70" y="128"/>
                    <a:pt x="81" y="133"/>
                    <a:pt x="94" y="134"/>
                  </a:cubicBezTo>
                  <a:cubicBezTo>
                    <a:pt x="89" y="141"/>
                    <a:pt x="84" y="138"/>
                    <a:pt x="74" y="137"/>
                  </a:cubicBezTo>
                  <a:cubicBezTo>
                    <a:pt x="67" y="139"/>
                    <a:pt x="70" y="146"/>
                    <a:pt x="64" y="150"/>
                  </a:cubicBezTo>
                  <a:cubicBezTo>
                    <a:pt x="62" y="155"/>
                    <a:pt x="58" y="160"/>
                    <a:pt x="53" y="162"/>
                  </a:cubicBezTo>
                  <a:cubicBezTo>
                    <a:pt x="50" y="166"/>
                    <a:pt x="39" y="175"/>
                    <a:pt x="44" y="173"/>
                  </a:cubicBezTo>
                  <a:cubicBezTo>
                    <a:pt x="58" y="174"/>
                    <a:pt x="71" y="171"/>
                    <a:pt x="85" y="173"/>
                  </a:cubicBezTo>
                  <a:cubicBezTo>
                    <a:pt x="74" y="175"/>
                    <a:pt x="64" y="179"/>
                    <a:pt x="53" y="180"/>
                  </a:cubicBezTo>
                  <a:cubicBezTo>
                    <a:pt x="47" y="182"/>
                    <a:pt x="43" y="178"/>
                    <a:pt x="37" y="180"/>
                  </a:cubicBezTo>
                  <a:cubicBezTo>
                    <a:pt x="35" y="183"/>
                    <a:pt x="31" y="192"/>
                    <a:pt x="29" y="196"/>
                  </a:cubicBezTo>
                  <a:cubicBezTo>
                    <a:pt x="28" y="198"/>
                    <a:pt x="27" y="202"/>
                    <a:pt x="27" y="202"/>
                  </a:cubicBezTo>
                  <a:cubicBezTo>
                    <a:pt x="25" y="195"/>
                    <a:pt x="20" y="189"/>
                    <a:pt x="13" y="187"/>
                  </a:cubicBezTo>
                  <a:cubicBezTo>
                    <a:pt x="6" y="188"/>
                    <a:pt x="9" y="190"/>
                    <a:pt x="4" y="193"/>
                  </a:cubicBezTo>
                  <a:cubicBezTo>
                    <a:pt x="3" y="196"/>
                    <a:pt x="0" y="200"/>
                    <a:pt x="4" y="202"/>
                  </a:cubicBezTo>
                  <a:cubicBezTo>
                    <a:pt x="6" y="203"/>
                    <a:pt x="10" y="204"/>
                    <a:pt x="10" y="204"/>
                  </a:cubicBezTo>
                  <a:cubicBezTo>
                    <a:pt x="16" y="203"/>
                    <a:pt x="18" y="203"/>
                    <a:pt x="23" y="200"/>
                  </a:cubicBezTo>
                  <a:cubicBezTo>
                    <a:pt x="24" y="201"/>
                    <a:pt x="27" y="201"/>
                    <a:pt x="27" y="202"/>
                  </a:cubicBezTo>
                  <a:cubicBezTo>
                    <a:pt x="27" y="205"/>
                    <a:pt x="7" y="216"/>
                    <a:pt x="4" y="217"/>
                  </a:cubicBezTo>
                  <a:cubicBezTo>
                    <a:pt x="5" y="222"/>
                    <a:pt x="6" y="222"/>
                    <a:pt x="11" y="224"/>
                  </a:cubicBezTo>
                  <a:cubicBezTo>
                    <a:pt x="17" y="223"/>
                    <a:pt x="24" y="218"/>
                    <a:pt x="29" y="222"/>
                  </a:cubicBezTo>
                  <a:cubicBezTo>
                    <a:pt x="31" y="223"/>
                    <a:pt x="29" y="226"/>
                    <a:pt x="28" y="228"/>
                  </a:cubicBezTo>
                  <a:cubicBezTo>
                    <a:pt x="23" y="235"/>
                    <a:pt x="12" y="234"/>
                    <a:pt x="5" y="236"/>
                  </a:cubicBezTo>
                  <a:cubicBezTo>
                    <a:pt x="14" y="240"/>
                    <a:pt x="23" y="238"/>
                    <a:pt x="32" y="241"/>
                  </a:cubicBezTo>
                  <a:cubicBezTo>
                    <a:pt x="31" y="245"/>
                    <a:pt x="30" y="249"/>
                    <a:pt x="26" y="250"/>
                  </a:cubicBezTo>
                  <a:cubicBezTo>
                    <a:pt x="32" y="254"/>
                    <a:pt x="38" y="253"/>
                    <a:pt x="45" y="254"/>
                  </a:cubicBezTo>
                  <a:cubicBezTo>
                    <a:pt x="56" y="252"/>
                    <a:pt x="68" y="250"/>
                    <a:pt x="79" y="248"/>
                  </a:cubicBezTo>
                  <a:cubicBezTo>
                    <a:pt x="83" y="247"/>
                    <a:pt x="92" y="244"/>
                    <a:pt x="92" y="244"/>
                  </a:cubicBezTo>
                  <a:cubicBezTo>
                    <a:pt x="98" y="238"/>
                    <a:pt x="112" y="243"/>
                    <a:pt x="119" y="244"/>
                  </a:cubicBezTo>
                  <a:cubicBezTo>
                    <a:pt x="122" y="242"/>
                    <a:pt x="128" y="238"/>
                    <a:pt x="128" y="238"/>
                  </a:cubicBezTo>
                  <a:cubicBezTo>
                    <a:pt x="130" y="232"/>
                    <a:pt x="143" y="231"/>
                    <a:pt x="148" y="230"/>
                  </a:cubicBezTo>
                  <a:cubicBezTo>
                    <a:pt x="162" y="232"/>
                    <a:pt x="166" y="235"/>
                    <a:pt x="178" y="239"/>
                  </a:cubicBezTo>
                  <a:cubicBezTo>
                    <a:pt x="188" y="236"/>
                    <a:pt x="182" y="231"/>
                    <a:pt x="185" y="220"/>
                  </a:cubicBezTo>
                  <a:cubicBezTo>
                    <a:pt x="186" y="216"/>
                    <a:pt x="197" y="215"/>
                    <a:pt x="197" y="215"/>
                  </a:cubicBezTo>
                  <a:cubicBezTo>
                    <a:pt x="203" y="209"/>
                    <a:pt x="200" y="203"/>
                    <a:pt x="203" y="196"/>
                  </a:cubicBezTo>
                  <a:cubicBezTo>
                    <a:pt x="204" y="194"/>
                    <a:pt x="206" y="192"/>
                    <a:pt x="207" y="190"/>
                  </a:cubicBezTo>
                  <a:cubicBezTo>
                    <a:pt x="207" y="189"/>
                    <a:pt x="208" y="188"/>
                    <a:pt x="208" y="187"/>
                  </a:cubicBezTo>
                  <a:cubicBezTo>
                    <a:pt x="211" y="169"/>
                    <a:pt x="211" y="159"/>
                    <a:pt x="209" y="140"/>
                  </a:cubicBezTo>
                  <a:cubicBezTo>
                    <a:pt x="209" y="138"/>
                    <a:pt x="207" y="134"/>
                    <a:pt x="207" y="134"/>
                  </a:cubicBezTo>
                  <a:cubicBezTo>
                    <a:pt x="208" y="128"/>
                    <a:pt x="209" y="124"/>
                    <a:pt x="211" y="119"/>
                  </a:cubicBezTo>
                  <a:cubicBezTo>
                    <a:pt x="212" y="111"/>
                    <a:pt x="210" y="114"/>
                    <a:pt x="217" y="110"/>
                  </a:cubicBez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  <p:grpSp>
          <p:nvGrpSpPr>
            <p:cNvPr id="269" name="Group 70"/>
            <p:cNvGrpSpPr>
              <a:grpSpLocks noChangeAspect="1"/>
            </p:cNvGrpSpPr>
            <p:nvPr/>
          </p:nvGrpSpPr>
          <p:grpSpPr bwMode="auto">
            <a:xfrm>
              <a:off x="2582" y="1531"/>
              <a:ext cx="400" cy="1042"/>
              <a:chOff x="2717" y="1385"/>
              <a:chExt cx="395" cy="1031"/>
            </a:xfrm>
            <a:grpFill/>
          </p:grpSpPr>
          <p:sp>
            <p:nvSpPr>
              <p:cNvPr id="323" name="Freeform 71"/>
              <p:cNvSpPr>
                <a:spLocks noChangeAspect="1"/>
              </p:cNvSpPr>
              <p:nvPr/>
            </p:nvSpPr>
            <p:spPr bwMode="auto">
              <a:xfrm>
                <a:off x="2998" y="2203"/>
                <a:ext cx="50" cy="89"/>
              </a:xfrm>
              <a:custGeom>
                <a:avLst/>
                <a:gdLst>
                  <a:gd name="T0" fmla="*/ 42 w 50"/>
                  <a:gd name="T1" fmla="*/ 3 h 89"/>
                  <a:gd name="T2" fmla="*/ 24 w 50"/>
                  <a:gd name="T3" fmla="*/ 14 h 89"/>
                  <a:gd name="T4" fmla="*/ 15 w 50"/>
                  <a:gd name="T5" fmla="*/ 19 h 89"/>
                  <a:gd name="T6" fmla="*/ 0 w 50"/>
                  <a:gd name="T7" fmla="*/ 38 h 89"/>
                  <a:gd name="T8" fmla="*/ 4 w 50"/>
                  <a:gd name="T9" fmla="*/ 51 h 89"/>
                  <a:gd name="T10" fmla="*/ 0 w 50"/>
                  <a:gd name="T11" fmla="*/ 62 h 89"/>
                  <a:gd name="T12" fmla="*/ 7 w 50"/>
                  <a:gd name="T13" fmla="*/ 72 h 89"/>
                  <a:gd name="T14" fmla="*/ 6 w 50"/>
                  <a:gd name="T15" fmla="*/ 81 h 89"/>
                  <a:gd name="T16" fmla="*/ 13 w 50"/>
                  <a:gd name="T17" fmla="*/ 83 h 89"/>
                  <a:gd name="T18" fmla="*/ 23 w 50"/>
                  <a:gd name="T19" fmla="*/ 65 h 89"/>
                  <a:gd name="T20" fmla="*/ 33 w 50"/>
                  <a:gd name="T21" fmla="*/ 48 h 89"/>
                  <a:gd name="T22" fmla="*/ 23 w 50"/>
                  <a:gd name="T23" fmla="*/ 29 h 89"/>
                  <a:gd name="T24" fmla="*/ 34 w 50"/>
                  <a:gd name="T25" fmla="*/ 18 h 89"/>
                  <a:gd name="T26" fmla="*/ 48 w 50"/>
                  <a:gd name="T27" fmla="*/ 6 h 89"/>
                  <a:gd name="T28" fmla="*/ 42 w 50"/>
                  <a:gd name="T29" fmla="*/ 3 h 89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50"/>
                  <a:gd name="T46" fmla="*/ 0 h 89"/>
                  <a:gd name="T47" fmla="*/ 50 w 50"/>
                  <a:gd name="T48" fmla="*/ 89 h 89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50" h="89">
                    <a:moveTo>
                      <a:pt x="42" y="3"/>
                    </a:moveTo>
                    <a:cubicBezTo>
                      <a:pt x="27" y="4"/>
                      <a:pt x="15" y="0"/>
                      <a:pt x="24" y="14"/>
                    </a:cubicBezTo>
                    <a:cubicBezTo>
                      <a:pt x="21" y="18"/>
                      <a:pt x="20" y="18"/>
                      <a:pt x="15" y="19"/>
                    </a:cubicBezTo>
                    <a:cubicBezTo>
                      <a:pt x="7" y="24"/>
                      <a:pt x="7" y="31"/>
                      <a:pt x="0" y="38"/>
                    </a:cubicBezTo>
                    <a:cubicBezTo>
                      <a:pt x="1" y="44"/>
                      <a:pt x="2" y="46"/>
                      <a:pt x="4" y="51"/>
                    </a:cubicBezTo>
                    <a:cubicBezTo>
                      <a:pt x="3" y="55"/>
                      <a:pt x="1" y="58"/>
                      <a:pt x="0" y="62"/>
                    </a:cubicBezTo>
                    <a:cubicBezTo>
                      <a:pt x="1" y="68"/>
                      <a:pt x="1" y="70"/>
                      <a:pt x="7" y="72"/>
                    </a:cubicBezTo>
                    <a:cubicBezTo>
                      <a:pt x="10" y="76"/>
                      <a:pt x="8" y="76"/>
                      <a:pt x="6" y="81"/>
                    </a:cubicBezTo>
                    <a:cubicBezTo>
                      <a:pt x="7" y="88"/>
                      <a:pt x="9" y="89"/>
                      <a:pt x="13" y="83"/>
                    </a:cubicBezTo>
                    <a:cubicBezTo>
                      <a:pt x="15" y="71"/>
                      <a:pt x="12" y="67"/>
                      <a:pt x="23" y="65"/>
                    </a:cubicBezTo>
                    <a:cubicBezTo>
                      <a:pt x="31" y="61"/>
                      <a:pt x="27" y="54"/>
                      <a:pt x="33" y="48"/>
                    </a:cubicBezTo>
                    <a:cubicBezTo>
                      <a:pt x="30" y="40"/>
                      <a:pt x="27" y="36"/>
                      <a:pt x="23" y="29"/>
                    </a:cubicBezTo>
                    <a:cubicBezTo>
                      <a:pt x="24" y="24"/>
                      <a:pt x="29" y="21"/>
                      <a:pt x="34" y="18"/>
                    </a:cubicBezTo>
                    <a:cubicBezTo>
                      <a:pt x="37" y="8"/>
                      <a:pt x="36" y="7"/>
                      <a:pt x="48" y="6"/>
                    </a:cubicBezTo>
                    <a:cubicBezTo>
                      <a:pt x="50" y="1"/>
                      <a:pt x="50" y="3"/>
                      <a:pt x="42" y="3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24" name="Freeform 72"/>
              <p:cNvSpPr>
                <a:spLocks noChangeAspect="1"/>
              </p:cNvSpPr>
              <p:nvPr/>
            </p:nvSpPr>
            <p:spPr bwMode="auto">
              <a:xfrm>
                <a:off x="2932" y="2263"/>
                <a:ext cx="29" cy="87"/>
              </a:xfrm>
              <a:custGeom>
                <a:avLst/>
                <a:gdLst>
                  <a:gd name="T0" fmla="*/ 27 w 29"/>
                  <a:gd name="T1" fmla="*/ 0 h 87"/>
                  <a:gd name="T2" fmla="*/ 19 w 29"/>
                  <a:gd name="T3" fmla="*/ 15 h 87"/>
                  <a:gd name="T4" fmla="*/ 13 w 29"/>
                  <a:gd name="T5" fmla="*/ 30 h 87"/>
                  <a:gd name="T6" fmla="*/ 7 w 29"/>
                  <a:gd name="T7" fmla="*/ 38 h 87"/>
                  <a:gd name="T8" fmla="*/ 1 w 29"/>
                  <a:gd name="T9" fmla="*/ 57 h 87"/>
                  <a:gd name="T10" fmla="*/ 9 w 29"/>
                  <a:gd name="T11" fmla="*/ 78 h 87"/>
                  <a:gd name="T12" fmla="*/ 12 w 29"/>
                  <a:gd name="T13" fmla="*/ 85 h 87"/>
                  <a:gd name="T14" fmla="*/ 24 w 29"/>
                  <a:gd name="T15" fmla="*/ 32 h 87"/>
                  <a:gd name="T16" fmla="*/ 25 w 29"/>
                  <a:gd name="T17" fmla="*/ 17 h 87"/>
                  <a:gd name="T18" fmla="*/ 29 w 29"/>
                  <a:gd name="T19" fmla="*/ 8 h 87"/>
                  <a:gd name="T20" fmla="*/ 27 w 29"/>
                  <a:gd name="T21" fmla="*/ 0 h 87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29"/>
                  <a:gd name="T34" fmla="*/ 0 h 87"/>
                  <a:gd name="T35" fmla="*/ 29 w 29"/>
                  <a:gd name="T36" fmla="*/ 87 h 87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29" h="87">
                    <a:moveTo>
                      <a:pt x="27" y="0"/>
                    </a:moveTo>
                    <a:cubicBezTo>
                      <a:pt x="24" y="5"/>
                      <a:pt x="23" y="11"/>
                      <a:pt x="19" y="15"/>
                    </a:cubicBezTo>
                    <a:cubicBezTo>
                      <a:pt x="18" y="21"/>
                      <a:pt x="17" y="26"/>
                      <a:pt x="13" y="30"/>
                    </a:cubicBezTo>
                    <a:cubicBezTo>
                      <a:pt x="11" y="37"/>
                      <a:pt x="13" y="35"/>
                      <a:pt x="7" y="38"/>
                    </a:cubicBezTo>
                    <a:cubicBezTo>
                      <a:pt x="5" y="44"/>
                      <a:pt x="5" y="51"/>
                      <a:pt x="1" y="57"/>
                    </a:cubicBezTo>
                    <a:cubicBezTo>
                      <a:pt x="0" y="64"/>
                      <a:pt x="2" y="76"/>
                      <a:pt x="9" y="78"/>
                    </a:cubicBezTo>
                    <a:cubicBezTo>
                      <a:pt x="10" y="80"/>
                      <a:pt x="11" y="87"/>
                      <a:pt x="12" y="85"/>
                    </a:cubicBezTo>
                    <a:cubicBezTo>
                      <a:pt x="18" y="68"/>
                      <a:pt x="18" y="49"/>
                      <a:pt x="24" y="32"/>
                    </a:cubicBezTo>
                    <a:cubicBezTo>
                      <a:pt x="24" y="27"/>
                      <a:pt x="24" y="22"/>
                      <a:pt x="25" y="17"/>
                    </a:cubicBezTo>
                    <a:cubicBezTo>
                      <a:pt x="26" y="14"/>
                      <a:pt x="29" y="8"/>
                      <a:pt x="29" y="8"/>
                    </a:cubicBezTo>
                    <a:cubicBezTo>
                      <a:pt x="28" y="2"/>
                      <a:pt x="29" y="5"/>
                      <a:pt x="27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25" name="Freeform 73"/>
              <p:cNvSpPr>
                <a:spLocks noChangeAspect="1"/>
              </p:cNvSpPr>
              <p:nvPr/>
            </p:nvSpPr>
            <p:spPr bwMode="auto">
              <a:xfrm>
                <a:off x="2717" y="1385"/>
                <a:ext cx="395" cy="1031"/>
              </a:xfrm>
              <a:custGeom>
                <a:avLst/>
                <a:gdLst>
                  <a:gd name="T0" fmla="*/ 240 w 395"/>
                  <a:gd name="T1" fmla="*/ 3 h 1031"/>
                  <a:gd name="T2" fmla="*/ 240 w 395"/>
                  <a:gd name="T3" fmla="*/ 33 h 1031"/>
                  <a:gd name="T4" fmla="*/ 188 w 395"/>
                  <a:gd name="T5" fmla="*/ 73 h 1031"/>
                  <a:gd name="T6" fmla="*/ 144 w 395"/>
                  <a:gd name="T7" fmla="*/ 130 h 1031"/>
                  <a:gd name="T8" fmla="*/ 135 w 395"/>
                  <a:gd name="T9" fmla="*/ 193 h 1031"/>
                  <a:gd name="T10" fmla="*/ 103 w 395"/>
                  <a:gd name="T11" fmla="*/ 302 h 1031"/>
                  <a:gd name="T12" fmla="*/ 92 w 395"/>
                  <a:gd name="T13" fmla="*/ 331 h 1031"/>
                  <a:gd name="T14" fmla="*/ 87 w 395"/>
                  <a:gd name="T15" fmla="*/ 358 h 1031"/>
                  <a:gd name="T16" fmla="*/ 74 w 395"/>
                  <a:gd name="T17" fmla="*/ 393 h 1031"/>
                  <a:gd name="T18" fmla="*/ 29 w 395"/>
                  <a:gd name="T19" fmla="*/ 457 h 1031"/>
                  <a:gd name="T20" fmla="*/ 38 w 395"/>
                  <a:gd name="T21" fmla="*/ 563 h 1031"/>
                  <a:gd name="T22" fmla="*/ 45 w 395"/>
                  <a:gd name="T23" fmla="*/ 633 h 1031"/>
                  <a:gd name="T24" fmla="*/ 40 w 395"/>
                  <a:gd name="T25" fmla="*/ 702 h 1031"/>
                  <a:gd name="T26" fmla="*/ 21 w 395"/>
                  <a:gd name="T27" fmla="*/ 773 h 1031"/>
                  <a:gd name="T28" fmla="*/ 3 w 395"/>
                  <a:gd name="T29" fmla="*/ 771 h 1031"/>
                  <a:gd name="T30" fmla="*/ 35 w 395"/>
                  <a:gd name="T31" fmla="*/ 865 h 1031"/>
                  <a:gd name="T32" fmla="*/ 69 w 395"/>
                  <a:gd name="T33" fmla="*/ 926 h 1031"/>
                  <a:gd name="T34" fmla="*/ 94 w 395"/>
                  <a:gd name="T35" fmla="*/ 1031 h 1031"/>
                  <a:gd name="T36" fmla="*/ 136 w 395"/>
                  <a:gd name="T37" fmla="*/ 993 h 1031"/>
                  <a:gd name="T38" fmla="*/ 196 w 395"/>
                  <a:gd name="T39" fmla="*/ 963 h 1031"/>
                  <a:gd name="T40" fmla="*/ 207 w 395"/>
                  <a:gd name="T41" fmla="*/ 939 h 1031"/>
                  <a:gd name="T42" fmla="*/ 220 w 395"/>
                  <a:gd name="T43" fmla="*/ 897 h 1031"/>
                  <a:gd name="T44" fmla="*/ 201 w 395"/>
                  <a:gd name="T45" fmla="*/ 790 h 1031"/>
                  <a:gd name="T46" fmla="*/ 252 w 395"/>
                  <a:gd name="T47" fmla="*/ 750 h 1031"/>
                  <a:gd name="T48" fmla="*/ 284 w 395"/>
                  <a:gd name="T49" fmla="*/ 745 h 1031"/>
                  <a:gd name="T50" fmla="*/ 298 w 395"/>
                  <a:gd name="T51" fmla="*/ 693 h 1031"/>
                  <a:gd name="T52" fmla="*/ 255 w 395"/>
                  <a:gd name="T53" fmla="*/ 645 h 1031"/>
                  <a:gd name="T54" fmla="*/ 226 w 395"/>
                  <a:gd name="T55" fmla="*/ 637 h 1031"/>
                  <a:gd name="T56" fmla="*/ 226 w 395"/>
                  <a:gd name="T57" fmla="*/ 507 h 1031"/>
                  <a:gd name="T58" fmla="*/ 305 w 395"/>
                  <a:gd name="T59" fmla="*/ 399 h 1031"/>
                  <a:gd name="T60" fmla="*/ 332 w 395"/>
                  <a:gd name="T61" fmla="*/ 365 h 1031"/>
                  <a:gd name="T62" fmla="*/ 312 w 395"/>
                  <a:gd name="T63" fmla="*/ 309 h 1031"/>
                  <a:gd name="T64" fmla="*/ 372 w 395"/>
                  <a:gd name="T65" fmla="*/ 229 h 1031"/>
                  <a:gd name="T66" fmla="*/ 384 w 395"/>
                  <a:gd name="T67" fmla="*/ 213 h 1031"/>
                  <a:gd name="T68" fmla="*/ 365 w 395"/>
                  <a:gd name="T69" fmla="*/ 133 h 1031"/>
                  <a:gd name="T70" fmla="*/ 340 w 395"/>
                  <a:gd name="T71" fmla="*/ 62 h 1031"/>
                  <a:gd name="T72" fmla="*/ 253 w 395"/>
                  <a:gd name="T73" fmla="*/ 0 h 1031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395"/>
                  <a:gd name="T112" fmla="*/ 0 h 1031"/>
                  <a:gd name="T113" fmla="*/ 395 w 395"/>
                  <a:gd name="T114" fmla="*/ 1031 h 1031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395" h="1031">
                    <a:moveTo>
                      <a:pt x="253" y="0"/>
                    </a:moveTo>
                    <a:cubicBezTo>
                      <a:pt x="251" y="0"/>
                      <a:pt x="240" y="2"/>
                      <a:pt x="240" y="3"/>
                    </a:cubicBezTo>
                    <a:cubicBezTo>
                      <a:pt x="239" y="7"/>
                      <a:pt x="244" y="20"/>
                      <a:pt x="244" y="25"/>
                    </a:cubicBezTo>
                    <a:cubicBezTo>
                      <a:pt x="243" y="28"/>
                      <a:pt x="240" y="33"/>
                      <a:pt x="240" y="33"/>
                    </a:cubicBezTo>
                    <a:cubicBezTo>
                      <a:pt x="239" y="38"/>
                      <a:pt x="245" y="47"/>
                      <a:pt x="236" y="54"/>
                    </a:cubicBezTo>
                    <a:cubicBezTo>
                      <a:pt x="159" y="33"/>
                      <a:pt x="202" y="64"/>
                      <a:pt x="188" y="73"/>
                    </a:cubicBezTo>
                    <a:cubicBezTo>
                      <a:pt x="172" y="83"/>
                      <a:pt x="202" y="87"/>
                      <a:pt x="179" y="88"/>
                    </a:cubicBezTo>
                    <a:cubicBezTo>
                      <a:pt x="135" y="86"/>
                      <a:pt x="146" y="119"/>
                      <a:pt x="144" y="130"/>
                    </a:cubicBezTo>
                    <a:cubicBezTo>
                      <a:pt x="148" y="137"/>
                      <a:pt x="146" y="147"/>
                      <a:pt x="148" y="155"/>
                    </a:cubicBezTo>
                    <a:cubicBezTo>
                      <a:pt x="145" y="174"/>
                      <a:pt x="145" y="177"/>
                      <a:pt x="135" y="193"/>
                    </a:cubicBezTo>
                    <a:cubicBezTo>
                      <a:pt x="128" y="208"/>
                      <a:pt x="111" y="225"/>
                      <a:pt x="106" y="243"/>
                    </a:cubicBezTo>
                    <a:cubicBezTo>
                      <a:pt x="102" y="265"/>
                      <a:pt x="102" y="276"/>
                      <a:pt x="103" y="302"/>
                    </a:cubicBezTo>
                    <a:cubicBezTo>
                      <a:pt x="101" y="308"/>
                      <a:pt x="101" y="311"/>
                      <a:pt x="96" y="315"/>
                    </a:cubicBezTo>
                    <a:cubicBezTo>
                      <a:pt x="95" y="320"/>
                      <a:pt x="94" y="326"/>
                      <a:pt x="92" y="331"/>
                    </a:cubicBezTo>
                    <a:cubicBezTo>
                      <a:pt x="91" y="334"/>
                      <a:pt x="88" y="341"/>
                      <a:pt x="88" y="341"/>
                    </a:cubicBezTo>
                    <a:cubicBezTo>
                      <a:pt x="87" y="349"/>
                      <a:pt x="83" y="350"/>
                      <a:pt x="87" y="358"/>
                    </a:cubicBezTo>
                    <a:cubicBezTo>
                      <a:pt x="90" y="371"/>
                      <a:pt x="99" y="375"/>
                      <a:pt x="93" y="397"/>
                    </a:cubicBezTo>
                    <a:cubicBezTo>
                      <a:pt x="86" y="396"/>
                      <a:pt x="81" y="395"/>
                      <a:pt x="74" y="393"/>
                    </a:cubicBezTo>
                    <a:cubicBezTo>
                      <a:pt x="54" y="388"/>
                      <a:pt x="50" y="411"/>
                      <a:pt x="40" y="421"/>
                    </a:cubicBezTo>
                    <a:cubicBezTo>
                      <a:pt x="38" y="432"/>
                      <a:pt x="34" y="447"/>
                      <a:pt x="29" y="457"/>
                    </a:cubicBezTo>
                    <a:cubicBezTo>
                      <a:pt x="38" y="472"/>
                      <a:pt x="29" y="481"/>
                      <a:pt x="34" y="493"/>
                    </a:cubicBezTo>
                    <a:cubicBezTo>
                      <a:pt x="36" y="512"/>
                      <a:pt x="42" y="526"/>
                      <a:pt x="38" y="563"/>
                    </a:cubicBezTo>
                    <a:cubicBezTo>
                      <a:pt x="35" y="590"/>
                      <a:pt x="51" y="584"/>
                      <a:pt x="64" y="596"/>
                    </a:cubicBezTo>
                    <a:cubicBezTo>
                      <a:pt x="65" y="607"/>
                      <a:pt x="46" y="623"/>
                      <a:pt x="45" y="633"/>
                    </a:cubicBezTo>
                    <a:cubicBezTo>
                      <a:pt x="44" y="645"/>
                      <a:pt x="59" y="657"/>
                      <a:pt x="58" y="669"/>
                    </a:cubicBezTo>
                    <a:cubicBezTo>
                      <a:pt x="53" y="679"/>
                      <a:pt x="48" y="693"/>
                      <a:pt x="40" y="702"/>
                    </a:cubicBezTo>
                    <a:cubicBezTo>
                      <a:pt x="32" y="709"/>
                      <a:pt x="29" y="725"/>
                      <a:pt x="28" y="737"/>
                    </a:cubicBezTo>
                    <a:cubicBezTo>
                      <a:pt x="29" y="753"/>
                      <a:pt x="27" y="758"/>
                      <a:pt x="21" y="773"/>
                    </a:cubicBezTo>
                    <a:cubicBezTo>
                      <a:pt x="18" y="778"/>
                      <a:pt x="8" y="757"/>
                      <a:pt x="5" y="757"/>
                    </a:cubicBezTo>
                    <a:cubicBezTo>
                      <a:pt x="1" y="763"/>
                      <a:pt x="0" y="764"/>
                      <a:pt x="3" y="771"/>
                    </a:cubicBezTo>
                    <a:cubicBezTo>
                      <a:pt x="5" y="784"/>
                      <a:pt x="15" y="823"/>
                      <a:pt x="20" y="838"/>
                    </a:cubicBezTo>
                    <a:cubicBezTo>
                      <a:pt x="22" y="849"/>
                      <a:pt x="32" y="855"/>
                      <a:pt x="35" y="865"/>
                    </a:cubicBezTo>
                    <a:cubicBezTo>
                      <a:pt x="39" y="877"/>
                      <a:pt x="43" y="897"/>
                      <a:pt x="50" y="907"/>
                    </a:cubicBezTo>
                    <a:cubicBezTo>
                      <a:pt x="59" y="911"/>
                      <a:pt x="63" y="918"/>
                      <a:pt x="69" y="926"/>
                    </a:cubicBezTo>
                    <a:cubicBezTo>
                      <a:pt x="72" y="940"/>
                      <a:pt x="75" y="958"/>
                      <a:pt x="64" y="969"/>
                    </a:cubicBezTo>
                    <a:cubicBezTo>
                      <a:pt x="68" y="986"/>
                      <a:pt x="81" y="1021"/>
                      <a:pt x="94" y="1031"/>
                    </a:cubicBezTo>
                    <a:cubicBezTo>
                      <a:pt x="110" y="1029"/>
                      <a:pt x="124" y="1029"/>
                      <a:pt x="140" y="1027"/>
                    </a:cubicBezTo>
                    <a:cubicBezTo>
                      <a:pt x="148" y="1016"/>
                      <a:pt x="140" y="1004"/>
                      <a:pt x="136" y="993"/>
                    </a:cubicBezTo>
                    <a:cubicBezTo>
                      <a:pt x="141" y="973"/>
                      <a:pt x="160" y="970"/>
                      <a:pt x="177" y="969"/>
                    </a:cubicBezTo>
                    <a:cubicBezTo>
                      <a:pt x="184" y="966"/>
                      <a:pt x="189" y="966"/>
                      <a:pt x="196" y="963"/>
                    </a:cubicBezTo>
                    <a:cubicBezTo>
                      <a:pt x="197" y="956"/>
                      <a:pt x="201" y="951"/>
                      <a:pt x="204" y="945"/>
                    </a:cubicBezTo>
                    <a:cubicBezTo>
                      <a:pt x="205" y="943"/>
                      <a:pt x="207" y="939"/>
                      <a:pt x="207" y="939"/>
                    </a:cubicBezTo>
                    <a:cubicBezTo>
                      <a:pt x="209" y="929"/>
                      <a:pt x="212" y="918"/>
                      <a:pt x="215" y="909"/>
                    </a:cubicBezTo>
                    <a:cubicBezTo>
                      <a:pt x="216" y="905"/>
                      <a:pt x="220" y="897"/>
                      <a:pt x="220" y="897"/>
                    </a:cubicBezTo>
                    <a:cubicBezTo>
                      <a:pt x="223" y="877"/>
                      <a:pt x="220" y="851"/>
                      <a:pt x="226" y="832"/>
                    </a:cubicBezTo>
                    <a:cubicBezTo>
                      <a:pt x="224" y="801"/>
                      <a:pt x="227" y="803"/>
                      <a:pt x="201" y="790"/>
                    </a:cubicBezTo>
                    <a:cubicBezTo>
                      <a:pt x="206" y="783"/>
                      <a:pt x="227" y="780"/>
                      <a:pt x="236" y="779"/>
                    </a:cubicBezTo>
                    <a:cubicBezTo>
                      <a:pt x="248" y="772"/>
                      <a:pt x="241" y="756"/>
                      <a:pt x="252" y="750"/>
                    </a:cubicBezTo>
                    <a:cubicBezTo>
                      <a:pt x="256" y="753"/>
                      <a:pt x="257" y="760"/>
                      <a:pt x="260" y="764"/>
                    </a:cubicBezTo>
                    <a:cubicBezTo>
                      <a:pt x="271" y="760"/>
                      <a:pt x="276" y="753"/>
                      <a:pt x="284" y="745"/>
                    </a:cubicBezTo>
                    <a:cubicBezTo>
                      <a:pt x="280" y="729"/>
                      <a:pt x="264" y="732"/>
                      <a:pt x="245" y="731"/>
                    </a:cubicBezTo>
                    <a:cubicBezTo>
                      <a:pt x="247" y="722"/>
                      <a:pt x="295" y="707"/>
                      <a:pt x="298" y="693"/>
                    </a:cubicBezTo>
                    <a:cubicBezTo>
                      <a:pt x="300" y="679"/>
                      <a:pt x="283" y="659"/>
                      <a:pt x="272" y="651"/>
                    </a:cubicBezTo>
                    <a:cubicBezTo>
                      <a:pt x="271" y="644"/>
                      <a:pt x="262" y="646"/>
                      <a:pt x="255" y="645"/>
                    </a:cubicBezTo>
                    <a:cubicBezTo>
                      <a:pt x="247" y="638"/>
                      <a:pt x="253" y="642"/>
                      <a:pt x="240" y="640"/>
                    </a:cubicBezTo>
                    <a:cubicBezTo>
                      <a:pt x="235" y="639"/>
                      <a:pt x="226" y="637"/>
                      <a:pt x="226" y="637"/>
                    </a:cubicBezTo>
                    <a:cubicBezTo>
                      <a:pt x="218" y="626"/>
                      <a:pt x="221" y="632"/>
                      <a:pt x="221" y="605"/>
                    </a:cubicBezTo>
                    <a:cubicBezTo>
                      <a:pt x="221" y="585"/>
                      <a:pt x="219" y="536"/>
                      <a:pt x="226" y="507"/>
                    </a:cubicBezTo>
                    <a:cubicBezTo>
                      <a:pt x="230" y="491"/>
                      <a:pt x="240" y="477"/>
                      <a:pt x="249" y="464"/>
                    </a:cubicBezTo>
                    <a:cubicBezTo>
                      <a:pt x="266" y="441"/>
                      <a:pt x="282" y="417"/>
                      <a:pt x="305" y="399"/>
                    </a:cubicBezTo>
                    <a:cubicBezTo>
                      <a:pt x="312" y="393"/>
                      <a:pt x="317" y="387"/>
                      <a:pt x="324" y="381"/>
                    </a:cubicBezTo>
                    <a:cubicBezTo>
                      <a:pt x="331" y="369"/>
                      <a:pt x="329" y="375"/>
                      <a:pt x="332" y="365"/>
                    </a:cubicBezTo>
                    <a:cubicBezTo>
                      <a:pt x="330" y="342"/>
                      <a:pt x="344" y="349"/>
                      <a:pt x="336" y="334"/>
                    </a:cubicBezTo>
                    <a:cubicBezTo>
                      <a:pt x="335" y="327"/>
                      <a:pt x="318" y="313"/>
                      <a:pt x="312" y="309"/>
                    </a:cubicBezTo>
                    <a:cubicBezTo>
                      <a:pt x="314" y="296"/>
                      <a:pt x="334" y="264"/>
                      <a:pt x="344" y="251"/>
                    </a:cubicBezTo>
                    <a:cubicBezTo>
                      <a:pt x="350" y="241"/>
                      <a:pt x="360" y="231"/>
                      <a:pt x="372" y="229"/>
                    </a:cubicBezTo>
                    <a:cubicBezTo>
                      <a:pt x="380" y="225"/>
                      <a:pt x="386" y="229"/>
                      <a:pt x="395" y="227"/>
                    </a:cubicBezTo>
                    <a:cubicBezTo>
                      <a:pt x="388" y="225"/>
                      <a:pt x="387" y="220"/>
                      <a:pt x="384" y="213"/>
                    </a:cubicBezTo>
                    <a:cubicBezTo>
                      <a:pt x="383" y="206"/>
                      <a:pt x="377" y="199"/>
                      <a:pt x="373" y="193"/>
                    </a:cubicBezTo>
                    <a:cubicBezTo>
                      <a:pt x="370" y="173"/>
                      <a:pt x="378" y="150"/>
                      <a:pt x="365" y="133"/>
                    </a:cubicBezTo>
                    <a:cubicBezTo>
                      <a:pt x="362" y="120"/>
                      <a:pt x="351" y="107"/>
                      <a:pt x="346" y="94"/>
                    </a:cubicBezTo>
                    <a:cubicBezTo>
                      <a:pt x="345" y="80"/>
                      <a:pt x="352" y="69"/>
                      <a:pt x="340" y="62"/>
                    </a:cubicBezTo>
                    <a:cubicBezTo>
                      <a:pt x="327" y="46"/>
                      <a:pt x="304" y="36"/>
                      <a:pt x="287" y="24"/>
                    </a:cubicBezTo>
                    <a:cubicBezTo>
                      <a:pt x="276" y="16"/>
                      <a:pt x="267" y="5"/>
                      <a:pt x="253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</p:grpSp>
        <p:grpSp>
          <p:nvGrpSpPr>
            <p:cNvPr id="270" name="Group 74"/>
            <p:cNvGrpSpPr>
              <a:grpSpLocks/>
            </p:cNvGrpSpPr>
            <p:nvPr/>
          </p:nvGrpSpPr>
          <p:grpSpPr bwMode="auto">
            <a:xfrm>
              <a:off x="2358" y="1338"/>
              <a:ext cx="737" cy="1042"/>
              <a:chOff x="1955" y="-432"/>
              <a:chExt cx="2919" cy="4123"/>
            </a:xfrm>
            <a:grpFill/>
          </p:grpSpPr>
          <p:sp>
            <p:nvSpPr>
              <p:cNvPr id="321" name="Freeform 75"/>
              <p:cNvSpPr>
                <a:spLocks noChangeAspect="1"/>
              </p:cNvSpPr>
              <p:nvPr/>
            </p:nvSpPr>
            <p:spPr bwMode="auto">
              <a:xfrm>
                <a:off x="3019" y="312"/>
                <a:ext cx="392" cy="468"/>
              </a:xfrm>
              <a:custGeom>
                <a:avLst/>
                <a:gdLst>
                  <a:gd name="T0" fmla="*/ 2147483647 w 98"/>
                  <a:gd name="T1" fmla="*/ 2147483647 h 117"/>
                  <a:gd name="T2" fmla="*/ 2147483647 w 98"/>
                  <a:gd name="T3" fmla="*/ 2147483647 h 117"/>
                  <a:gd name="T4" fmla="*/ 2147483647 w 98"/>
                  <a:gd name="T5" fmla="*/ 2147483647 h 117"/>
                  <a:gd name="T6" fmla="*/ 2147483647 w 98"/>
                  <a:gd name="T7" fmla="*/ 2147483647 h 117"/>
                  <a:gd name="T8" fmla="*/ 2147483647 w 98"/>
                  <a:gd name="T9" fmla="*/ 2147483647 h 117"/>
                  <a:gd name="T10" fmla="*/ 2147483647 w 98"/>
                  <a:gd name="T11" fmla="*/ 2147483647 h 117"/>
                  <a:gd name="T12" fmla="*/ 2147483647 w 98"/>
                  <a:gd name="T13" fmla="*/ 2147483647 h 117"/>
                  <a:gd name="T14" fmla="*/ 2147483647 w 98"/>
                  <a:gd name="T15" fmla="*/ 2147483647 h 117"/>
                  <a:gd name="T16" fmla="*/ 2147483647 w 98"/>
                  <a:gd name="T17" fmla="*/ 0 h 117"/>
                  <a:gd name="T18" fmla="*/ 2147483647 w 98"/>
                  <a:gd name="T19" fmla="*/ 2147483647 h 117"/>
                  <a:gd name="T20" fmla="*/ 2147483647 w 98"/>
                  <a:gd name="T21" fmla="*/ 2147483647 h 117"/>
                  <a:gd name="T22" fmla="*/ 2147483647 w 98"/>
                  <a:gd name="T23" fmla="*/ 2147483647 h 117"/>
                  <a:gd name="T24" fmla="*/ 2147483647 w 98"/>
                  <a:gd name="T25" fmla="*/ 2147483647 h 117"/>
                  <a:gd name="T26" fmla="*/ 2147483647 w 98"/>
                  <a:gd name="T27" fmla="*/ 2147483647 h 117"/>
                  <a:gd name="T28" fmla="*/ 2147483647 w 98"/>
                  <a:gd name="T29" fmla="*/ 2147483647 h 117"/>
                  <a:gd name="T30" fmla="*/ 2147483647 w 98"/>
                  <a:gd name="T31" fmla="*/ 2147483647 h 117"/>
                  <a:gd name="T32" fmla="*/ 2147483647 w 98"/>
                  <a:gd name="T33" fmla="*/ 2147483647 h 117"/>
                  <a:gd name="T34" fmla="*/ 2147483647 w 98"/>
                  <a:gd name="T35" fmla="*/ 2147483647 h 117"/>
                  <a:gd name="T36" fmla="*/ 2147483647 w 98"/>
                  <a:gd name="T37" fmla="*/ 2147483647 h 117"/>
                  <a:gd name="T38" fmla="*/ 2147483647 w 98"/>
                  <a:gd name="T39" fmla="*/ 2147483647 h 117"/>
                  <a:gd name="T40" fmla="*/ 2147483647 w 98"/>
                  <a:gd name="T41" fmla="*/ 2147483647 h 117"/>
                  <a:gd name="T42" fmla="*/ 0 w 98"/>
                  <a:gd name="T43" fmla="*/ 2147483647 h 117"/>
                  <a:gd name="T44" fmla="*/ 2147483647 w 98"/>
                  <a:gd name="T45" fmla="*/ 2147483647 h 117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98"/>
                  <a:gd name="T70" fmla="*/ 0 h 117"/>
                  <a:gd name="T71" fmla="*/ 98 w 98"/>
                  <a:gd name="T72" fmla="*/ 117 h 117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98" h="117">
                    <a:moveTo>
                      <a:pt x="14" y="94"/>
                    </a:moveTo>
                    <a:cubicBezTo>
                      <a:pt x="22" y="88"/>
                      <a:pt x="22" y="81"/>
                      <a:pt x="30" y="74"/>
                    </a:cubicBezTo>
                    <a:cubicBezTo>
                      <a:pt x="32" y="68"/>
                      <a:pt x="33" y="76"/>
                      <a:pt x="39" y="74"/>
                    </a:cubicBezTo>
                    <a:cubicBezTo>
                      <a:pt x="45" y="75"/>
                      <a:pt x="46" y="68"/>
                      <a:pt x="52" y="70"/>
                    </a:cubicBezTo>
                    <a:cubicBezTo>
                      <a:pt x="59" y="69"/>
                      <a:pt x="64" y="66"/>
                      <a:pt x="56" y="60"/>
                    </a:cubicBezTo>
                    <a:cubicBezTo>
                      <a:pt x="51" y="57"/>
                      <a:pt x="40" y="54"/>
                      <a:pt x="40" y="54"/>
                    </a:cubicBezTo>
                    <a:cubicBezTo>
                      <a:pt x="37" y="44"/>
                      <a:pt x="54" y="34"/>
                      <a:pt x="60" y="33"/>
                    </a:cubicBezTo>
                    <a:cubicBezTo>
                      <a:pt x="63" y="29"/>
                      <a:pt x="72" y="38"/>
                      <a:pt x="74" y="33"/>
                    </a:cubicBezTo>
                    <a:cubicBezTo>
                      <a:pt x="73" y="24"/>
                      <a:pt x="67" y="3"/>
                      <a:pt x="79" y="0"/>
                    </a:cubicBezTo>
                    <a:cubicBezTo>
                      <a:pt x="84" y="2"/>
                      <a:pt x="85" y="2"/>
                      <a:pt x="86" y="7"/>
                    </a:cubicBezTo>
                    <a:cubicBezTo>
                      <a:pt x="85" y="15"/>
                      <a:pt x="83" y="15"/>
                      <a:pt x="79" y="21"/>
                    </a:cubicBezTo>
                    <a:cubicBezTo>
                      <a:pt x="78" y="25"/>
                      <a:pt x="77" y="26"/>
                      <a:pt x="80" y="31"/>
                    </a:cubicBezTo>
                    <a:cubicBezTo>
                      <a:pt x="81" y="33"/>
                      <a:pt x="84" y="37"/>
                      <a:pt x="84" y="37"/>
                    </a:cubicBezTo>
                    <a:cubicBezTo>
                      <a:pt x="88" y="35"/>
                      <a:pt x="92" y="32"/>
                      <a:pt x="97" y="30"/>
                    </a:cubicBezTo>
                    <a:cubicBezTo>
                      <a:pt x="98" y="32"/>
                      <a:pt x="88" y="46"/>
                      <a:pt x="85" y="51"/>
                    </a:cubicBezTo>
                    <a:cubicBezTo>
                      <a:pt x="82" y="56"/>
                      <a:pt x="84" y="58"/>
                      <a:pt x="79" y="63"/>
                    </a:cubicBezTo>
                    <a:cubicBezTo>
                      <a:pt x="72" y="79"/>
                      <a:pt x="78" y="81"/>
                      <a:pt x="56" y="82"/>
                    </a:cubicBezTo>
                    <a:cubicBezTo>
                      <a:pt x="50" y="84"/>
                      <a:pt x="43" y="83"/>
                      <a:pt x="37" y="85"/>
                    </a:cubicBezTo>
                    <a:cubicBezTo>
                      <a:pt x="36" y="85"/>
                      <a:pt x="32" y="93"/>
                      <a:pt x="31" y="94"/>
                    </a:cubicBezTo>
                    <a:cubicBezTo>
                      <a:pt x="26" y="100"/>
                      <a:pt x="22" y="101"/>
                      <a:pt x="16" y="105"/>
                    </a:cubicBezTo>
                    <a:cubicBezTo>
                      <a:pt x="12" y="111"/>
                      <a:pt x="15" y="107"/>
                      <a:pt x="6" y="114"/>
                    </a:cubicBezTo>
                    <a:cubicBezTo>
                      <a:pt x="4" y="115"/>
                      <a:pt x="0" y="117"/>
                      <a:pt x="0" y="117"/>
                    </a:cubicBezTo>
                    <a:lnTo>
                      <a:pt x="14" y="94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22" name="Freeform 76"/>
              <p:cNvSpPr>
                <a:spLocks noChangeAspect="1"/>
              </p:cNvSpPr>
              <p:nvPr/>
            </p:nvSpPr>
            <p:spPr bwMode="auto">
              <a:xfrm>
                <a:off x="1955" y="-432"/>
                <a:ext cx="2919" cy="4123"/>
              </a:xfrm>
              <a:custGeom>
                <a:avLst/>
                <a:gdLst>
                  <a:gd name="T0" fmla="*/ 1000 w 2919"/>
                  <a:gd name="T1" fmla="*/ 3731 h 4123"/>
                  <a:gd name="T2" fmla="*/ 1064 w 2919"/>
                  <a:gd name="T3" fmla="*/ 3291 h 4123"/>
                  <a:gd name="T4" fmla="*/ 1044 w 2919"/>
                  <a:gd name="T5" fmla="*/ 2867 h 4123"/>
                  <a:gd name="T6" fmla="*/ 1050 w 2919"/>
                  <a:gd name="T7" fmla="*/ 2452 h 4123"/>
                  <a:gd name="T8" fmla="*/ 1258 w 2919"/>
                  <a:gd name="T9" fmla="*/ 2352 h 4123"/>
                  <a:gd name="T10" fmla="*/ 1261 w 2919"/>
                  <a:gd name="T11" fmla="*/ 2075 h 4123"/>
                  <a:gd name="T12" fmla="*/ 1309 w 2919"/>
                  <a:gd name="T13" fmla="*/ 1734 h 4123"/>
                  <a:gd name="T14" fmla="*/ 1463 w 2919"/>
                  <a:gd name="T15" fmla="*/ 1288 h 4123"/>
                  <a:gd name="T16" fmla="*/ 1834 w 2919"/>
                  <a:gd name="T17" fmla="*/ 980 h 4123"/>
                  <a:gd name="T18" fmla="*/ 1967 w 2919"/>
                  <a:gd name="T19" fmla="*/ 684 h 4123"/>
                  <a:gd name="T20" fmla="*/ 2443 w 2919"/>
                  <a:gd name="T21" fmla="*/ 676 h 4123"/>
                  <a:gd name="T22" fmla="*/ 2514 w 2919"/>
                  <a:gd name="T23" fmla="*/ 381 h 4123"/>
                  <a:gd name="T24" fmla="*/ 2761 w 2919"/>
                  <a:gd name="T25" fmla="*/ 406 h 4123"/>
                  <a:gd name="T26" fmla="*/ 2857 w 2919"/>
                  <a:gd name="T27" fmla="*/ 444 h 4123"/>
                  <a:gd name="T28" fmla="*/ 2695 w 2919"/>
                  <a:gd name="T29" fmla="*/ 268 h 4123"/>
                  <a:gd name="T30" fmla="*/ 2647 w 2919"/>
                  <a:gd name="T31" fmla="*/ 40 h 4123"/>
                  <a:gd name="T32" fmla="*/ 2435 w 2919"/>
                  <a:gd name="T33" fmla="*/ 244 h 4123"/>
                  <a:gd name="T34" fmla="*/ 2319 w 2919"/>
                  <a:gd name="T35" fmla="*/ 340 h 4123"/>
                  <a:gd name="T36" fmla="*/ 2183 w 2919"/>
                  <a:gd name="T37" fmla="*/ 168 h 4123"/>
                  <a:gd name="T38" fmla="*/ 2007 w 2919"/>
                  <a:gd name="T39" fmla="*/ 360 h 4123"/>
                  <a:gd name="T40" fmla="*/ 1823 w 2919"/>
                  <a:gd name="T41" fmla="*/ 632 h 4123"/>
                  <a:gd name="T42" fmla="*/ 1695 w 2919"/>
                  <a:gd name="T43" fmla="*/ 520 h 4123"/>
                  <a:gd name="T44" fmla="*/ 1675 w 2919"/>
                  <a:gd name="T45" fmla="*/ 648 h 4123"/>
                  <a:gd name="T46" fmla="*/ 1523 w 2919"/>
                  <a:gd name="T47" fmla="*/ 820 h 4123"/>
                  <a:gd name="T48" fmla="*/ 1559 w 2919"/>
                  <a:gd name="T49" fmla="*/ 996 h 4123"/>
                  <a:gd name="T50" fmla="*/ 1324 w 2919"/>
                  <a:gd name="T51" fmla="*/ 1244 h 4123"/>
                  <a:gd name="T52" fmla="*/ 1368 w 2919"/>
                  <a:gd name="T53" fmla="*/ 1380 h 4123"/>
                  <a:gd name="T54" fmla="*/ 1220 w 2919"/>
                  <a:gd name="T55" fmla="*/ 1444 h 4123"/>
                  <a:gd name="T56" fmla="*/ 1116 w 2919"/>
                  <a:gd name="T57" fmla="*/ 1656 h 4123"/>
                  <a:gd name="T58" fmla="*/ 1092 w 2919"/>
                  <a:gd name="T59" fmla="*/ 1784 h 4123"/>
                  <a:gd name="T60" fmla="*/ 1044 w 2919"/>
                  <a:gd name="T61" fmla="*/ 1968 h 4123"/>
                  <a:gd name="T62" fmla="*/ 976 w 2919"/>
                  <a:gd name="T63" fmla="*/ 2087 h 4123"/>
                  <a:gd name="T64" fmla="*/ 720 w 2919"/>
                  <a:gd name="T65" fmla="*/ 2375 h 4123"/>
                  <a:gd name="T66" fmla="*/ 828 w 2919"/>
                  <a:gd name="T67" fmla="*/ 2539 h 4123"/>
                  <a:gd name="T68" fmla="*/ 608 w 2919"/>
                  <a:gd name="T69" fmla="*/ 2539 h 4123"/>
                  <a:gd name="T70" fmla="*/ 496 w 2919"/>
                  <a:gd name="T71" fmla="*/ 2671 h 4123"/>
                  <a:gd name="T72" fmla="*/ 332 w 2919"/>
                  <a:gd name="T73" fmla="*/ 2791 h 4123"/>
                  <a:gd name="T74" fmla="*/ 188 w 2919"/>
                  <a:gd name="T75" fmla="*/ 2855 h 4123"/>
                  <a:gd name="T76" fmla="*/ 296 w 2919"/>
                  <a:gd name="T77" fmla="*/ 3011 h 4123"/>
                  <a:gd name="T78" fmla="*/ 216 w 2919"/>
                  <a:gd name="T79" fmla="*/ 3163 h 4123"/>
                  <a:gd name="T80" fmla="*/ 8 w 2919"/>
                  <a:gd name="T81" fmla="*/ 3295 h 4123"/>
                  <a:gd name="T82" fmla="*/ 268 w 2919"/>
                  <a:gd name="T83" fmla="*/ 3411 h 4123"/>
                  <a:gd name="T84" fmla="*/ 160 w 2919"/>
                  <a:gd name="T85" fmla="*/ 3471 h 4123"/>
                  <a:gd name="T86" fmla="*/ 112 w 2919"/>
                  <a:gd name="T87" fmla="*/ 3607 h 4123"/>
                  <a:gd name="T88" fmla="*/ 116 w 2919"/>
                  <a:gd name="T89" fmla="*/ 3679 h 4123"/>
                  <a:gd name="T90" fmla="*/ 140 w 2919"/>
                  <a:gd name="T91" fmla="*/ 3795 h 4123"/>
                  <a:gd name="T92" fmla="*/ 312 w 2919"/>
                  <a:gd name="T93" fmla="*/ 4103 h 4123"/>
                  <a:gd name="T94" fmla="*/ 660 w 2919"/>
                  <a:gd name="T95" fmla="*/ 3863 h 4123"/>
                  <a:gd name="T96" fmla="*/ 896 w 2919"/>
                  <a:gd name="T97" fmla="*/ 3739 h 4123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2919"/>
                  <a:gd name="T148" fmla="*/ 0 h 4123"/>
                  <a:gd name="T149" fmla="*/ 2919 w 2919"/>
                  <a:gd name="T150" fmla="*/ 4123 h 4123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2919" h="4123">
                    <a:moveTo>
                      <a:pt x="908" y="3795"/>
                    </a:moveTo>
                    <a:cubicBezTo>
                      <a:pt x="936" y="3799"/>
                      <a:pt x="940" y="3846"/>
                      <a:pt x="969" y="3860"/>
                    </a:cubicBezTo>
                    <a:cubicBezTo>
                      <a:pt x="984" y="3828"/>
                      <a:pt x="1000" y="3779"/>
                      <a:pt x="1000" y="3731"/>
                    </a:cubicBezTo>
                    <a:cubicBezTo>
                      <a:pt x="1004" y="3695"/>
                      <a:pt x="1012" y="3591"/>
                      <a:pt x="1044" y="3575"/>
                    </a:cubicBezTo>
                    <a:cubicBezTo>
                      <a:pt x="1080" y="3527"/>
                      <a:pt x="1088" y="3503"/>
                      <a:pt x="1116" y="3447"/>
                    </a:cubicBezTo>
                    <a:cubicBezTo>
                      <a:pt x="1131" y="3395"/>
                      <a:pt x="1060" y="3339"/>
                      <a:pt x="1064" y="3291"/>
                    </a:cubicBezTo>
                    <a:cubicBezTo>
                      <a:pt x="1072" y="3259"/>
                      <a:pt x="1148" y="3192"/>
                      <a:pt x="1144" y="3152"/>
                    </a:cubicBezTo>
                    <a:cubicBezTo>
                      <a:pt x="1136" y="3128"/>
                      <a:pt x="1057" y="3114"/>
                      <a:pt x="1041" y="3066"/>
                    </a:cubicBezTo>
                    <a:cubicBezTo>
                      <a:pt x="1037" y="3010"/>
                      <a:pt x="1050" y="2922"/>
                      <a:pt x="1044" y="2867"/>
                    </a:cubicBezTo>
                    <a:cubicBezTo>
                      <a:pt x="1038" y="2795"/>
                      <a:pt x="1009" y="2712"/>
                      <a:pt x="1021" y="2658"/>
                    </a:cubicBezTo>
                    <a:cubicBezTo>
                      <a:pt x="1021" y="2606"/>
                      <a:pt x="1001" y="2620"/>
                      <a:pt x="1006" y="2586"/>
                    </a:cubicBezTo>
                    <a:cubicBezTo>
                      <a:pt x="1023" y="2550"/>
                      <a:pt x="1040" y="2479"/>
                      <a:pt x="1050" y="2452"/>
                    </a:cubicBezTo>
                    <a:cubicBezTo>
                      <a:pt x="1060" y="2425"/>
                      <a:pt x="1053" y="2442"/>
                      <a:pt x="1068" y="2423"/>
                    </a:cubicBezTo>
                    <a:cubicBezTo>
                      <a:pt x="1097" y="2381"/>
                      <a:pt x="1098" y="2363"/>
                      <a:pt x="1140" y="2336"/>
                    </a:cubicBezTo>
                    <a:cubicBezTo>
                      <a:pt x="1172" y="2324"/>
                      <a:pt x="1219" y="2351"/>
                      <a:pt x="1258" y="2352"/>
                    </a:cubicBezTo>
                    <a:cubicBezTo>
                      <a:pt x="1282" y="2291"/>
                      <a:pt x="1251" y="2230"/>
                      <a:pt x="1227" y="2178"/>
                    </a:cubicBezTo>
                    <a:cubicBezTo>
                      <a:pt x="1237" y="2136"/>
                      <a:pt x="1229" y="2151"/>
                      <a:pt x="1242" y="2118"/>
                    </a:cubicBezTo>
                    <a:cubicBezTo>
                      <a:pt x="1248" y="2101"/>
                      <a:pt x="1256" y="2090"/>
                      <a:pt x="1261" y="2075"/>
                    </a:cubicBezTo>
                    <a:cubicBezTo>
                      <a:pt x="1266" y="2060"/>
                      <a:pt x="1264" y="2041"/>
                      <a:pt x="1270" y="2025"/>
                    </a:cubicBezTo>
                    <a:cubicBezTo>
                      <a:pt x="1276" y="2009"/>
                      <a:pt x="1291" y="2027"/>
                      <a:pt x="1297" y="1979"/>
                    </a:cubicBezTo>
                    <a:cubicBezTo>
                      <a:pt x="1301" y="1899"/>
                      <a:pt x="1291" y="1804"/>
                      <a:pt x="1309" y="1734"/>
                    </a:cubicBezTo>
                    <a:cubicBezTo>
                      <a:pt x="1339" y="1683"/>
                      <a:pt x="1347" y="1664"/>
                      <a:pt x="1432" y="1528"/>
                    </a:cubicBezTo>
                    <a:cubicBezTo>
                      <a:pt x="1449" y="1493"/>
                      <a:pt x="1462" y="1497"/>
                      <a:pt x="1479" y="1391"/>
                    </a:cubicBezTo>
                    <a:cubicBezTo>
                      <a:pt x="1479" y="1340"/>
                      <a:pt x="1474" y="1332"/>
                      <a:pt x="1463" y="1288"/>
                    </a:cubicBezTo>
                    <a:cubicBezTo>
                      <a:pt x="1471" y="1170"/>
                      <a:pt x="1432" y="1122"/>
                      <a:pt x="1644" y="1113"/>
                    </a:cubicBezTo>
                    <a:cubicBezTo>
                      <a:pt x="1599" y="1074"/>
                      <a:pt x="1638" y="1067"/>
                      <a:pt x="1650" y="1047"/>
                    </a:cubicBezTo>
                    <a:cubicBezTo>
                      <a:pt x="1662" y="992"/>
                      <a:pt x="1560" y="908"/>
                      <a:pt x="1834" y="980"/>
                    </a:cubicBezTo>
                    <a:cubicBezTo>
                      <a:pt x="1866" y="972"/>
                      <a:pt x="1834" y="899"/>
                      <a:pt x="1863" y="868"/>
                    </a:cubicBezTo>
                    <a:cubicBezTo>
                      <a:pt x="1871" y="836"/>
                      <a:pt x="1845" y="806"/>
                      <a:pt x="1849" y="773"/>
                    </a:cubicBezTo>
                    <a:cubicBezTo>
                      <a:pt x="1920" y="785"/>
                      <a:pt x="1896" y="693"/>
                      <a:pt x="1967" y="684"/>
                    </a:cubicBezTo>
                    <a:cubicBezTo>
                      <a:pt x="2039" y="708"/>
                      <a:pt x="2055" y="728"/>
                      <a:pt x="2085" y="804"/>
                    </a:cubicBezTo>
                    <a:cubicBezTo>
                      <a:pt x="2166" y="816"/>
                      <a:pt x="2326" y="813"/>
                      <a:pt x="2416" y="740"/>
                    </a:cubicBezTo>
                    <a:cubicBezTo>
                      <a:pt x="2431" y="709"/>
                      <a:pt x="2423" y="720"/>
                      <a:pt x="2443" y="676"/>
                    </a:cubicBezTo>
                    <a:cubicBezTo>
                      <a:pt x="2440" y="551"/>
                      <a:pt x="2419" y="548"/>
                      <a:pt x="2419" y="504"/>
                    </a:cubicBezTo>
                    <a:cubicBezTo>
                      <a:pt x="2419" y="460"/>
                      <a:pt x="2426" y="432"/>
                      <a:pt x="2442" y="412"/>
                    </a:cubicBezTo>
                    <a:cubicBezTo>
                      <a:pt x="2458" y="392"/>
                      <a:pt x="2460" y="387"/>
                      <a:pt x="2514" y="381"/>
                    </a:cubicBezTo>
                    <a:cubicBezTo>
                      <a:pt x="2542" y="324"/>
                      <a:pt x="2521" y="323"/>
                      <a:pt x="2578" y="310"/>
                    </a:cubicBezTo>
                    <a:cubicBezTo>
                      <a:pt x="2622" y="334"/>
                      <a:pt x="2673" y="357"/>
                      <a:pt x="2700" y="385"/>
                    </a:cubicBezTo>
                    <a:cubicBezTo>
                      <a:pt x="2724" y="388"/>
                      <a:pt x="2745" y="394"/>
                      <a:pt x="2761" y="406"/>
                    </a:cubicBezTo>
                    <a:cubicBezTo>
                      <a:pt x="2772" y="422"/>
                      <a:pt x="2775" y="456"/>
                      <a:pt x="2778" y="482"/>
                    </a:cubicBezTo>
                    <a:cubicBezTo>
                      <a:pt x="2772" y="510"/>
                      <a:pt x="2760" y="525"/>
                      <a:pt x="2766" y="575"/>
                    </a:cubicBezTo>
                    <a:cubicBezTo>
                      <a:pt x="2791" y="551"/>
                      <a:pt x="2833" y="468"/>
                      <a:pt x="2857" y="444"/>
                    </a:cubicBezTo>
                    <a:cubicBezTo>
                      <a:pt x="2865" y="408"/>
                      <a:pt x="2907" y="376"/>
                      <a:pt x="2915" y="340"/>
                    </a:cubicBezTo>
                    <a:cubicBezTo>
                      <a:pt x="2907" y="280"/>
                      <a:pt x="2859" y="296"/>
                      <a:pt x="2799" y="292"/>
                    </a:cubicBezTo>
                    <a:cubicBezTo>
                      <a:pt x="2763" y="280"/>
                      <a:pt x="2683" y="292"/>
                      <a:pt x="2695" y="268"/>
                    </a:cubicBezTo>
                    <a:cubicBezTo>
                      <a:pt x="2755" y="224"/>
                      <a:pt x="2823" y="240"/>
                      <a:pt x="2879" y="184"/>
                    </a:cubicBezTo>
                    <a:cubicBezTo>
                      <a:pt x="2919" y="144"/>
                      <a:pt x="2823" y="80"/>
                      <a:pt x="2803" y="80"/>
                    </a:cubicBezTo>
                    <a:cubicBezTo>
                      <a:pt x="2663" y="48"/>
                      <a:pt x="2751" y="40"/>
                      <a:pt x="2647" y="40"/>
                    </a:cubicBezTo>
                    <a:cubicBezTo>
                      <a:pt x="2643" y="52"/>
                      <a:pt x="2563" y="160"/>
                      <a:pt x="2563" y="160"/>
                    </a:cubicBezTo>
                    <a:cubicBezTo>
                      <a:pt x="2555" y="168"/>
                      <a:pt x="2527" y="0"/>
                      <a:pt x="2511" y="4"/>
                    </a:cubicBezTo>
                    <a:cubicBezTo>
                      <a:pt x="2491" y="20"/>
                      <a:pt x="2447" y="224"/>
                      <a:pt x="2435" y="244"/>
                    </a:cubicBezTo>
                    <a:cubicBezTo>
                      <a:pt x="2423" y="308"/>
                      <a:pt x="2427" y="136"/>
                      <a:pt x="2407" y="112"/>
                    </a:cubicBezTo>
                    <a:cubicBezTo>
                      <a:pt x="2399" y="148"/>
                      <a:pt x="2375" y="256"/>
                      <a:pt x="2359" y="292"/>
                    </a:cubicBezTo>
                    <a:cubicBezTo>
                      <a:pt x="2343" y="320"/>
                      <a:pt x="2335" y="320"/>
                      <a:pt x="2319" y="340"/>
                    </a:cubicBezTo>
                    <a:cubicBezTo>
                      <a:pt x="2307" y="352"/>
                      <a:pt x="2287" y="380"/>
                      <a:pt x="2287" y="380"/>
                    </a:cubicBezTo>
                    <a:cubicBezTo>
                      <a:pt x="2287" y="296"/>
                      <a:pt x="2323" y="132"/>
                      <a:pt x="2319" y="48"/>
                    </a:cubicBezTo>
                    <a:cubicBezTo>
                      <a:pt x="2319" y="40"/>
                      <a:pt x="2199" y="164"/>
                      <a:pt x="2183" y="168"/>
                    </a:cubicBezTo>
                    <a:cubicBezTo>
                      <a:pt x="2159" y="192"/>
                      <a:pt x="2131" y="200"/>
                      <a:pt x="2099" y="212"/>
                    </a:cubicBezTo>
                    <a:cubicBezTo>
                      <a:pt x="2071" y="248"/>
                      <a:pt x="2059" y="276"/>
                      <a:pt x="2039" y="312"/>
                    </a:cubicBezTo>
                    <a:cubicBezTo>
                      <a:pt x="2031" y="328"/>
                      <a:pt x="2007" y="360"/>
                      <a:pt x="2007" y="360"/>
                    </a:cubicBezTo>
                    <a:cubicBezTo>
                      <a:pt x="1999" y="408"/>
                      <a:pt x="2011" y="484"/>
                      <a:pt x="1951" y="492"/>
                    </a:cubicBezTo>
                    <a:cubicBezTo>
                      <a:pt x="1923" y="480"/>
                      <a:pt x="1907" y="484"/>
                      <a:pt x="1883" y="500"/>
                    </a:cubicBezTo>
                    <a:cubicBezTo>
                      <a:pt x="1859" y="544"/>
                      <a:pt x="1875" y="604"/>
                      <a:pt x="1823" y="632"/>
                    </a:cubicBezTo>
                    <a:cubicBezTo>
                      <a:pt x="1807" y="604"/>
                      <a:pt x="1835" y="564"/>
                      <a:pt x="1815" y="540"/>
                    </a:cubicBezTo>
                    <a:cubicBezTo>
                      <a:pt x="1811" y="512"/>
                      <a:pt x="1787" y="452"/>
                      <a:pt x="1763" y="440"/>
                    </a:cubicBezTo>
                    <a:cubicBezTo>
                      <a:pt x="1723" y="448"/>
                      <a:pt x="1703" y="480"/>
                      <a:pt x="1695" y="520"/>
                    </a:cubicBezTo>
                    <a:cubicBezTo>
                      <a:pt x="1695" y="568"/>
                      <a:pt x="1691" y="648"/>
                      <a:pt x="1723" y="692"/>
                    </a:cubicBezTo>
                    <a:cubicBezTo>
                      <a:pt x="1715" y="708"/>
                      <a:pt x="1715" y="716"/>
                      <a:pt x="1699" y="700"/>
                    </a:cubicBezTo>
                    <a:cubicBezTo>
                      <a:pt x="1687" y="688"/>
                      <a:pt x="1683" y="664"/>
                      <a:pt x="1675" y="648"/>
                    </a:cubicBezTo>
                    <a:cubicBezTo>
                      <a:pt x="1663" y="628"/>
                      <a:pt x="1647" y="572"/>
                      <a:pt x="1627" y="560"/>
                    </a:cubicBezTo>
                    <a:cubicBezTo>
                      <a:pt x="1607" y="588"/>
                      <a:pt x="1595" y="648"/>
                      <a:pt x="1579" y="676"/>
                    </a:cubicBezTo>
                    <a:cubicBezTo>
                      <a:pt x="1571" y="724"/>
                      <a:pt x="1559" y="784"/>
                      <a:pt x="1523" y="820"/>
                    </a:cubicBezTo>
                    <a:cubicBezTo>
                      <a:pt x="1515" y="844"/>
                      <a:pt x="1475" y="900"/>
                      <a:pt x="1475" y="900"/>
                    </a:cubicBezTo>
                    <a:cubicBezTo>
                      <a:pt x="1467" y="972"/>
                      <a:pt x="1444" y="972"/>
                      <a:pt x="1535" y="976"/>
                    </a:cubicBezTo>
                    <a:cubicBezTo>
                      <a:pt x="1555" y="980"/>
                      <a:pt x="1579" y="960"/>
                      <a:pt x="1559" y="996"/>
                    </a:cubicBezTo>
                    <a:cubicBezTo>
                      <a:pt x="1543" y="1024"/>
                      <a:pt x="1471" y="1024"/>
                      <a:pt x="1471" y="1024"/>
                    </a:cubicBezTo>
                    <a:cubicBezTo>
                      <a:pt x="1444" y="1040"/>
                      <a:pt x="1444" y="1092"/>
                      <a:pt x="1420" y="1112"/>
                    </a:cubicBezTo>
                    <a:cubicBezTo>
                      <a:pt x="1396" y="1160"/>
                      <a:pt x="1348" y="1196"/>
                      <a:pt x="1324" y="1244"/>
                    </a:cubicBezTo>
                    <a:cubicBezTo>
                      <a:pt x="1336" y="1276"/>
                      <a:pt x="1352" y="1288"/>
                      <a:pt x="1372" y="1312"/>
                    </a:cubicBezTo>
                    <a:cubicBezTo>
                      <a:pt x="1328" y="1332"/>
                      <a:pt x="1296" y="1336"/>
                      <a:pt x="1248" y="1344"/>
                    </a:cubicBezTo>
                    <a:cubicBezTo>
                      <a:pt x="1220" y="1396"/>
                      <a:pt x="1332" y="1376"/>
                      <a:pt x="1368" y="1380"/>
                    </a:cubicBezTo>
                    <a:cubicBezTo>
                      <a:pt x="1376" y="1380"/>
                      <a:pt x="1392" y="1416"/>
                      <a:pt x="1384" y="1416"/>
                    </a:cubicBezTo>
                    <a:cubicBezTo>
                      <a:pt x="1372" y="1416"/>
                      <a:pt x="1344" y="1416"/>
                      <a:pt x="1332" y="1416"/>
                    </a:cubicBezTo>
                    <a:cubicBezTo>
                      <a:pt x="1288" y="1424"/>
                      <a:pt x="1264" y="1436"/>
                      <a:pt x="1220" y="1444"/>
                    </a:cubicBezTo>
                    <a:cubicBezTo>
                      <a:pt x="1196" y="1468"/>
                      <a:pt x="1172" y="1484"/>
                      <a:pt x="1152" y="1508"/>
                    </a:cubicBezTo>
                    <a:cubicBezTo>
                      <a:pt x="1140" y="1520"/>
                      <a:pt x="1124" y="1556"/>
                      <a:pt x="1124" y="1556"/>
                    </a:cubicBezTo>
                    <a:cubicBezTo>
                      <a:pt x="1136" y="1584"/>
                      <a:pt x="1124" y="1624"/>
                      <a:pt x="1116" y="1656"/>
                    </a:cubicBezTo>
                    <a:cubicBezTo>
                      <a:pt x="1156" y="1664"/>
                      <a:pt x="1180" y="1684"/>
                      <a:pt x="1224" y="1688"/>
                    </a:cubicBezTo>
                    <a:cubicBezTo>
                      <a:pt x="1204" y="1712"/>
                      <a:pt x="1184" y="1728"/>
                      <a:pt x="1152" y="1732"/>
                    </a:cubicBezTo>
                    <a:cubicBezTo>
                      <a:pt x="1124" y="1748"/>
                      <a:pt x="1108" y="1752"/>
                      <a:pt x="1092" y="1784"/>
                    </a:cubicBezTo>
                    <a:cubicBezTo>
                      <a:pt x="1112" y="1872"/>
                      <a:pt x="1100" y="1772"/>
                      <a:pt x="1076" y="1828"/>
                    </a:cubicBezTo>
                    <a:cubicBezTo>
                      <a:pt x="1068" y="1848"/>
                      <a:pt x="1088" y="1896"/>
                      <a:pt x="1092" y="1916"/>
                    </a:cubicBezTo>
                    <a:cubicBezTo>
                      <a:pt x="1064" y="1920"/>
                      <a:pt x="1000" y="1912"/>
                      <a:pt x="1044" y="1968"/>
                    </a:cubicBezTo>
                    <a:cubicBezTo>
                      <a:pt x="1036" y="1988"/>
                      <a:pt x="1032" y="2004"/>
                      <a:pt x="1028" y="2016"/>
                    </a:cubicBezTo>
                    <a:cubicBezTo>
                      <a:pt x="1016" y="2020"/>
                      <a:pt x="1020" y="2032"/>
                      <a:pt x="1012" y="2040"/>
                    </a:cubicBezTo>
                    <a:cubicBezTo>
                      <a:pt x="956" y="2103"/>
                      <a:pt x="1020" y="2067"/>
                      <a:pt x="976" y="2087"/>
                    </a:cubicBezTo>
                    <a:cubicBezTo>
                      <a:pt x="952" y="2147"/>
                      <a:pt x="904" y="2195"/>
                      <a:pt x="840" y="2203"/>
                    </a:cubicBezTo>
                    <a:cubicBezTo>
                      <a:pt x="804" y="2223"/>
                      <a:pt x="812" y="2207"/>
                      <a:pt x="800" y="2235"/>
                    </a:cubicBezTo>
                    <a:cubicBezTo>
                      <a:pt x="788" y="2291"/>
                      <a:pt x="752" y="2331"/>
                      <a:pt x="720" y="2375"/>
                    </a:cubicBezTo>
                    <a:cubicBezTo>
                      <a:pt x="752" y="2463"/>
                      <a:pt x="768" y="2443"/>
                      <a:pt x="792" y="2479"/>
                    </a:cubicBezTo>
                    <a:cubicBezTo>
                      <a:pt x="832" y="2471"/>
                      <a:pt x="876" y="2427"/>
                      <a:pt x="912" y="2407"/>
                    </a:cubicBezTo>
                    <a:cubicBezTo>
                      <a:pt x="908" y="2463"/>
                      <a:pt x="888" y="2527"/>
                      <a:pt x="828" y="2539"/>
                    </a:cubicBezTo>
                    <a:cubicBezTo>
                      <a:pt x="800" y="2559"/>
                      <a:pt x="800" y="2559"/>
                      <a:pt x="764" y="2555"/>
                    </a:cubicBezTo>
                    <a:cubicBezTo>
                      <a:pt x="716" y="2543"/>
                      <a:pt x="684" y="2539"/>
                      <a:pt x="652" y="2495"/>
                    </a:cubicBezTo>
                    <a:cubicBezTo>
                      <a:pt x="636" y="2507"/>
                      <a:pt x="608" y="2539"/>
                      <a:pt x="608" y="2539"/>
                    </a:cubicBezTo>
                    <a:cubicBezTo>
                      <a:pt x="600" y="2571"/>
                      <a:pt x="588" y="2591"/>
                      <a:pt x="564" y="2611"/>
                    </a:cubicBezTo>
                    <a:cubicBezTo>
                      <a:pt x="556" y="2643"/>
                      <a:pt x="544" y="2655"/>
                      <a:pt x="532" y="2683"/>
                    </a:cubicBezTo>
                    <a:cubicBezTo>
                      <a:pt x="604" y="2695"/>
                      <a:pt x="516" y="2675"/>
                      <a:pt x="496" y="2671"/>
                    </a:cubicBezTo>
                    <a:cubicBezTo>
                      <a:pt x="456" y="2651"/>
                      <a:pt x="432" y="2659"/>
                      <a:pt x="380" y="2663"/>
                    </a:cubicBezTo>
                    <a:cubicBezTo>
                      <a:pt x="356" y="2675"/>
                      <a:pt x="336" y="2691"/>
                      <a:pt x="312" y="2703"/>
                    </a:cubicBezTo>
                    <a:cubicBezTo>
                      <a:pt x="324" y="2771"/>
                      <a:pt x="320" y="2743"/>
                      <a:pt x="332" y="2791"/>
                    </a:cubicBezTo>
                    <a:cubicBezTo>
                      <a:pt x="328" y="2823"/>
                      <a:pt x="316" y="2843"/>
                      <a:pt x="308" y="2875"/>
                    </a:cubicBezTo>
                    <a:cubicBezTo>
                      <a:pt x="308" y="2851"/>
                      <a:pt x="312" y="2827"/>
                      <a:pt x="304" y="2803"/>
                    </a:cubicBezTo>
                    <a:cubicBezTo>
                      <a:pt x="300" y="2795"/>
                      <a:pt x="208" y="2847"/>
                      <a:pt x="188" y="2855"/>
                    </a:cubicBezTo>
                    <a:cubicBezTo>
                      <a:pt x="168" y="2887"/>
                      <a:pt x="156" y="2911"/>
                      <a:pt x="120" y="2927"/>
                    </a:cubicBezTo>
                    <a:cubicBezTo>
                      <a:pt x="136" y="2983"/>
                      <a:pt x="156" y="2979"/>
                      <a:pt x="216" y="2983"/>
                    </a:cubicBezTo>
                    <a:cubicBezTo>
                      <a:pt x="240" y="2999"/>
                      <a:pt x="268" y="2999"/>
                      <a:pt x="296" y="3011"/>
                    </a:cubicBezTo>
                    <a:cubicBezTo>
                      <a:pt x="252" y="3035"/>
                      <a:pt x="184" y="2995"/>
                      <a:pt x="140" y="2979"/>
                    </a:cubicBezTo>
                    <a:cubicBezTo>
                      <a:pt x="76" y="2983"/>
                      <a:pt x="64" y="2983"/>
                      <a:pt x="28" y="3031"/>
                    </a:cubicBezTo>
                    <a:cubicBezTo>
                      <a:pt x="4" y="3167"/>
                      <a:pt x="108" y="3159"/>
                      <a:pt x="216" y="3163"/>
                    </a:cubicBezTo>
                    <a:cubicBezTo>
                      <a:pt x="240" y="3167"/>
                      <a:pt x="452" y="3143"/>
                      <a:pt x="424" y="3183"/>
                    </a:cubicBezTo>
                    <a:cubicBezTo>
                      <a:pt x="352" y="3179"/>
                      <a:pt x="276" y="3183"/>
                      <a:pt x="216" y="3175"/>
                    </a:cubicBezTo>
                    <a:cubicBezTo>
                      <a:pt x="0" y="3179"/>
                      <a:pt x="16" y="3127"/>
                      <a:pt x="8" y="3295"/>
                    </a:cubicBezTo>
                    <a:cubicBezTo>
                      <a:pt x="12" y="3375"/>
                      <a:pt x="8" y="3419"/>
                      <a:pt x="88" y="3451"/>
                    </a:cubicBezTo>
                    <a:cubicBezTo>
                      <a:pt x="144" y="3443"/>
                      <a:pt x="180" y="3431"/>
                      <a:pt x="232" y="3423"/>
                    </a:cubicBezTo>
                    <a:cubicBezTo>
                      <a:pt x="244" y="3419"/>
                      <a:pt x="256" y="3415"/>
                      <a:pt x="268" y="3411"/>
                    </a:cubicBezTo>
                    <a:cubicBezTo>
                      <a:pt x="276" y="3407"/>
                      <a:pt x="284" y="3411"/>
                      <a:pt x="292" y="3407"/>
                    </a:cubicBezTo>
                    <a:cubicBezTo>
                      <a:pt x="296" y="3407"/>
                      <a:pt x="312" y="3395"/>
                      <a:pt x="308" y="3399"/>
                    </a:cubicBezTo>
                    <a:cubicBezTo>
                      <a:pt x="268" y="3439"/>
                      <a:pt x="216" y="3459"/>
                      <a:pt x="160" y="3471"/>
                    </a:cubicBezTo>
                    <a:cubicBezTo>
                      <a:pt x="128" y="3483"/>
                      <a:pt x="104" y="3495"/>
                      <a:pt x="76" y="3511"/>
                    </a:cubicBezTo>
                    <a:cubicBezTo>
                      <a:pt x="64" y="3531"/>
                      <a:pt x="56" y="3539"/>
                      <a:pt x="32" y="3547"/>
                    </a:cubicBezTo>
                    <a:cubicBezTo>
                      <a:pt x="92" y="3575"/>
                      <a:pt x="88" y="3543"/>
                      <a:pt x="112" y="3607"/>
                    </a:cubicBezTo>
                    <a:cubicBezTo>
                      <a:pt x="96" y="3655"/>
                      <a:pt x="84" y="3683"/>
                      <a:pt x="44" y="3723"/>
                    </a:cubicBezTo>
                    <a:cubicBezTo>
                      <a:pt x="36" y="3731"/>
                      <a:pt x="60" y="3715"/>
                      <a:pt x="68" y="3711"/>
                    </a:cubicBezTo>
                    <a:cubicBezTo>
                      <a:pt x="84" y="3699"/>
                      <a:pt x="116" y="3679"/>
                      <a:pt x="116" y="3679"/>
                    </a:cubicBezTo>
                    <a:cubicBezTo>
                      <a:pt x="140" y="3691"/>
                      <a:pt x="132" y="3703"/>
                      <a:pt x="120" y="3723"/>
                    </a:cubicBezTo>
                    <a:cubicBezTo>
                      <a:pt x="132" y="3763"/>
                      <a:pt x="148" y="3787"/>
                      <a:pt x="192" y="3795"/>
                    </a:cubicBezTo>
                    <a:cubicBezTo>
                      <a:pt x="168" y="3811"/>
                      <a:pt x="168" y="3799"/>
                      <a:pt x="140" y="3795"/>
                    </a:cubicBezTo>
                    <a:cubicBezTo>
                      <a:pt x="112" y="3799"/>
                      <a:pt x="104" y="3803"/>
                      <a:pt x="88" y="3823"/>
                    </a:cubicBezTo>
                    <a:cubicBezTo>
                      <a:pt x="96" y="3915"/>
                      <a:pt x="120" y="3959"/>
                      <a:pt x="188" y="4031"/>
                    </a:cubicBezTo>
                    <a:cubicBezTo>
                      <a:pt x="228" y="4055"/>
                      <a:pt x="268" y="4083"/>
                      <a:pt x="312" y="4103"/>
                    </a:cubicBezTo>
                    <a:cubicBezTo>
                      <a:pt x="332" y="4111"/>
                      <a:pt x="372" y="4123"/>
                      <a:pt x="372" y="4123"/>
                    </a:cubicBezTo>
                    <a:cubicBezTo>
                      <a:pt x="408" y="4107"/>
                      <a:pt x="492" y="4035"/>
                      <a:pt x="532" y="4007"/>
                    </a:cubicBezTo>
                    <a:cubicBezTo>
                      <a:pt x="584" y="3967"/>
                      <a:pt x="620" y="3899"/>
                      <a:pt x="660" y="3863"/>
                    </a:cubicBezTo>
                    <a:cubicBezTo>
                      <a:pt x="680" y="3823"/>
                      <a:pt x="740" y="3811"/>
                      <a:pt x="776" y="3783"/>
                    </a:cubicBezTo>
                    <a:cubicBezTo>
                      <a:pt x="800" y="3727"/>
                      <a:pt x="824" y="3667"/>
                      <a:pt x="836" y="3607"/>
                    </a:cubicBezTo>
                    <a:cubicBezTo>
                      <a:pt x="856" y="3599"/>
                      <a:pt x="888" y="3707"/>
                      <a:pt x="896" y="3739"/>
                    </a:cubicBezTo>
                    <a:cubicBezTo>
                      <a:pt x="900" y="3799"/>
                      <a:pt x="932" y="3767"/>
                      <a:pt x="908" y="3795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</p:grpSp>
        <p:grpSp>
          <p:nvGrpSpPr>
            <p:cNvPr id="271" name="Group 77"/>
            <p:cNvGrpSpPr>
              <a:grpSpLocks/>
            </p:cNvGrpSpPr>
            <p:nvPr/>
          </p:nvGrpSpPr>
          <p:grpSpPr bwMode="auto">
            <a:xfrm>
              <a:off x="2834" y="1417"/>
              <a:ext cx="434" cy="792"/>
              <a:chOff x="3842" y="-120"/>
              <a:chExt cx="1720" cy="3135"/>
            </a:xfrm>
            <a:grpFill/>
          </p:grpSpPr>
          <p:sp>
            <p:nvSpPr>
              <p:cNvPr id="319" name="Freeform 78"/>
              <p:cNvSpPr>
                <a:spLocks noChangeAspect="1"/>
              </p:cNvSpPr>
              <p:nvPr/>
            </p:nvSpPr>
            <p:spPr bwMode="auto">
              <a:xfrm>
                <a:off x="4079" y="2895"/>
                <a:ext cx="152" cy="120"/>
              </a:xfrm>
              <a:custGeom>
                <a:avLst/>
                <a:gdLst>
                  <a:gd name="T0" fmla="*/ 2147483647 w 38"/>
                  <a:gd name="T1" fmla="*/ 2147483647 h 30"/>
                  <a:gd name="T2" fmla="*/ 0 w 38"/>
                  <a:gd name="T3" fmla="*/ 2147483647 h 30"/>
                  <a:gd name="T4" fmla="*/ 2147483647 w 38"/>
                  <a:gd name="T5" fmla="*/ 2147483647 h 30"/>
                  <a:gd name="T6" fmla="*/ 2147483647 w 38"/>
                  <a:gd name="T7" fmla="*/ 2147483647 h 30"/>
                  <a:gd name="T8" fmla="*/ 2147483647 w 38"/>
                  <a:gd name="T9" fmla="*/ 2147483647 h 30"/>
                  <a:gd name="T10" fmla="*/ 2147483647 w 38"/>
                  <a:gd name="T11" fmla="*/ 2147483647 h 30"/>
                  <a:gd name="T12" fmla="*/ 2147483647 w 38"/>
                  <a:gd name="T13" fmla="*/ 2147483647 h 3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8"/>
                  <a:gd name="T22" fmla="*/ 0 h 30"/>
                  <a:gd name="T23" fmla="*/ 38 w 38"/>
                  <a:gd name="T24" fmla="*/ 30 h 30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8" h="30">
                    <a:moveTo>
                      <a:pt x="21" y="4"/>
                    </a:moveTo>
                    <a:cubicBezTo>
                      <a:pt x="13" y="1"/>
                      <a:pt x="4" y="0"/>
                      <a:pt x="0" y="8"/>
                    </a:cubicBezTo>
                    <a:cubicBezTo>
                      <a:pt x="1" y="26"/>
                      <a:pt x="4" y="26"/>
                      <a:pt x="19" y="30"/>
                    </a:cubicBezTo>
                    <a:cubicBezTo>
                      <a:pt x="29" y="28"/>
                      <a:pt x="31" y="22"/>
                      <a:pt x="38" y="15"/>
                    </a:cubicBezTo>
                    <a:cubicBezTo>
                      <a:pt x="36" y="5"/>
                      <a:pt x="27" y="6"/>
                      <a:pt x="17" y="5"/>
                    </a:cubicBezTo>
                    <a:cubicBezTo>
                      <a:pt x="9" y="3"/>
                      <a:pt x="11" y="5"/>
                      <a:pt x="8" y="2"/>
                    </a:cubicBezTo>
                    <a:lnTo>
                      <a:pt x="21" y="4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20" name="Freeform 79"/>
              <p:cNvSpPr>
                <a:spLocks noChangeAspect="1"/>
              </p:cNvSpPr>
              <p:nvPr/>
            </p:nvSpPr>
            <p:spPr bwMode="auto">
              <a:xfrm>
                <a:off x="3842" y="-120"/>
                <a:ext cx="1720" cy="3083"/>
              </a:xfrm>
              <a:custGeom>
                <a:avLst/>
                <a:gdLst>
                  <a:gd name="T0" fmla="*/ 1628 w 1720"/>
                  <a:gd name="T1" fmla="*/ 2255 h 3083"/>
                  <a:gd name="T2" fmla="*/ 1720 w 1720"/>
                  <a:gd name="T3" fmla="*/ 1955 h 3083"/>
                  <a:gd name="T4" fmla="*/ 1456 w 1720"/>
                  <a:gd name="T5" fmla="*/ 1775 h 3083"/>
                  <a:gd name="T6" fmla="*/ 1448 w 1720"/>
                  <a:gd name="T7" fmla="*/ 1683 h 3083"/>
                  <a:gd name="T8" fmla="*/ 1432 w 1720"/>
                  <a:gd name="T9" fmla="*/ 1583 h 3083"/>
                  <a:gd name="T10" fmla="*/ 1352 w 1720"/>
                  <a:gd name="T11" fmla="*/ 1512 h 3083"/>
                  <a:gd name="T12" fmla="*/ 1264 w 1720"/>
                  <a:gd name="T13" fmla="*/ 1320 h 3083"/>
                  <a:gd name="T14" fmla="*/ 1276 w 1720"/>
                  <a:gd name="T15" fmla="*/ 1188 h 3083"/>
                  <a:gd name="T16" fmla="*/ 1132 w 1720"/>
                  <a:gd name="T17" fmla="*/ 992 h 3083"/>
                  <a:gd name="T18" fmla="*/ 1120 w 1720"/>
                  <a:gd name="T19" fmla="*/ 688 h 3083"/>
                  <a:gd name="T20" fmla="*/ 1072 w 1720"/>
                  <a:gd name="T21" fmla="*/ 600 h 3083"/>
                  <a:gd name="T22" fmla="*/ 908 w 1720"/>
                  <a:gd name="T23" fmla="*/ 512 h 3083"/>
                  <a:gd name="T24" fmla="*/ 880 w 1720"/>
                  <a:gd name="T25" fmla="*/ 312 h 3083"/>
                  <a:gd name="T26" fmla="*/ 968 w 1720"/>
                  <a:gd name="T27" fmla="*/ 132 h 3083"/>
                  <a:gd name="T28" fmla="*/ 888 w 1720"/>
                  <a:gd name="T29" fmla="*/ 168 h 3083"/>
                  <a:gd name="T30" fmla="*/ 813 w 1720"/>
                  <a:gd name="T31" fmla="*/ 72 h 3083"/>
                  <a:gd name="T32" fmla="*/ 693 w 1720"/>
                  <a:gd name="T33" fmla="*/ 0 h 3083"/>
                  <a:gd name="T34" fmla="*/ 573 w 1720"/>
                  <a:gd name="T35" fmla="*/ 76 h 3083"/>
                  <a:gd name="T36" fmla="*/ 545 w 1720"/>
                  <a:gd name="T37" fmla="*/ 244 h 3083"/>
                  <a:gd name="T38" fmla="*/ 533 w 1720"/>
                  <a:gd name="T39" fmla="*/ 416 h 3083"/>
                  <a:gd name="T40" fmla="*/ 409 w 1720"/>
                  <a:gd name="T41" fmla="*/ 484 h 3083"/>
                  <a:gd name="T42" fmla="*/ 153 w 1720"/>
                  <a:gd name="T43" fmla="*/ 412 h 3083"/>
                  <a:gd name="T44" fmla="*/ 9 w 1720"/>
                  <a:gd name="T45" fmla="*/ 436 h 3083"/>
                  <a:gd name="T46" fmla="*/ 265 w 1720"/>
                  <a:gd name="T47" fmla="*/ 620 h 3083"/>
                  <a:gd name="T48" fmla="*/ 390 w 1720"/>
                  <a:gd name="T49" fmla="*/ 756 h 3083"/>
                  <a:gd name="T50" fmla="*/ 477 w 1720"/>
                  <a:gd name="T51" fmla="*/ 1016 h 3083"/>
                  <a:gd name="T52" fmla="*/ 495 w 1720"/>
                  <a:gd name="T53" fmla="*/ 1224 h 3083"/>
                  <a:gd name="T54" fmla="*/ 580 w 1720"/>
                  <a:gd name="T55" fmla="*/ 1365 h 3083"/>
                  <a:gd name="T56" fmla="*/ 681 w 1720"/>
                  <a:gd name="T57" fmla="*/ 1396 h 3083"/>
                  <a:gd name="T58" fmla="*/ 741 w 1720"/>
                  <a:gd name="T59" fmla="*/ 1432 h 3083"/>
                  <a:gd name="T60" fmla="*/ 545 w 1720"/>
                  <a:gd name="T61" fmla="*/ 1959 h 3083"/>
                  <a:gd name="T62" fmla="*/ 489 w 1720"/>
                  <a:gd name="T63" fmla="*/ 2051 h 3083"/>
                  <a:gd name="T64" fmla="*/ 369 w 1720"/>
                  <a:gd name="T65" fmla="*/ 2239 h 3083"/>
                  <a:gd name="T66" fmla="*/ 457 w 1720"/>
                  <a:gd name="T67" fmla="*/ 2559 h 3083"/>
                  <a:gd name="T68" fmla="*/ 457 w 1720"/>
                  <a:gd name="T69" fmla="*/ 2987 h 3083"/>
                  <a:gd name="T70" fmla="*/ 485 w 1720"/>
                  <a:gd name="T71" fmla="*/ 2999 h 3083"/>
                  <a:gd name="T72" fmla="*/ 657 w 1720"/>
                  <a:gd name="T73" fmla="*/ 3055 h 3083"/>
                  <a:gd name="T74" fmla="*/ 729 w 1720"/>
                  <a:gd name="T75" fmla="*/ 3083 h 3083"/>
                  <a:gd name="T76" fmla="*/ 956 w 1720"/>
                  <a:gd name="T77" fmla="*/ 2991 h 3083"/>
                  <a:gd name="T78" fmla="*/ 1024 w 1720"/>
                  <a:gd name="T79" fmla="*/ 2955 h 3083"/>
                  <a:gd name="T80" fmla="*/ 1192 w 1720"/>
                  <a:gd name="T81" fmla="*/ 2859 h 3083"/>
                  <a:gd name="T82" fmla="*/ 1372 w 1720"/>
                  <a:gd name="T83" fmla="*/ 2783 h 3083"/>
                  <a:gd name="T84" fmla="*/ 1396 w 1720"/>
                  <a:gd name="T85" fmla="*/ 2723 h 3083"/>
                  <a:gd name="T86" fmla="*/ 1576 w 1720"/>
                  <a:gd name="T87" fmla="*/ 2351 h 3083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1720"/>
                  <a:gd name="T133" fmla="*/ 0 h 3083"/>
                  <a:gd name="T134" fmla="*/ 1720 w 1720"/>
                  <a:gd name="T135" fmla="*/ 3083 h 3083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1720" h="3083">
                    <a:moveTo>
                      <a:pt x="1576" y="2351"/>
                    </a:moveTo>
                    <a:cubicBezTo>
                      <a:pt x="1584" y="2323"/>
                      <a:pt x="1604" y="2279"/>
                      <a:pt x="1628" y="2255"/>
                    </a:cubicBezTo>
                    <a:cubicBezTo>
                      <a:pt x="1636" y="2223"/>
                      <a:pt x="1636" y="2191"/>
                      <a:pt x="1648" y="2159"/>
                    </a:cubicBezTo>
                    <a:cubicBezTo>
                      <a:pt x="1656" y="2087"/>
                      <a:pt x="1688" y="2023"/>
                      <a:pt x="1720" y="1955"/>
                    </a:cubicBezTo>
                    <a:cubicBezTo>
                      <a:pt x="1700" y="1907"/>
                      <a:pt x="1640" y="1879"/>
                      <a:pt x="1592" y="1839"/>
                    </a:cubicBezTo>
                    <a:cubicBezTo>
                      <a:pt x="1548" y="1811"/>
                      <a:pt x="1480" y="1791"/>
                      <a:pt x="1456" y="1775"/>
                    </a:cubicBezTo>
                    <a:cubicBezTo>
                      <a:pt x="1452" y="1767"/>
                      <a:pt x="1440" y="1751"/>
                      <a:pt x="1440" y="1751"/>
                    </a:cubicBezTo>
                    <a:cubicBezTo>
                      <a:pt x="1440" y="1727"/>
                      <a:pt x="1440" y="1703"/>
                      <a:pt x="1448" y="1683"/>
                    </a:cubicBezTo>
                    <a:cubicBezTo>
                      <a:pt x="1452" y="1671"/>
                      <a:pt x="1480" y="1631"/>
                      <a:pt x="1480" y="1631"/>
                    </a:cubicBezTo>
                    <a:cubicBezTo>
                      <a:pt x="1476" y="1595"/>
                      <a:pt x="1460" y="1603"/>
                      <a:pt x="1432" y="1583"/>
                    </a:cubicBezTo>
                    <a:cubicBezTo>
                      <a:pt x="1420" y="1575"/>
                      <a:pt x="1396" y="1559"/>
                      <a:pt x="1396" y="1559"/>
                    </a:cubicBezTo>
                    <a:cubicBezTo>
                      <a:pt x="1384" y="1543"/>
                      <a:pt x="1368" y="1524"/>
                      <a:pt x="1352" y="1512"/>
                    </a:cubicBezTo>
                    <a:cubicBezTo>
                      <a:pt x="1332" y="1484"/>
                      <a:pt x="1340" y="1496"/>
                      <a:pt x="1324" y="1472"/>
                    </a:cubicBezTo>
                    <a:cubicBezTo>
                      <a:pt x="1312" y="1420"/>
                      <a:pt x="1280" y="1372"/>
                      <a:pt x="1264" y="1320"/>
                    </a:cubicBezTo>
                    <a:cubicBezTo>
                      <a:pt x="1264" y="1288"/>
                      <a:pt x="1264" y="1260"/>
                      <a:pt x="1268" y="1228"/>
                    </a:cubicBezTo>
                    <a:cubicBezTo>
                      <a:pt x="1268" y="1216"/>
                      <a:pt x="1276" y="1188"/>
                      <a:pt x="1276" y="1188"/>
                    </a:cubicBezTo>
                    <a:cubicBezTo>
                      <a:pt x="1272" y="1148"/>
                      <a:pt x="1248" y="1080"/>
                      <a:pt x="1204" y="1064"/>
                    </a:cubicBezTo>
                    <a:cubicBezTo>
                      <a:pt x="1188" y="1040"/>
                      <a:pt x="1156" y="1008"/>
                      <a:pt x="1132" y="992"/>
                    </a:cubicBezTo>
                    <a:cubicBezTo>
                      <a:pt x="1120" y="972"/>
                      <a:pt x="1104" y="932"/>
                      <a:pt x="1080" y="924"/>
                    </a:cubicBezTo>
                    <a:cubicBezTo>
                      <a:pt x="1056" y="840"/>
                      <a:pt x="1052" y="756"/>
                      <a:pt x="1120" y="688"/>
                    </a:cubicBezTo>
                    <a:cubicBezTo>
                      <a:pt x="1124" y="672"/>
                      <a:pt x="1128" y="644"/>
                      <a:pt x="1120" y="632"/>
                    </a:cubicBezTo>
                    <a:cubicBezTo>
                      <a:pt x="1108" y="616"/>
                      <a:pt x="1088" y="612"/>
                      <a:pt x="1072" y="600"/>
                    </a:cubicBezTo>
                    <a:cubicBezTo>
                      <a:pt x="1044" y="576"/>
                      <a:pt x="1020" y="556"/>
                      <a:pt x="984" y="544"/>
                    </a:cubicBezTo>
                    <a:cubicBezTo>
                      <a:pt x="968" y="528"/>
                      <a:pt x="932" y="520"/>
                      <a:pt x="908" y="512"/>
                    </a:cubicBezTo>
                    <a:cubicBezTo>
                      <a:pt x="888" y="492"/>
                      <a:pt x="876" y="448"/>
                      <a:pt x="872" y="416"/>
                    </a:cubicBezTo>
                    <a:cubicBezTo>
                      <a:pt x="864" y="380"/>
                      <a:pt x="861" y="344"/>
                      <a:pt x="880" y="312"/>
                    </a:cubicBezTo>
                    <a:cubicBezTo>
                      <a:pt x="888" y="288"/>
                      <a:pt x="888" y="260"/>
                      <a:pt x="908" y="240"/>
                    </a:cubicBezTo>
                    <a:cubicBezTo>
                      <a:pt x="924" y="212"/>
                      <a:pt x="972" y="128"/>
                      <a:pt x="968" y="132"/>
                    </a:cubicBezTo>
                    <a:cubicBezTo>
                      <a:pt x="956" y="148"/>
                      <a:pt x="892" y="256"/>
                      <a:pt x="880" y="264"/>
                    </a:cubicBezTo>
                    <a:cubicBezTo>
                      <a:pt x="872" y="228"/>
                      <a:pt x="876" y="204"/>
                      <a:pt x="888" y="168"/>
                    </a:cubicBezTo>
                    <a:cubicBezTo>
                      <a:pt x="884" y="132"/>
                      <a:pt x="892" y="108"/>
                      <a:pt x="864" y="88"/>
                    </a:cubicBezTo>
                    <a:cubicBezTo>
                      <a:pt x="849" y="76"/>
                      <a:pt x="813" y="72"/>
                      <a:pt x="813" y="72"/>
                    </a:cubicBezTo>
                    <a:cubicBezTo>
                      <a:pt x="789" y="48"/>
                      <a:pt x="757" y="36"/>
                      <a:pt x="729" y="16"/>
                    </a:cubicBezTo>
                    <a:cubicBezTo>
                      <a:pt x="717" y="8"/>
                      <a:pt x="693" y="0"/>
                      <a:pt x="693" y="0"/>
                    </a:cubicBezTo>
                    <a:cubicBezTo>
                      <a:pt x="669" y="4"/>
                      <a:pt x="657" y="0"/>
                      <a:pt x="645" y="24"/>
                    </a:cubicBezTo>
                    <a:cubicBezTo>
                      <a:pt x="637" y="72"/>
                      <a:pt x="621" y="72"/>
                      <a:pt x="573" y="76"/>
                    </a:cubicBezTo>
                    <a:cubicBezTo>
                      <a:pt x="557" y="92"/>
                      <a:pt x="549" y="116"/>
                      <a:pt x="537" y="136"/>
                    </a:cubicBezTo>
                    <a:cubicBezTo>
                      <a:pt x="529" y="172"/>
                      <a:pt x="529" y="208"/>
                      <a:pt x="545" y="244"/>
                    </a:cubicBezTo>
                    <a:cubicBezTo>
                      <a:pt x="548" y="283"/>
                      <a:pt x="560" y="337"/>
                      <a:pt x="558" y="366"/>
                    </a:cubicBezTo>
                    <a:cubicBezTo>
                      <a:pt x="544" y="390"/>
                      <a:pt x="540" y="403"/>
                      <a:pt x="533" y="416"/>
                    </a:cubicBezTo>
                    <a:cubicBezTo>
                      <a:pt x="526" y="440"/>
                      <a:pt x="537" y="408"/>
                      <a:pt x="513" y="444"/>
                    </a:cubicBezTo>
                    <a:cubicBezTo>
                      <a:pt x="497" y="456"/>
                      <a:pt x="441" y="472"/>
                      <a:pt x="409" y="484"/>
                    </a:cubicBezTo>
                    <a:cubicBezTo>
                      <a:pt x="357" y="492"/>
                      <a:pt x="245" y="504"/>
                      <a:pt x="197" y="492"/>
                    </a:cubicBezTo>
                    <a:cubicBezTo>
                      <a:pt x="181" y="460"/>
                      <a:pt x="181" y="432"/>
                      <a:pt x="153" y="412"/>
                    </a:cubicBezTo>
                    <a:cubicBezTo>
                      <a:pt x="141" y="392"/>
                      <a:pt x="105" y="380"/>
                      <a:pt x="81" y="372"/>
                    </a:cubicBezTo>
                    <a:cubicBezTo>
                      <a:pt x="41" y="384"/>
                      <a:pt x="41" y="392"/>
                      <a:pt x="9" y="436"/>
                    </a:cubicBezTo>
                    <a:cubicBezTo>
                      <a:pt x="0" y="456"/>
                      <a:pt x="27" y="455"/>
                      <a:pt x="66" y="482"/>
                    </a:cubicBezTo>
                    <a:cubicBezTo>
                      <a:pt x="108" y="513"/>
                      <a:pt x="171" y="567"/>
                      <a:pt x="265" y="620"/>
                    </a:cubicBezTo>
                    <a:cubicBezTo>
                      <a:pt x="309" y="651"/>
                      <a:pt x="309" y="642"/>
                      <a:pt x="330" y="668"/>
                    </a:cubicBezTo>
                    <a:cubicBezTo>
                      <a:pt x="369" y="701"/>
                      <a:pt x="393" y="722"/>
                      <a:pt x="390" y="756"/>
                    </a:cubicBezTo>
                    <a:cubicBezTo>
                      <a:pt x="363" y="848"/>
                      <a:pt x="438" y="911"/>
                      <a:pt x="450" y="947"/>
                    </a:cubicBezTo>
                    <a:cubicBezTo>
                      <a:pt x="465" y="990"/>
                      <a:pt x="469" y="995"/>
                      <a:pt x="477" y="1016"/>
                    </a:cubicBezTo>
                    <a:cubicBezTo>
                      <a:pt x="485" y="1032"/>
                      <a:pt x="492" y="1059"/>
                      <a:pt x="495" y="1077"/>
                    </a:cubicBezTo>
                    <a:cubicBezTo>
                      <a:pt x="491" y="1109"/>
                      <a:pt x="486" y="1193"/>
                      <a:pt x="495" y="1224"/>
                    </a:cubicBezTo>
                    <a:cubicBezTo>
                      <a:pt x="522" y="1266"/>
                      <a:pt x="535" y="1281"/>
                      <a:pt x="537" y="1301"/>
                    </a:cubicBezTo>
                    <a:cubicBezTo>
                      <a:pt x="557" y="1341"/>
                      <a:pt x="555" y="1352"/>
                      <a:pt x="580" y="1365"/>
                    </a:cubicBezTo>
                    <a:cubicBezTo>
                      <a:pt x="580" y="1369"/>
                      <a:pt x="617" y="1380"/>
                      <a:pt x="633" y="1380"/>
                    </a:cubicBezTo>
                    <a:cubicBezTo>
                      <a:pt x="649" y="1384"/>
                      <a:pt x="665" y="1392"/>
                      <a:pt x="681" y="1396"/>
                    </a:cubicBezTo>
                    <a:cubicBezTo>
                      <a:pt x="689" y="1400"/>
                      <a:pt x="705" y="1404"/>
                      <a:pt x="705" y="1404"/>
                    </a:cubicBezTo>
                    <a:cubicBezTo>
                      <a:pt x="717" y="1416"/>
                      <a:pt x="741" y="1432"/>
                      <a:pt x="741" y="1432"/>
                    </a:cubicBezTo>
                    <a:cubicBezTo>
                      <a:pt x="753" y="1488"/>
                      <a:pt x="737" y="1536"/>
                      <a:pt x="705" y="1583"/>
                    </a:cubicBezTo>
                    <a:cubicBezTo>
                      <a:pt x="673" y="1671"/>
                      <a:pt x="617" y="1879"/>
                      <a:pt x="545" y="1959"/>
                    </a:cubicBezTo>
                    <a:cubicBezTo>
                      <a:pt x="533" y="1975"/>
                      <a:pt x="525" y="1995"/>
                      <a:pt x="509" y="2003"/>
                    </a:cubicBezTo>
                    <a:cubicBezTo>
                      <a:pt x="501" y="2023"/>
                      <a:pt x="497" y="2035"/>
                      <a:pt x="489" y="2051"/>
                    </a:cubicBezTo>
                    <a:cubicBezTo>
                      <a:pt x="485" y="2059"/>
                      <a:pt x="481" y="2075"/>
                      <a:pt x="481" y="2075"/>
                    </a:cubicBezTo>
                    <a:cubicBezTo>
                      <a:pt x="461" y="2107"/>
                      <a:pt x="381" y="2167"/>
                      <a:pt x="369" y="2239"/>
                    </a:cubicBezTo>
                    <a:cubicBezTo>
                      <a:pt x="349" y="2315"/>
                      <a:pt x="365" y="2435"/>
                      <a:pt x="413" y="2507"/>
                    </a:cubicBezTo>
                    <a:cubicBezTo>
                      <a:pt x="421" y="2535"/>
                      <a:pt x="445" y="2535"/>
                      <a:pt x="457" y="2559"/>
                    </a:cubicBezTo>
                    <a:cubicBezTo>
                      <a:pt x="473" y="2591"/>
                      <a:pt x="465" y="2655"/>
                      <a:pt x="473" y="2687"/>
                    </a:cubicBezTo>
                    <a:cubicBezTo>
                      <a:pt x="477" y="2787"/>
                      <a:pt x="473" y="2887"/>
                      <a:pt x="457" y="2987"/>
                    </a:cubicBezTo>
                    <a:cubicBezTo>
                      <a:pt x="457" y="2995"/>
                      <a:pt x="453" y="3003"/>
                      <a:pt x="461" y="3007"/>
                    </a:cubicBezTo>
                    <a:cubicBezTo>
                      <a:pt x="469" y="3011"/>
                      <a:pt x="485" y="2999"/>
                      <a:pt x="485" y="2999"/>
                    </a:cubicBezTo>
                    <a:cubicBezTo>
                      <a:pt x="525" y="3007"/>
                      <a:pt x="561" y="3019"/>
                      <a:pt x="597" y="3031"/>
                    </a:cubicBezTo>
                    <a:cubicBezTo>
                      <a:pt x="621" y="3039"/>
                      <a:pt x="637" y="3047"/>
                      <a:pt x="657" y="3055"/>
                    </a:cubicBezTo>
                    <a:cubicBezTo>
                      <a:pt x="661" y="3055"/>
                      <a:pt x="669" y="3059"/>
                      <a:pt x="669" y="3059"/>
                    </a:cubicBezTo>
                    <a:cubicBezTo>
                      <a:pt x="685" y="3075"/>
                      <a:pt x="705" y="3079"/>
                      <a:pt x="729" y="3083"/>
                    </a:cubicBezTo>
                    <a:cubicBezTo>
                      <a:pt x="769" y="3075"/>
                      <a:pt x="801" y="3055"/>
                      <a:pt x="841" y="3047"/>
                    </a:cubicBezTo>
                    <a:cubicBezTo>
                      <a:pt x="880" y="3027"/>
                      <a:pt x="912" y="2999"/>
                      <a:pt x="956" y="2991"/>
                    </a:cubicBezTo>
                    <a:cubicBezTo>
                      <a:pt x="968" y="2983"/>
                      <a:pt x="980" y="2967"/>
                      <a:pt x="992" y="2963"/>
                    </a:cubicBezTo>
                    <a:cubicBezTo>
                      <a:pt x="1004" y="2959"/>
                      <a:pt x="1024" y="2955"/>
                      <a:pt x="1024" y="2955"/>
                    </a:cubicBezTo>
                    <a:cubicBezTo>
                      <a:pt x="1040" y="2931"/>
                      <a:pt x="1092" y="2915"/>
                      <a:pt x="1120" y="2907"/>
                    </a:cubicBezTo>
                    <a:cubicBezTo>
                      <a:pt x="1132" y="2887"/>
                      <a:pt x="1168" y="2867"/>
                      <a:pt x="1192" y="2859"/>
                    </a:cubicBezTo>
                    <a:cubicBezTo>
                      <a:pt x="1212" y="2827"/>
                      <a:pt x="1276" y="2839"/>
                      <a:pt x="1312" y="2831"/>
                    </a:cubicBezTo>
                    <a:cubicBezTo>
                      <a:pt x="1336" y="2811"/>
                      <a:pt x="1348" y="2791"/>
                      <a:pt x="1372" y="2783"/>
                    </a:cubicBezTo>
                    <a:cubicBezTo>
                      <a:pt x="1380" y="2779"/>
                      <a:pt x="1396" y="2767"/>
                      <a:pt x="1396" y="2767"/>
                    </a:cubicBezTo>
                    <a:cubicBezTo>
                      <a:pt x="1389" y="2753"/>
                      <a:pt x="1388" y="2743"/>
                      <a:pt x="1396" y="2723"/>
                    </a:cubicBezTo>
                    <a:cubicBezTo>
                      <a:pt x="1412" y="2675"/>
                      <a:pt x="1465" y="2573"/>
                      <a:pt x="1500" y="2534"/>
                    </a:cubicBezTo>
                    <a:cubicBezTo>
                      <a:pt x="1530" y="2472"/>
                      <a:pt x="1555" y="2397"/>
                      <a:pt x="1576" y="2351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</p:grpSp>
        <p:sp>
          <p:nvSpPr>
            <p:cNvPr id="272" name="Freeform 80"/>
            <p:cNvSpPr>
              <a:spLocks noChangeAspect="1"/>
            </p:cNvSpPr>
            <p:nvPr/>
          </p:nvSpPr>
          <p:spPr bwMode="auto">
            <a:xfrm>
              <a:off x="2987" y="2315"/>
              <a:ext cx="291" cy="179"/>
            </a:xfrm>
            <a:custGeom>
              <a:avLst/>
              <a:gdLst>
                <a:gd name="T0" fmla="*/ 0 w 1156"/>
                <a:gd name="T1" fmla="*/ 0 h 708"/>
                <a:gd name="T2" fmla="*/ 0 w 1156"/>
                <a:gd name="T3" fmla="*/ 0 h 708"/>
                <a:gd name="T4" fmla="*/ 0 w 1156"/>
                <a:gd name="T5" fmla="*/ 0 h 708"/>
                <a:gd name="T6" fmla="*/ 0 w 1156"/>
                <a:gd name="T7" fmla="*/ 0 h 708"/>
                <a:gd name="T8" fmla="*/ 0 w 1156"/>
                <a:gd name="T9" fmla="*/ 0 h 708"/>
                <a:gd name="T10" fmla="*/ 0 w 1156"/>
                <a:gd name="T11" fmla="*/ 0 h 708"/>
                <a:gd name="T12" fmla="*/ 0 w 1156"/>
                <a:gd name="T13" fmla="*/ 0 h 708"/>
                <a:gd name="T14" fmla="*/ 0 w 1156"/>
                <a:gd name="T15" fmla="*/ 0 h 708"/>
                <a:gd name="T16" fmla="*/ 0 w 1156"/>
                <a:gd name="T17" fmla="*/ 0 h 708"/>
                <a:gd name="T18" fmla="*/ 0 w 1156"/>
                <a:gd name="T19" fmla="*/ 0 h 708"/>
                <a:gd name="T20" fmla="*/ 0 w 1156"/>
                <a:gd name="T21" fmla="*/ 0 h 708"/>
                <a:gd name="T22" fmla="*/ 0 w 1156"/>
                <a:gd name="T23" fmla="*/ 0 h 708"/>
                <a:gd name="T24" fmla="*/ 0 w 1156"/>
                <a:gd name="T25" fmla="*/ 0 h 708"/>
                <a:gd name="T26" fmla="*/ 0 w 1156"/>
                <a:gd name="T27" fmla="*/ 0 h 708"/>
                <a:gd name="T28" fmla="*/ 0 w 1156"/>
                <a:gd name="T29" fmla="*/ 0 h 708"/>
                <a:gd name="T30" fmla="*/ 0 w 1156"/>
                <a:gd name="T31" fmla="*/ 0 h 708"/>
                <a:gd name="T32" fmla="*/ 0 w 1156"/>
                <a:gd name="T33" fmla="*/ 0 h 708"/>
                <a:gd name="T34" fmla="*/ 0 w 1156"/>
                <a:gd name="T35" fmla="*/ 0 h 708"/>
                <a:gd name="T36" fmla="*/ 0 w 1156"/>
                <a:gd name="T37" fmla="*/ 0 h 708"/>
                <a:gd name="T38" fmla="*/ 0 w 1156"/>
                <a:gd name="T39" fmla="*/ 0 h 708"/>
                <a:gd name="T40" fmla="*/ 0 w 1156"/>
                <a:gd name="T41" fmla="*/ 0 h 708"/>
                <a:gd name="T42" fmla="*/ 0 w 1156"/>
                <a:gd name="T43" fmla="*/ 0 h 708"/>
                <a:gd name="T44" fmla="*/ 0 w 1156"/>
                <a:gd name="T45" fmla="*/ 0 h 708"/>
                <a:gd name="T46" fmla="*/ 0 w 1156"/>
                <a:gd name="T47" fmla="*/ 0 h 708"/>
                <a:gd name="T48" fmla="*/ 0 w 1156"/>
                <a:gd name="T49" fmla="*/ 0 h 708"/>
                <a:gd name="T50" fmla="*/ 0 w 1156"/>
                <a:gd name="T51" fmla="*/ 0 h 708"/>
                <a:gd name="T52" fmla="*/ 0 w 1156"/>
                <a:gd name="T53" fmla="*/ 0 h 708"/>
                <a:gd name="T54" fmla="*/ 0 w 1156"/>
                <a:gd name="T55" fmla="*/ 0 h 708"/>
                <a:gd name="T56" fmla="*/ 0 w 1156"/>
                <a:gd name="T57" fmla="*/ 0 h 708"/>
                <a:gd name="T58" fmla="*/ 0 w 1156"/>
                <a:gd name="T59" fmla="*/ 0 h 708"/>
                <a:gd name="T60" fmla="*/ 0 w 1156"/>
                <a:gd name="T61" fmla="*/ 0 h 708"/>
                <a:gd name="T62" fmla="*/ 0 w 1156"/>
                <a:gd name="T63" fmla="*/ 0 h 708"/>
                <a:gd name="T64" fmla="*/ 0 w 1156"/>
                <a:gd name="T65" fmla="*/ 0 h 708"/>
                <a:gd name="T66" fmla="*/ 0 w 1156"/>
                <a:gd name="T67" fmla="*/ 0 h 708"/>
                <a:gd name="T68" fmla="*/ 0 w 1156"/>
                <a:gd name="T69" fmla="*/ 0 h 708"/>
                <a:gd name="T70" fmla="*/ 0 w 1156"/>
                <a:gd name="T71" fmla="*/ 0 h 708"/>
                <a:gd name="T72" fmla="*/ 0 w 1156"/>
                <a:gd name="T73" fmla="*/ 0 h 708"/>
                <a:gd name="T74" fmla="*/ 0 w 1156"/>
                <a:gd name="T75" fmla="*/ 0 h 708"/>
                <a:gd name="T76" fmla="*/ 0 w 1156"/>
                <a:gd name="T77" fmla="*/ 0 h 708"/>
                <a:gd name="T78" fmla="*/ 0 w 1156"/>
                <a:gd name="T79" fmla="*/ 0 h 708"/>
                <a:gd name="T80" fmla="*/ 0 w 1156"/>
                <a:gd name="T81" fmla="*/ 0 h 708"/>
                <a:gd name="T82" fmla="*/ 0 w 1156"/>
                <a:gd name="T83" fmla="*/ 0 h 708"/>
                <a:gd name="T84" fmla="*/ 0 w 1156"/>
                <a:gd name="T85" fmla="*/ 0 h 708"/>
                <a:gd name="T86" fmla="*/ 0 w 1156"/>
                <a:gd name="T87" fmla="*/ 0 h 708"/>
                <a:gd name="T88" fmla="*/ 0 w 1156"/>
                <a:gd name="T89" fmla="*/ 0 h 708"/>
                <a:gd name="T90" fmla="*/ 0 w 1156"/>
                <a:gd name="T91" fmla="*/ 0 h 708"/>
                <a:gd name="T92" fmla="*/ 0 w 1156"/>
                <a:gd name="T93" fmla="*/ 0 h 708"/>
                <a:gd name="T94" fmla="*/ 0 w 1156"/>
                <a:gd name="T95" fmla="*/ 0 h 708"/>
                <a:gd name="T96" fmla="*/ 0 w 1156"/>
                <a:gd name="T97" fmla="*/ 0 h 708"/>
                <a:gd name="T98" fmla="*/ 0 w 1156"/>
                <a:gd name="T99" fmla="*/ 0 h 708"/>
                <a:gd name="T100" fmla="*/ 0 w 1156"/>
                <a:gd name="T101" fmla="*/ 0 h 708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156"/>
                <a:gd name="T154" fmla="*/ 0 h 708"/>
                <a:gd name="T155" fmla="*/ 1156 w 1156"/>
                <a:gd name="T156" fmla="*/ 708 h 708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156" h="708">
                  <a:moveTo>
                    <a:pt x="1156" y="416"/>
                  </a:moveTo>
                  <a:cubicBezTo>
                    <a:pt x="1148" y="404"/>
                    <a:pt x="1144" y="392"/>
                    <a:pt x="1132" y="380"/>
                  </a:cubicBezTo>
                  <a:cubicBezTo>
                    <a:pt x="1124" y="356"/>
                    <a:pt x="1128" y="328"/>
                    <a:pt x="1104" y="312"/>
                  </a:cubicBezTo>
                  <a:cubicBezTo>
                    <a:pt x="1096" y="292"/>
                    <a:pt x="1052" y="232"/>
                    <a:pt x="1032" y="224"/>
                  </a:cubicBezTo>
                  <a:cubicBezTo>
                    <a:pt x="1036" y="132"/>
                    <a:pt x="1048" y="140"/>
                    <a:pt x="976" y="92"/>
                  </a:cubicBezTo>
                  <a:cubicBezTo>
                    <a:pt x="972" y="76"/>
                    <a:pt x="953" y="83"/>
                    <a:pt x="945" y="63"/>
                  </a:cubicBezTo>
                  <a:cubicBezTo>
                    <a:pt x="845" y="72"/>
                    <a:pt x="831" y="92"/>
                    <a:pt x="819" y="99"/>
                  </a:cubicBezTo>
                  <a:cubicBezTo>
                    <a:pt x="789" y="104"/>
                    <a:pt x="786" y="98"/>
                    <a:pt x="764" y="96"/>
                  </a:cubicBezTo>
                  <a:cubicBezTo>
                    <a:pt x="740" y="60"/>
                    <a:pt x="719" y="78"/>
                    <a:pt x="684" y="50"/>
                  </a:cubicBezTo>
                  <a:cubicBezTo>
                    <a:pt x="672" y="38"/>
                    <a:pt x="664" y="24"/>
                    <a:pt x="648" y="20"/>
                  </a:cubicBezTo>
                  <a:cubicBezTo>
                    <a:pt x="636" y="0"/>
                    <a:pt x="626" y="10"/>
                    <a:pt x="602" y="6"/>
                  </a:cubicBezTo>
                  <a:cubicBezTo>
                    <a:pt x="564" y="9"/>
                    <a:pt x="564" y="0"/>
                    <a:pt x="532" y="20"/>
                  </a:cubicBezTo>
                  <a:cubicBezTo>
                    <a:pt x="509" y="32"/>
                    <a:pt x="483" y="62"/>
                    <a:pt x="460" y="52"/>
                  </a:cubicBezTo>
                  <a:cubicBezTo>
                    <a:pt x="432" y="88"/>
                    <a:pt x="456" y="192"/>
                    <a:pt x="496" y="220"/>
                  </a:cubicBezTo>
                  <a:cubicBezTo>
                    <a:pt x="504" y="252"/>
                    <a:pt x="512" y="288"/>
                    <a:pt x="484" y="308"/>
                  </a:cubicBezTo>
                  <a:cubicBezTo>
                    <a:pt x="472" y="328"/>
                    <a:pt x="472" y="336"/>
                    <a:pt x="448" y="344"/>
                  </a:cubicBezTo>
                  <a:cubicBezTo>
                    <a:pt x="416" y="344"/>
                    <a:pt x="388" y="348"/>
                    <a:pt x="356" y="340"/>
                  </a:cubicBezTo>
                  <a:cubicBezTo>
                    <a:pt x="352" y="340"/>
                    <a:pt x="352" y="328"/>
                    <a:pt x="348" y="324"/>
                  </a:cubicBezTo>
                  <a:cubicBezTo>
                    <a:pt x="336" y="312"/>
                    <a:pt x="304" y="300"/>
                    <a:pt x="288" y="296"/>
                  </a:cubicBezTo>
                  <a:cubicBezTo>
                    <a:pt x="276" y="276"/>
                    <a:pt x="268" y="256"/>
                    <a:pt x="252" y="240"/>
                  </a:cubicBezTo>
                  <a:cubicBezTo>
                    <a:pt x="244" y="228"/>
                    <a:pt x="216" y="212"/>
                    <a:pt x="216" y="212"/>
                  </a:cubicBezTo>
                  <a:cubicBezTo>
                    <a:pt x="208" y="196"/>
                    <a:pt x="192" y="180"/>
                    <a:pt x="180" y="172"/>
                  </a:cubicBezTo>
                  <a:cubicBezTo>
                    <a:pt x="160" y="180"/>
                    <a:pt x="172" y="188"/>
                    <a:pt x="148" y="192"/>
                  </a:cubicBezTo>
                  <a:cubicBezTo>
                    <a:pt x="124" y="208"/>
                    <a:pt x="96" y="216"/>
                    <a:pt x="76" y="236"/>
                  </a:cubicBezTo>
                  <a:cubicBezTo>
                    <a:pt x="68" y="260"/>
                    <a:pt x="64" y="280"/>
                    <a:pt x="48" y="296"/>
                  </a:cubicBezTo>
                  <a:cubicBezTo>
                    <a:pt x="40" y="320"/>
                    <a:pt x="20" y="336"/>
                    <a:pt x="16" y="364"/>
                  </a:cubicBezTo>
                  <a:cubicBezTo>
                    <a:pt x="12" y="420"/>
                    <a:pt x="8" y="436"/>
                    <a:pt x="0" y="484"/>
                  </a:cubicBezTo>
                  <a:cubicBezTo>
                    <a:pt x="4" y="536"/>
                    <a:pt x="0" y="696"/>
                    <a:pt x="36" y="708"/>
                  </a:cubicBezTo>
                  <a:cubicBezTo>
                    <a:pt x="39" y="684"/>
                    <a:pt x="59" y="655"/>
                    <a:pt x="69" y="638"/>
                  </a:cubicBezTo>
                  <a:cubicBezTo>
                    <a:pt x="79" y="621"/>
                    <a:pt x="83" y="639"/>
                    <a:pt x="96" y="608"/>
                  </a:cubicBezTo>
                  <a:cubicBezTo>
                    <a:pt x="117" y="605"/>
                    <a:pt x="162" y="570"/>
                    <a:pt x="204" y="576"/>
                  </a:cubicBezTo>
                  <a:cubicBezTo>
                    <a:pt x="226" y="564"/>
                    <a:pt x="216" y="548"/>
                    <a:pt x="230" y="546"/>
                  </a:cubicBezTo>
                  <a:cubicBezTo>
                    <a:pt x="236" y="544"/>
                    <a:pt x="231" y="558"/>
                    <a:pt x="240" y="561"/>
                  </a:cubicBezTo>
                  <a:cubicBezTo>
                    <a:pt x="249" y="564"/>
                    <a:pt x="269" y="561"/>
                    <a:pt x="287" y="566"/>
                  </a:cubicBezTo>
                  <a:cubicBezTo>
                    <a:pt x="299" y="552"/>
                    <a:pt x="299" y="560"/>
                    <a:pt x="303" y="539"/>
                  </a:cubicBezTo>
                  <a:cubicBezTo>
                    <a:pt x="323" y="551"/>
                    <a:pt x="315" y="561"/>
                    <a:pt x="330" y="567"/>
                  </a:cubicBezTo>
                  <a:cubicBezTo>
                    <a:pt x="381" y="536"/>
                    <a:pt x="393" y="531"/>
                    <a:pt x="410" y="549"/>
                  </a:cubicBezTo>
                  <a:cubicBezTo>
                    <a:pt x="410" y="531"/>
                    <a:pt x="414" y="530"/>
                    <a:pt x="489" y="527"/>
                  </a:cubicBezTo>
                  <a:cubicBezTo>
                    <a:pt x="511" y="536"/>
                    <a:pt x="562" y="537"/>
                    <a:pt x="576" y="533"/>
                  </a:cubicBezTo>
                  <a:cubicBezTo>
                    <a:pt x="590" y="529"/>
                    <a:pt x="566" y="515"/>
                    <a:pt x="576" y="504"/>
                  </a:cubicBezTo>
                  <a:cubicBezTo>
                    <a:pt x="576" y="488"/>
                    <a:pt x="625" y="468"/>
                    <a:pt x="638" y="470"/>
                  </a:cubicBezTo>
                  <a:cubicBezTo>
                    <a:pt x="642" y="486"/>
                    <a:pt x="641" y="508"/>
                    <a:pt x="657" y="516"/>
                  </a:cubicBezTo>
                  <a:cubicBezTo>
                    <a:pt x="669" y="524"/>
                    <a:pt x="690" y="530"/>
                    <a:pt x="690" y="530"/>
                  </a:cubicBezTo>
                  <a:cubicBezTo>
                    <a:pt x="726" y="526"/>
                    <a:pt x="752" y="524"/>
                    <a:pt x="784" y="536"/>
                  </a:cubicBezTo>
                  <a:cubicBezTo>
                    <a:pt x="786" y="551"/>
                    <a:pt x="840" y="567"/>
                    <a:pt x="879" y="588"/>
                  </a:cubicBezTo>
                  <a:cubicBezTo>
                    <a:pt x="899" y="617"/>
                    <a:pt x="932" y="612"/>
                    <a:pt x="944" y="620"/>
                  </a:cubicBezTo>
                  <a:cubicBezTo>
                    <a:pt x="954" y="612"/>
                    <a:pt x="960" y="614"/>
                    <a:pt x="960" y="614"/>
                  </a:cubicBezTo>
                  <a:cubicBezTo>
                    <a:pt x="986" y="576"/>
                    <a:pt x="998" y="552"/>
                    <a:pt x="1094" y="566"/>
                  </a:cubicBezTo>
                  <a:cubicBezTo>
                    <a:pt x="1097" y="543"/>
                    <a:pt x="1101" y="578"/>
                    <a:pt x="1088" y="522"/>
                  </a:cubicBezTo>
                  <a:cubicBezTo>
                    <a:pt x="1091" y="488"/>
                    <a:pt x="1117" y="475"/>
                    <a:pt x="1137" y="447"/>
                  </a:cubicBezTo>
                  <a:cubicBezTo>
                    <a:pt x="1140" y="428"/>
                    <a:pt x="1145" y="422"/>
                    <a:pt x="1156" y="416"/>
                  </a:cubicBez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  <p:sp>
          <p:nvSpPr>
            <p:cNvPr id="273" name="Freeform 81"/>
            <p:cNvSpPr>
              <a:spLocks noChangeAspect="1"/>
            </p:cNvSpPr>
            <p:nvPr/>
          </p:nvSpPr>
          <p:spPr bwMode="auto">
            <a:xfrm>
              <a:off x="2996" y="2433"/>
              <a:ext cx="240" cy="192"/>
            </a:xfrm>
            <a:custGeom>
              <a:avLst/>
              <a:gdLst>
                <a:gd name="T0" fmla="*/ 0 w 952"/>
                <a:gd name="T1" fmla="*/ 0 h 758"/>
                <a:gd name="T2" fmla="*/ 0 w 952"/>
                <a:gd name="T3" fmla="*/ 0 h 758"/>
                <a:gd name="T4" fmla="*/ 0 w 952"/>
                <a:gd name="T5" fmla="*/ 0 h 758"/>
                <a:gd name="T6" fmla="*/ 0 w 952"/>
                <a:gd name="T7" fmla="*/ 0 h 758"/>
                <a:gd name="T8" fmla="*/ 0 w 952"/>
                <a:gd name="T9" fmla="*/ 0 h 758"/>
                <a:gd name="T10" fmla="*/ 0 w 952"/>
                <a:gd name="T11" fmla="*/ 0 h 758"/>
                <a:gd name="T12" fmla="*/ 0 w 952"/>
                <a:gd name="T13" fmla="*/ 0 h 758"/>
                <a:gd name="T14" fmla="*/ 0 w 952"/>
                <a:gd name="T15" fmla="*/ 0 h 758"/>
                <a:gd name="T16" fmla="*/ 0 w 952"/>
                <a:gd name="T17" fmla="*/ 0 h 758"/>
                <a:gd name="T18" fmla="*/ 0 w 952"/>
                <a:gd name="T19" fmla="*/ 0 h 758"/>
                <a:gd name="T20" fmla="*/ 0 w 952"/>
                <a:gd name="T21" fmla="*/ 0 h 758"/>
                <a:gd name="T22" fmla="*/ 0 w 952"/>
                <a:gd name="T23" fmla="*/ 0 h 758"/>
                <a:gd name="T24" fmla="*/ 0 w 952"/>
                <a:gd name="T25" fmla="*/ 0 h 758"/>
                <a:gd name="T26" fmla="*/ 0 w 952"/>
                <a:gd name="T27" fmla="*/ 0 h 758"/>
                <a:gd name="T28" fmla="*/ 0 w 952"/>
                <a:gd name="T29" fmla="*/ 0 h 758"/>
                <a:gd name="T30" fmla="*/ 0 w 952"/>
                <a:gd name="T31" fmla="*/ 0 h 758"/>
                <a:gd name="T32" fmla="*/ 0 w 952"/>
                <a:gd name="T33" fmla="*/ 0 h 758"/>
                <a:gd name="T34" fmla="*/ 0 w 952"/>
                <a:gd name="T35" fmla="*/ 0 h 758"/>
                <a:gd name="T36" fmla="*/ 0 w 952"/>
                <a:gd name="T37" fmla="*/ 0 h 758"/>
                <a:gd name="T38" fmla="*/ 0 w 952"/>
                <a:gd name="T39" fmla="*/ 0 h 758"/>
                <a:gd name="T40" fmla="*/ 0 w 952"/>
                <a:gd name="T41" fmla="*/ 0 h 758"/>
                <a:gd name="T42" fmla="*/ 0 w 952"/>
                <a:gd name="T43" fmla="*/ 0 h 758"/>
                <a:gd name="T44" fmla="*/ 0 w 952"/>
                <a:gd name="T45" fmla="*/ 0 h 758"/>
                <a:gd name="T46" fmla="*/ 0 w 952"/>
                <a:gd name="T47" fmla="*/ 0 h 758"/>
                <a:gd name="T48" fmla="*/ 0 w 952"/>
                <a:gd name="T49" fmla="*/ 0 h 758"/>
                <a:gd name="T50" fmla="*/ 0 w 952"/>
                <a:gd name="T51" fmla="*/ 0 h 758"/>
                <a:gd name="T52" fmla="*/ 0 w 952"/>
                <a:gd name="T53" fmla="*/ 0 h 758"/>
                <a:gd name="T54" fmla="*/ 0 w 952"/>
                <a:gd name="T55" fmla="*/ 0 h 758"/>
                <a:gd name="T56" fmla="*/ 0 w 952"/>
                <a:gd name="T57" fmla="*/ 0 h 758"/>
                <a:gd name="T58" fmla="*/ 0 w 952"/>
                <a:gd name="T59" fmla="*/ 0 h 758"/>
                <a:gd name="T60" fmla="*/ 0 w 952"/>
                <a:gd name="T61" fmla="*/ 0 h 758"/>
                <a:gd name="T62" fmla="*/ 0 w 952"/>
                <a:gd name="T63" fmla="*/ 0 h 758"/>
                <a:gd name="T64" fmla="*/ 0 w 952"/>
                <a:gd name="T65" fmla="*/ 0 h 758"/>
                <a:gd name="T66" fmla="*/ 0 w 952"/>
                <a:gd name="T67" fmla="*/ 0 h 758"/>
                <a:gd name="T68" fmla="*/ 0 w 952"/>
                <a:gd name="T69" fmla="*/ 0 h 758"/>
                <a:gd name="T70" fmla="*/ 0 w 952"/>
                <a:gd name="T71" fmla="*/ 0 h 758"/>
                <a:gd name="T72" fmla="*/ 0 w 952"/>
                <a:gd name="T73" fmla="*/ 0 h 758"/>
                <a:gd name="T74" fmla="*/ 0 w 952"/>
                <a:gd name="T75" fmla="*/ 0 h 758"/>
                <a:gd name="T76" fmla="*/ 0 w 952"/>
                <a:gd name="T77" fmla="*/ 0 h 758"/>
                <a:gd name="T78" fmla="*/ 0 w 952"/>
                <a:gd name="T79" fmla="*/ 0 h 758"/>
                <a:gd name="T80" fmla="*/ 0 w 952"/>
                <a:gd name="T81" fmla="*/ 0 h 758"/>
                <a:gd name="T82" fmla="*/ 0 w 952"/>
                <a:gd name="T83" fmla="*/ 0 h 758"/>
                <a:gd name="T84" fmla="*/ 0 w 952"/>
                <a:gd name="T85" fmla="*/ 0 h 758"/>
                <a:gd name="T86" fmla="*/ 0 w 952"/>
                <a:gd name="T87" fmla="*/ 0 h 758"/>
                <a:gd name="T88" fmla="*/ 0 w 952"/>
                <a:gd name="T89" fmla="*/ 0 h 758"/>
                <a:gd name="T90" fmla="*/ 0 w 952"/>
                <a:gd name="T91" fmla="*/ 0 h 758"/>
                <a:gd name="T92" fmla="*/ 0 w 952"/>
                <a:gd name="T93" fmla="*/ 0 h 758"/>
                <a:gd name="T94" fmla="*/ 0 w 952"/>
                <a:gd name="T95" fmla="*/ 0 h 758"/>
                <a:gd name="T96" fmla="*/ 0 w 952"/>
                <a:gd name="T97" fmla="*/ 0 h 758"/>
                <a:gd name="T98" fmla="*/ 0 w 952"/>
                <a:gd name="T99" fmla="*/ 0 h 758"/>
                <a:gd name="T100" fmla="*/ 0 w 952"/>
                <a:gd name="T101" fmla="*/ 0 h 758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952"/>
                <a:gd name="T154" fmla="*/ 0 h 758"/>
                <a:gd name="T155" fmla="*/ 952 w 952"/>
                <a:gd name="T156" fmla="*/ 758 h 758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952" h="758">
                  <a:moveTo>
                    <a:pt x="912" y="152"/>
                  </a:moveTo>
                  <a:cubicBezTo>
                    <a:pt x="844" y="140"/>
                    <a:pt x="856" y="120"/>
                    <a:pt x="808" y="104"/>
                  </a:cubicBezTo>
                  <a:cubicBezTo>
                    <a:pt x="792" y="88"/>
                    <a:pt x="776" y="92"/>
                    <a:pt x="756" y="80"/>
                  </a:cubicBezTo>
                  <a:cubicBezTo>
                    <a:pt x="736" y="48"/>
                    <a:pt x="696" y="60"/>
                    <a:pt x="656" y="60"/>
                  </a:cubicBezTo>
                  <a:cubicBezTo>
                    <a:pt x="648" y="60"/>
                    <a:pt x="620" y="52"/>
                    <a:pt x="616" y="48"/>
                  </a:cubicBezTo>
                  <a:cubicBezTo>
                    <a:pt x="604" y="36"/>
                    <a:pt x="600" y="0"/>
                    <a:pt x="600" y="0"/>
                  </a:cubicBezTo>
                  <a:cubicBezTo>
                    <a:pt x="580" y="4"/>
                    <a:pt x="544" y="24"/>
                    <a:pt x="544" y="24"/>
                  </a:cubicBezTo>
                  <a:cubicBezTo>
                    <a:pt x="532" y="34"/>
                    <a:pt x="542" y="50"/>
                    <a:pt x="546" y="66"/>
                  </a:cubicBezTo>
                  <a:cubicBezTo>
                    <a:pt x="531" y="68"/>
                    <a:pt x="507" y="69"/>
                    <a:pt x="492" y="68"/>
                  </a:cubicBezTo>
                  <a:cubicBezTo>
                    <a:pt x="476" y="72"/>
                    <a:pt x="472" y="64"/>
                    <a:pt x="456" y="60"/>
                  </a:cubicBezTo>
                  <a:cubicBezTo>
                    <a:pt x="416" y="64"/>
                    <a:pt x="380" y="48"/>
                    <a:pt x="372" y="84"/>
                  </a:cubicBezTo>
                  <a:cubicBezTo>
                    <a:pt x="368" y="68"/>
                    <a:pt x="356" y="64"/>
                    <a:pt x="340" y="68"/>
                  </a:cubicBezTo>
                  <a:cubicBezTo>
                    <a:pt x="328" y="80"/>
                    <a:pt x="320" y="88"/>
                    <a:pt x="304" y="92"/>
                  </a:cubicBezTo>
                  <a:cubicBezTo>
                    <a:pt x="288" y="116"/>
                    <a:pt x="280" y="80"/>
                    <a:pt x="268" y="68"/>
                  </a:cubicBezTo>
                  <a:cubicBezTo>
                    <a:pt x="260" y="108"/>
                    <a:pt x="244" y="96"/>
                    <a:pt x="204" y="92"/>
                  </a:cubicBezTo>
                  <a:cubicBezTo>
                    <a:pt x="192" y="60"/>
                    <a:pt x="184" y="100"/>
                    <a:pt x="176" y="104"/>
                  </a:cubicBezTo>
                  <a:cubicBezTo>
                    <a:pt x="160" y="108"/>
                    <a:pt x="144" y="108"/>
                    <a:pt x="128" y="108"/>
                  </a:cubicBezTo>
                  <a:cubicBezTo>
                    <a:pt x="112" y="116"/>
                    <a:pt x="100" y="124"/>
                    <a:pt x="84" y="132"/>
                  </a:cubicBezTo>
                  <a:cubicBezTo>
                    <a:pt x="76" y="136"/>
                    <a:pt x="60" y="140"/>
                    <a:pt x="60" y="140"/>
                  </a:cubicBezTo>
                  <a:cubicBezTo>
                    <a:pt x="52" y="156"/>
                    <a:pt x="52" y="164"/>
                    <a:pt x="36" y="168"/>
                  </a:cubicBezTo>
                  <a:cubicBezTo>
                    <a:pt x="28" y="188"/>
                    <a:pt x="16" y="200"/>
                    <a:pt x="4" y="216"/>
                  </a:cubicBezTo>
                  <a:cubicBezTo>
                    <a:pt x="4" y="236"/>
                    <a:pt x="0" y="320"/>
                    <a:pt x="24" y="328"/>
                  </a:cubicBezTo>
                  <a:cubicBezTo>
                    <a:pt x="32" y="356"/>
                    <a:pt x="20" y="408"/>
                    <a:pt x="52" y="420"/>
                  </a:cubicBezTo>
                  <a:cubicBezTo>
                    <a:pt x="83" y="429"/>
                    <a:pt x="100" y="442"/>
                    <a:pt x="128" y="450"/>
                  </a:cubicBezTo>
                  <a:cubicBezTo>
                    <a:pt x="148" y="462"/>
                    <a:pt x="201" y="480"/>
                    <a:pt x="201" y="480"/>
                  </a:cubicBezTo>
                  <a:cubicBezTo>
                    <a:pt x="231" y="495"/>
                    <a:pt x="287" y="480"/>
                    <a:pt x="315" y="504"/>
                  </a:cubicBezTo>
                  <a:cubicBezTo>
                    <a:pt x="319" y="528"/>
                    <a:pt x="343" y="641"/>
                    <a:pt x="359" y="657"/>
                  </a:cubicBezTo>
                  <a:cubicBezTo>
                    <a:pt x="396" y="660"/>
                    <a:pt x="422" y="663"/>
                    <a:pt x="443" y="684"/>
                  </a:cubicBezTo>
                  <a:cubicBezTo>
                    <a:pt x="485" y="708"/>
                    <a:pt x="492" y="726"/>
                    <a:pt x="509" y="758"/>
                  </a:cubicBezTo>
                  <a:cubicBezTo>
                    <a:pt x="563" y="758"/>
                    <a:pt x="566" y="755"/>
                    <a:pt x="615" y="725"/>
                  </a:cubicBezTo>
                  <a:cubicBezTo>
                    <a:pt x="636" y="750"/>
                    <a:pt x="657" y="750"/>
                    <a:pt x="683" y="714"/>
                  </a:cubicBezTo>
                  <a:cubicBezTo>
                    <a:pt x="701" y="709"/>
                    <a:pt x="719" y="701"/>
                    <a:pt x="723" y="696"/>
                  </a:cubicBezTo>
                  <a:cubicBezTo>
                    <a:pt x="741" y="686"/>
                    <a:pt x="705" y="688"/>
                    <a:pt x="707" y="680"/>
                  </a:cubicBezTo>
                  <a:cubicBezTo>
                    <a:pt x="709" y="672"/>
                    <a:pt x="725" y="651"/>
                    <a:pt x="734" y="645"/>
                  </a:cubicBezTo>
                  <a:cubicBezTo>
                    <a:pt x="746" y="642"/>
                    <a:pt x="765" y="644"/>
                    <a:pt x="765" y="644"/>
                  </a:cubicBezTo>
                  <a:cubicBezTo>
                    <a:pt x="773" y="628"/>
                    <a:pt x="791" y="597"/>
                    <a:pt x="813" y="599"/>
                  </a:cubicBezTo>
                  <a:cubicBezTo>
                    <a:pt x="823" y="595"/>
                    <a:pt x="812" y="613"/>
                    <a:pt x="818" y="620"/>
                  </a:cubicBezTo>
                  <a:cubicBezTo>
                    <a:pt x="824" y="627"/>
                    <a:pt x="837" y="630"/>
                    <a:pt x="852" y="640"/>
                  </a:cubicBezTo>
                  <a:cubicBezTo>
                    <a:pt x="884" y="632"/>
                    <a:pt x="872" y="608"/>
                    <a:pt x="852" y="592"/>
                  </a:cubicBezTo>
                  <a:cubicBezTo>
                    <a:pt x="839" y="587"/>
                    <a:pt x="845" y="594"/>
                    <a:pt x="825" y="566"/>
                  </a:cubicBezTo>
                  <a:cubicBezTo>
                    <a:pt x="821" y="558"/>
                    <a:pt x="824" y="528"/>
                    <a:pt x="824" y="528"/>
                  </a:cubicBezTo>
                  <a:cubicBezTo>
                    <a:pt x="822" y="512"/>
                    <a:pt x="818" y="482"/>
                    <a:pt x="834" y="459"/>
                  </a:cubicBezTo>
                  <a:cubicBezTo>
                    <a:pt x="835" y="442"/>
                    <a:pt x="822" y="447"/>
                    <a:pt x="830" y="425"/>
                  </a:cubicBezTo>
                  <a:cubicBezTo>
                    <a:pt x="834" y="417"/>
                    <a:pt x="861" y="375"/>
                    <a:pt x="885" y="329"/>
                  </a:cubicBezTo>
                  <a:cubicBezTo>
                    <a:pt x="897" y="321"/>
                    <a:pt x="914" y="312"/>
                    <a:pt x="914" y="312"/>
                  </a:cubicBezTo>
                  <a:cubicBezTo>
                    <a:pt x="930" y="296"/>
                    <a:pt x="940" y="308"/>
                    <a:pt x="952" y="288"/>
                  </a:cubicBezTo>
                  <a:cubicBezTo>
                    <a:pt x="948" y="280"/>
                    <a:pt x="949" y="269"/>
                    <a:pt x="941" y="261"/>
                  </a:cubicBezTo>
                  <a:cubicBezTo>
                    <a:pt x="923" y="257"/>
                    <a:pt x="904" y="248"/>
                    <a:pt x="904" y="248"/>
                  </a:cubicBezTo>
                  <a:cubicBezTo>
                    <a:pt x="896" y="224"/>
                    <a:pt x="902" y="239"/>
                    <a:pt x="902" y="225"/>
                  </a:cubicBezTo>
                  <a:cubicBezTo>
                    <a:pt x="912" y="204"/>
                    <a:pt x="921" y="164"/>
                    <a:pt x="924" y="144"/>
                  </a:cubicBezTo>
                  <a:cubicBezTo>
                    <a:pt x="900" y="152"/>
                    <a:pt x="896" y="152"/>
                    <a:pt x="912" y="152"/>
                  </a:cubicBez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  <p:sp>
          <p:nvSpPr>
            <p:cNvPr id="274" name="Freeform 82"/>
            <p:cNvSpPr>
              <a:spLocks noChangeAspect="1"/>
            </p:cNvSpPr>
            <p:nvPr/>
          </p:nvSpPr>
          <p:spPr bwMode="auto">
            <a:xfrm>
              <a:off x="2955" y="2536"/>
              <a:ext cx="132" cy="81"/>
            </a:xfrm>
            <a:custGeom>
              <a:avLst/>
              <a:gdLst>
                <a:gd name="T0" fmla="*/ 0 w 527"/>
                <a:gd name="T1" fmla="*/ 0 h 322"/>
                <a:gd name="T2" fmla="*/ 0 w 527"/>
                <a:gd name="T3" fmla="*/ 0 h 322"/>
                <a:gd name="T4" fmla="*/ 0 w 527"/>
                <a:gd name="T5" fmla="*/ 0 h 322"/>
                <a:gd name="T6" fmla="*/ 0 w 527"/>
                <a:gd name="T7" fmla="*/ 0 h 322"/>
                <a:gd name="T8" fmla="*/ 0 w 527"/>
                <a:gd name="T9" fmla="*/ 0 h 322"/>
                <a:gd name="T10" fmla="*/ 0 w 527"/>
                <a:gd name="T11" fmla="*/ 0 h 322"/>
                <a:gd name="T12" fmla="*/ 0 w 527"/>
                <a:gd name="T13" fmla="*/ 0 h 322"/>
                <a:gd name="T14" fmla="*/ 0 w 527"/>
                <a:gd name="T15" fmla="*/ 0 h 322"/>
                <a:gd name="T16" fmla="*/ 0 w 527"/>
                <a:gd name="T17" fmla="*/ 0 h 322"/>
                <a:gd name="T18" fmla="*/ 0 w 527"/>
                <a:gd name="T19" fmla="*/ 0 h 322"/>
                <a:gd name="T20" fmla="*/ 0 w 527"/>
                <a:gd name="T21" fmla="*/ 0 h 322"/>
                <a:gd name="T22" fmla="*/ 0 w 527"/>
                <a:gd name="T23" fmla="*/ 0 h 322"/>
                <a:gd name="T24" fmla="*/ 0 w 527"/>
                <a:gd name="T25" fmla="*/ 0 h 322"/>
                <a:gd name="T26" fmla="*/ 0 w 527"/>
                <a:gd name="T27" fmla="*/ 0 h 322"/>
                <a:gd name="T28" fmla="*/ 0 w 527"/>
                <a:gd name="T29" fmla="*/ 0 h 322"/>
                <a:gd name="T30" fmla="*/ 0 w 527"/>
                <a:gd name="T31" fmla="*/ 0 h 32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527"/>
                <a:gd name="T49" fmla="*/ 0 h 322"/>
                <a:gd name="T50" fmla="*/ 527 w 527"/>
                <a:gd name="T51" fmla="*/ 322 h 32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527" h="322">
                  <a:moveTo>
                    <a:pt x="192" y="0"/>
                  </a:moveTo>
                  <a:cubicBezTo>
                    <a:pt x="228" y="12"/>
                    <a:pt x="283" y="52"/>
                    <a:pt x="395" y="84"/>
                  </a:cubicBezTo>
                  <a:cubicBezTo>
                    <a:pt x="411" y="84"/>
                    <a:pt x="463" y="84"/>
                    <a:pt x="479" y="96"/>
                  </a:cubicBezTo>
                  <a:cubicBezTo>
                    <a:pt x="491" y="136"/>
                    <a:pt x="499" y="176"/>
                    <a:pt x="507" y="216"/>
                  </a:cubicBezTo>
                  <a:cubicBezTo>
                    <a:pt x="511" y="228"/>
                    <a:pt x="527" y="252"/>
                    <a:pt x="527" y="252"/>
                  </a:cubicBezTo>
                  <a:cubicBezTo>
                    <a:pt x="490" y="253"/>
                    <a:pt x="484" y="250"/>
                    <a:pt x="443" y="267"/>
                  </a:cubicBezTo>
                  <a:cubicBezTo>
                    <a:pt x="423" y="271"/>
                    <a:pt x="375" y="292"/>
                    <a:pt x="375" y="292"/>
                  </a:cubicBezTo>
                  <a:cubicBezTo>
                    <a:pt x="334" y="294"/>
                    <a:pt x="314" y="303"/>
                    <a:pt x="277" y="304"/>
                  </a:cubicBezTo>
                  <a:cubicBezTo>
                    <a:pt x="242" y="308"/>
                    <a:pt x="206" y="314"/>
                    <a:pt x="170" y="318"/>
                  </a:cubicBezTo>
                  <a:cubicBezTo>
                    <a:pt x="113" y="315"/>
                    <a:pt x="100" y="322"/>
                    <a:pt x="8" y="312"/>
                  </a:cubicBezTo>
                  <a:cubicBezTo>
                    <a:pt x="0" y="312"/>
                    <a:pt x="16" y="288"/>
                    <a:pt x="16" y="288"/>
                  </a:cubicBezTo>
                  <a:cubicBezTo>
                    <a:pt x="28" y="180"/>
                    <a:pt x="8" y="180"/>
                    <a:pt x="96" y="156"/>
                  </a:cubicBezTo>
                  <a:cubicBezTo>
                    <a:pt x="112" y="140"/>
                    <a:pt x="124" y="124"/>
                    <a:pt x="144" y="116"/>
                  </a:cubicBezTo>
                  <a:cubicBezTo>
                    <a:pt x="160" y="96"/>
                    <a:pt x="164" y="84"/>
                    <a:pt x="176" y="64"/>
                  </a:cubicBezTo>
                  <a:cubicBezTo>
                    <a:pt x="180" y="56"/>
                    <a:pt x="192" y="40"/>
                    <a:pt x="192" y="40"/>
                  </a:cubicBezTo>
                  <a:cubicBezTo>
                    <a:pt x="184" y="8"/>
                    <a:pt x="180" y="20"/>
                    <a:pt x="192" y="0"/>
                  </a:cubicBez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  <p:sp>
          <p:nvSpPr>
            <p:cNvPr id="275" name="Freeform 83"/>
            <p:cNvSpPr>
              <a:spLocks noChangeAspect="1"/>
            </p:cNvSpPr>
            <p:nvPr/>
          </p:nvSpPr>
          <p:spPr bwMode="auto">
            <a:xfrm>
              <a:off x="3124" y="2417"/>
              <a:ext cx="395" cy="383"/>
            </a:xfrm>
            <a:custGeom>
              <a:avLst/>
              <a:gdLst>
                <a:gd name="T0" fmla="*/ 0 w 1566"/>
                <a:gd name="T1" fmla="*/ 0 h 1516"/>
                <a:gd name="T2" fmla="*/ 0 w 1566"/>
                <a:gd name="T3" fmla="*/ 0 h 1516"/>
                <a:gd name="T4" fmla="*/ 0 w 1566"/>
                <a:gd name="T5" fmla="*/ 0 h 1516"/>
                <a:gd name="T6" fmla="*/ 0 w 1566"/>
                <a:gd name="T7" fmla="*/ 0 h 1516"/>
                <a:gd name="T8" fmla="*/ 0 w 1566"/>
                <a:gd name="T9" fmla="*/ 0 h 1516"/>
                <a:gd name="T10" fmla="*/ 0 w 1566"/>
                <a:gd name="T11" fmla="*/ 0 h 1516"/>
                <a:gd name="T12" fmla="*/ 0 w 1566"/>
                <a:gd name="T13" fmla="*/ 0 h 1516"/>
                <a:gd name="T14" fmla="*/ 0 w 1566"/>
                <a:gd name="T15" fmla="*/ 0 h 1516"/>
                <a:gd name="T16" fmla="*/ 0 w 1566"/>
                <a:gd name="T17" fmla="*/ 0 h 1516"/>
                <a:gd name="T18" fmla="*/ 0 w 1566"/>
                <a:gd name="T19" fmla="*/ 0 h 1516"/>
                <a:gd name="T20" fmla="*/ 0 w 1566"/>
                <a:gd name="T21" fmla="*/ 0 h 1516"/>
                <a:gd name="T22" fmla="*/ 0 w 1566"/>
                <a:gd name="T23" fmla="*/ 0 h 1516"/>
                <a:gd name="T24" fmla="*/ 0 w 1566"/>
                <a:gd name="T25" fmla="*/ 0 h 1516"/>
                <a:gd name="T26" fmla="*/ 0 w 1566"/>
                <a:gd name="T27" fmla="*/ 0 h 1516"/>
                <a:gd name="T28" fmla="*/ 0 w 1566"/>
                <a:gd name="T29" fmla="*/ 0 h 1516"/>
                <a:gd name="T30" fmla="*/ 0 w 1566"/>
                <a:gd name="T31" fmla="*/ 0 h 1516"/>
                <a:gd name="T32" fmla="*/ 0 w 1566"/>
                <a:gd name="T33" fmla="*/ 0 h 1516"/>
                <a:gd name="T34" fmla="*/ 0 w 1566"/>
                <a:gd name="T35" fmla="*/ 0 h 1516"/>
                <a:gd name="T36" fmla="*/ 0 w 1566"/>
                <a:gd name="T37" fmla="*/ 0 h 1516"/>
                <a:gd name="T38" fmla="*/ 0 w 1566"/>
                <a:gd name="T39" fmla="*/ 0 h 1516"/>
                <a:gd name="T40" fmla="*/ 0 w 1566"/>
                <a:gd name="T41" fmla="*/ 0 h 1516"/>
                <a:gd name="T42" fmla="*/ 0 w 1566"/>
                <a:gd name="T43" fmla="*/ 0 h 1516"/>
                <a:gd name="T44" fmla="*/ 0 w 1566"/>
                <a:gd name="T45" fmla="*/ 0 h 1516"/>
                <a:gd name="T46" fmla="*/ 0 w 1566"/>
                <a:gd name="T47" fmla="*/ 0 h 1516"/>
                <a:gd name="T48" fmla="*/ 0 w 1566"/>
                <a:gd name="T49" fmla="*/ 0 h 1516"/>
                <a:gd name="T50" fmla="*/ 0 w 1566"/>
                <a:gd name="T51" fmla="*/ 0 h 1516"/>
                <a:gd name="T52" fmla="*/ 0 w 1566"/>
                <a:gd name="T53" fmla="*/ 0 h 1516"/>
                <a:gd name="T54" fmla="*/ 0 w 1566"/>
                <a:gd name="T55" fmla="*/ 0 h 1516"/>
                <a:gd name="T56" fmla="*/ 0 w 1566"/>
                <a:gd name="T57" fmla="*/ 0 h 1516"/>
                <a:gd name="T58" fmla="*/ 0 w 1566"/>
                <a:gd name="T59" fmla="*/ 0 h 1516"/>
                <a:gd name="T60" fmla="*/ 0 w 1566"/>
                <a:gd name="T61" fmla="*/ 0 h 1516"/>
                <a:gd name="T62" fmla="*/ 0 w 1566"/>
                <a:gd name="T63" fmla="*/ 0 h 1516"/>
                <a:gd name="T64" fmla="*/ 0 w 1566"/>
                <a:gd name="T65" fmla="*/ 0 h 1516"/>
                <a:gd name="T66" fmla="*/ 0 w 1566"/>
                <a:gd name="T67" fmla="*/ 0 h 1516"/>
                <a:gd name="T68" fmla="*/ 0 w 1566"/>
                <a:gd name="T69" fmla="*/ 0 h 1516"/>
                <a:gd name="T70" fmla="*/ 0 w 1566"/>
                <a:gd name="T71" fmla="*/ 0 h 1516"/>
                <a:gd name="T72" fmla="*/ 0 w 1566"/>
                <a:gd name="T73" fmla="*/ 0 h 1516"/>
                <a:gd name="T74" fmla="*/ 0 w 1566"/>
                <a:gd name="T75" fmla="*/ 0 h 1516"/>
                <a:gd name="T76" fmla="*/ 0 w 1566"/>
                <a:gd name="T77" fmla="*/ 0 h 1516"/>
                <a:gd name="T78" fmla="*/ 0 w 1566"/>
                <a:gd name="T79" fmla="*/ 0 h 1516"/>
                <a:gd name="T80" fmla="*/ 0 w 1566"/>
                <a:gd name="T81" fmla="*/ 0 h 1516"/>
                <a:gd name="T82" fmla="*/ 0 w 1566"/>
                <a:gd name="T83" fmla="*/ 0 h 1516"/>
                <a:gd name="T84" fmla="*/ 0 w 1566"/>
                <a:gd name="T85" fmla="*/ 0 h 1516"/>
                <a:gd name="T86" fmla="*/ 0 w 1566"/>
                <a:gd name="T87" fmla="*/ 0 h 1516"/>
                <a:gd name="T88" fmla="*/ 0 w 1566"/>
                <a:gd name="T89" fmla="*/ 0 h 1516"/>
                <a:gd name="T90" fmla="*/ 0 w 1566"/>
                <a:gd name="T91" fmla="*/ 0 h 151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1566"/>
                <a:gd name="T139" fmla="*/ 0 h 1516"/>
                <a:gd name="T140" fmla="*/ 1566 w 1566"/>
                <a:gd name="T141" fmla="*/ 1516 h 151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1566" h="1516">
                  <a:moveTo>
                    <a:pt x="606" y="16"/>
                  </a:moveTo>
                  <a:cubicBezTo>
                    <a:pt x="598" y="44"/>
                    <a:pt x="602" y="36"/>
                    <a:pt x="586" y="52"/>
                  </a:cubicBezTo>
                  <a:cubicBezTo>
                    <a:pt x="574" y="68"/>
                    <a:pt x="546" y="104"/>
                    <a:pt x="542" y="120"/>
                  </a:cubicBezTo>
                  <a:cubicBezTo>
                    <a:pt x="554" y="136"/>
                    <a:pt x="554" y="140"/>
                    <a:pt x="550" y="160"/>
                  </a:cubicBezTo>
                  <a:cubicBezTo>
                    <a:pt x="538" y="160"/>
                    <a:pt x="486" y="152"/>
                    <a:pt x="466" y="160"/>
                  </a:cubicBezTo>
                  <a:cubicBezTo>
                    <a:pt x="450" y="168"/>
                    <a:pt x="442" y="188"/>
                    <a:pt x="422" y="196"/>
                  </a:cubicBezTo>
                  <a:cubicBezTo>
                    <a:pt x="418" y="208"/>
                    <a:pt x="410" y="232"/>
                    <a:pt x="410" y="232"/>
                  </a:cubicBezTo>
                  <a:cubicBezTo>
                    <a:pt x="406" y="264"/>
                    <a:pt x="402" y="268"/>
                    <a:pt x="394" y="292"/>
                  </a:cubicBezTo>
                  <a:cubicBezTo>
                    <a:pt x="398" y="300"/>
                    <a:pt x="398" y="312"/>
                    <a:pt x="406" y="316"/>
                  </a:cubicBezTo>
                  <a:cubicBezTo>
                    <a:pt x="414" y="320"/>
                    <a:pt x="430" y="324"/>
                    <a:pt x="430" y="324"/>
                  </a:cubicBezTo>
                  <a:cubicBezTo>
                    <a:pt x="466" y="360"/>
                    <a:pt x="430" y="360"/>
                    <a:pt x="406" y="376"/>
                  </a:cubicBezTo>
                  <a:cubicBezTo>
                    <a:pt x="390" y="388"/>
                    <a:pt x="398" y="384"/>
                    <a:pt x="382" y="388"/>
                  </a:cubicBezTo>
                  <a:cubicBezTo>
                    <a:pt x="362" y="420"/>
                    <a:pt x="350" y="456"/>
                    <a:pt x="322" y="484"/>
                  </a:cubicBezTo>
                  <a:cubicBezTo>
                    <a:pt x="318" y="496"/>
                    <a:pt x="326" y="520"/>
                    <a:pt x="326" y="520"/>
                  </a:cubicBezTo>
                  <a:cubicBezTo>
                    <a:pt x="314" y="552"/>
                    <a:pt x="318" y="536"/>
                    <a:pt x="314" y="564"/>
                  </a:cubicBezTo>
                  <a:cubicBezTo>
                    <a:pt x="314" y="584"/>
                    <a:pt x="314" y="608"/>
                    <a:pt x="318" y="628"/>
                  </a:cubicBezTo>
                  <a:cubicBezTo>
                    <a:pt x="322" y="648"/>
                    <a:pt x="354" y="660"/>
                    <a:pt x="362" y="684"/>
                  </a:cubicBezTo>
                  <a:cubicBezTo>
                    <a:pt x="358" y="696"/>
                    <a:pt x="362" y="700"/>
                    <a:pt x="346" y="700"/>
                  </a:cubicBezTo>
                  <a:cubicBezTo>
                    <a:pt x="334" y="700"/>
                    <a:pt x="310" y="680"/>
                    <a:pt x="310" y="680"/>
                  </a:cubicBezTo>
                  <a:cubicBezTo>
                    <a:pt x="314" y="660"/>
                    <a:pt x="310" y="656"/>
                    <a:pt x="290" y="664"/>
                  </a:cubicBezTo>
                  <a:cubicBezTo>
                    <a:pt x="274" y="680"/>
                    <a:pt x="270" y="696"/>
                    <a:pt x="254" y="708"/>
                  </a:cubicBezTo>
                  <a:cubicBezTo>
                    <a:pt x="214" y="704"/>
                    <a:pt x="230" y="708"/>
                    <a:pt x="206" y="732"/>
                  </a:cubicBezTo>
                  <a:cubicBezTo>
                    <a:pt x="206" y="736"/>
                    <a:pt x="202" y="740"/>
                    <a:pt x="202" y="744"/>
                  </a:cubicBezTo>
                  <a:cubicBezTo>
                    <a:pt x="202" y="748"/>
                    <a:pt x="214" y="748"/>
                    <a:pt x="214" y="752"/>
                  </a:cubicBezTo>
                  <a:cubicBezTo>
                    <a:pt x="218" y="772"/>
                    <a:pt x="190" y="772"/>
                    <a:pt x="178" y="776"/>
                  </a:cubicBezTo>
                  <a:cubicBezTo>
                    <a:pt x="174" y="796"/>
                    <a:pt x="150" y="804"/>
                    <a:pt x="130" y="808"/>
                  </a:cubicBezTo>
                  <a:cubicBezTo>
                    <a:pt x="122" y="804"/>
                    <a:pt x="118" y="792"/>
                    <a:pt x="110" y="792"/>
                  </a:cubicBezTo>
                  <a:cubicBezTo>
                    <a:pt x="98" y="792"/>
                    <a:pt x="70" y="808"/>
                    <a:pt x="62" y="816"/>
                  </a:cubicBezTo>
                  <a:cubicBezTo>
                    <a:pt x="42" y="828"/>
                    <a:pt x="24" y="820"/>
                    <a:pt x="0" y="820"/>
                  </a:cubicBezTo>
                  <a:cubicBezTo>
                    <a:pt x="22" y="849"/>
                    <a:pt x="2" y="860"/>
                    <a:pt x="14" y="888"/>
                  </a:cubicBezTo>
                  <a:cubicBezTo>
                    <a:pt x="10" y="903"/>
                    <a:pt x="67" y="1014"/>
                    <a:pt x="82" y="1040"/>
                  </a:cubicBezTo>
                  <a:cubicBezTo>
                    <a:pt x="90" y="1052"/>
                    <a:pt x="101" y="1072"/>
                    <a:pt x="105" y="1084"/>
                  </a:cubicBezTo>
                  <a:cubicBezTo>
                    <a:pt x="109" y="1096"/>
                    <a:pt x="124" y="1113"/>
                    <a:pt x="126" y="1120"/>
                  </a:cubicBezTo>
                  <a:cubicBezTo>
                    <a:pt x="122" y="1156"/>
                    <a:pt x="130" y="1164"/>
                    <a:pt x="106" y="1188"/>
                  </a:cubicBezTo>
                  <a:cubicBezTo>
                    <a:pt x="75" y="1201"/>
                    <a:pt x="65" y="1216"/>
                    <a:pt x="52" y="1237"/>
                  </a:cubicBezTo>
                  <a:cubicBezTo>
                    <a:pt x="39" y="1250"/>
                    <a:pt x="31" y="1254"/>
                    <a:pt x="27" y="1266"/>
                  </a:cubicBezTo>
                  <a:cubicBezTo>
                    <a:pt x="23" y="1278"/>
                    <a:pt x="31" y="1300"/>
                    <a:pt x="30" y="1312"/>
                  </a:cubicBezTo>
                  <a:cubicBezTo>
                    <a:pt x="36" y="1342"/>
                    <a:pt x="51" y="1328"/>
                    <a:pt x="91" y="1336"/>
                  </a:cubicBezTo>
                  <a:cubicBezTo>
                    <a:pt x="106" y="1347"/>
                    <a:pt x="118" y="1348"/>
                    <a:pt x="126" y="1368"/>
                  </a:cubicBezTo>
                  <a:cubicBezTo>
                    <a:pt x="122" y="1416"/>
                    <a:pt x="114" y="1476"/>
                    <a:pt x="142" y="1516"/>
                  </a:cubicBezTo>
                  <a:cubicBezTo>
                    <a:pt x="158" y="1512"/>
                    <a:pt x="142" y="1492"/>
                    <a:pt x="163" y="1485"/>
                  </a:cubicBezTo>
                  <a:cubicBezTo>
                    <a:pt x="171" y="1465"/>
                    <a:pt x="185" y="1466"/>
                    <a:pt x="205" y="1458"/>
                  </a:cubicBezTo>
                  <a:cubicBezTo>
                    <a:pt x="209" y="1454"/>
                    <a:pt x="215" y="1450"/>
                    <a:pt x="219" y="1446"/>
                  </a:cubicBezTo>
                  <a:cubicBezTo>
                    <a:pt x="223" y="1442"/>
                    <a:pt x="228" y="1430"/>
                    <a:pt x="232" y="1426"/>
                  </a:cubicBezTo>
                  <a:cubicBezTo>
                    <a:pt x="264" y="1416"/>
                    <a:pt x="247" y="1392"/>
                    <a:pt x="290" y="1368"/>
                  </a:cubicBezTo>
                  <a:cubicBezTo>
                    <a:pt x="310" y="1356"/>
                    <a:pt x="357" y="1339"/>
                    <a:pt x="357" y="1339"/>
                  </a:cubicBezTo>
                  <a:cubicBezTo>
                    <a:pt x="379" y="1339"/>
                    <a:pt x="394" y="1332"/>
                    <a:pt x="418" y="1336"/>
                  </a:cubicBezTo>
                  <a:cubicBezTo>
                    <a:pt x="454" y="1335"/>
                    <a:pt x="472" y="1335"/>
                    <a:pt x="498" y="1309"/>
                  </a:cubicBezTo>
                  <a:cubicBezTo>
                    <a:pt x="535" y="1312"/>
                    <a:pt x="582" y="1305"/>
                    <a:pt x="616" y="1308"/>
                  </a:cubicBezTo>
                  <a:cubicBezTo>
                    <a:pt x="630" y="1317"/>
                    <a:pt x="678" y="1318"/>
                    <a:pt x="700" y="1320"/>
                  </a:cubicBezTo>
                  <a:cubicBezTo>
                    <a:pt x="721" y="1333"/>
                    <a:pt x="729" y="1317"/>
                    <a:pt x="750" y="1296"/>
                  </a:cubicBezTo>
                  <a:cubicBezTo>
                    <a:pt x="750" y="1318"/>
                    <a:pt x="769" y="1350"/>
                    <a:pt x="777" y="1350"/>
                  </a:cubicBezTo>
                  <a:cubicBezTo>
                    <a:pt x="789" y="1344"/>
                    <a:pt x="783" y="1329"/>
                    <a:pt x="855" y="1330"/>
                  </a:cubicBezTo>
                  <a:cubicBezTo>
                    <a:pt x="863" y="1334"/>
                    <a:pt x="859" y="1365"/>
                    <a:pt x="867" y="1365"/>
                  </a:cubicBezTo>
                  <a:cubicBezTo>
                    <a:pt x="875" y="1361"/>
                    <a:pt x="898" y="1344"/>
                    <a:pt x="898" y="1344"/>
                  </a:cubicBezTo>
                  <a:cubicBezTo>
                    <a:pt x="902" y="1336"/>
                    <a:pt x="914" y="1316"/>
                    <a:pt x="922" y="1312"/>
                  </a:cubicBezTo>
                  <a:cubicBezTo>
                    <a:pt x="924" y="1291"/>
                    <a:pt x="964" y="1305"/>
                    <a:pt x="964" y="1305"/>
                  </a:cubicBezTo>
                  <a:cubicBezTo>
                    <a:pt x="976" y="1309"/>
                    <a:pt x="994" y="1304"/>
                    <a:pt x="1006" y="1308"/>
                  </a:cubicBezTo>
                  <a:cubicBezTo>
                    <a:pt x="1012" y="1335"/>
                    <a:pt x="1013" y="1346"/>
                    <a:pt x="1041" y="1350"/>
                  </a:cubicBezTo>
                  <a:cubicBezTo>
                    <a:pt x="1047" y="1323"/>
                    <a:pt x="1066" y="1293"/>
                    <a:pt x="1089" y="1266"/>
                  </a:cubicBezTo>
                  <a:cubicBezTo>
                    <a:pt x="1108" y="1264"/>
                    <a:pt x="1122" y="1252"/>
                    <a:pt x="1132" y="1261"/>
                  </a:cubicBezTo>
                  <a:cubicBezTo>
                    <a:pt x="1144" y="1271"/>
                    <a:pt x="1125" y="1305"/>
                    <a:pt x="1162" y="1327"/>
                  </a:cubicBezTo>
                  <a:cubicBezTo>
                    <a:pt x="1206" y="1315"/>
                    <a:pt x="1159" y="1267"/>
                    <a:pt x="1222" y="1275"/>
                  </a:cubicBezTo>
                  <a:cubicBezTo>
                    <a:pt x="1236" y="1275"/>
                    <a:pt x="1254" y="1241"/>
                    <a:pt x="1270" y="1236"/>
                  </a:cubicBezTo>
                  <a:cubicBezTo>
                    <a:pt x="1309" y="1252"/>
                    <a:pt x="1327" y="1269"/>
                    <a:pt x="1334" y="1284"/>
                  </a:cubicBezTo>
                  <a:cubicBezTo>
                    <a:pt x="1354" y="1288"/>
                    <a:pt x="1389" y="1296"/>
                    <a:pt x="1386" y="1261"/>
                  </a:cubicBezTo>
                  <a:cubicBezTo>
                    <a:pt x="1387" y="1254"/>
                    <a:pt x="1395" y="1246"/>
                    <a:pt x="1392" y="1237"/>
                  </a:cubicBezTo>
                  <a:cubicBezTo>
                    <a:pt x="1389" y="1228"/>
                    <a:pt x="1378" y="1236"/>
                    <a:pt x="1369" y="1204"/>
                  </a:cubicBezTo>
                  <a:cubicBezTo>
                    <a:pt x="1357" y="1140"/>
                    <a:pt x="1370" y="1072"/>
                    <a:pt x="1426" y="1036"/>
                  </a:cubicBezTo>
                  <a:cubicBezTo>
                    <a:pt x="1434" y="1016"/>
                    <a:pt x="1450" y="1017"/>
                    <a:pt x="1447" y="1000"/>
                  </a:cubicBezTo>
                  <a:cubicBezTo>
                    <a:pt x="1491" y="999"/>
                    <a:pt x="1507" y="982"/>
                    <a:pt x="1537" y="975"/>
                  </a:cubicBezTo>
                  <a:cubicBezTo>
                    <a:pt x="1533" y="955"/>
                    <a:pt x="1518" y="940"/>
                    <a:pt x="1498" y="928"/>
                  </a:cubicBezTo>
                  <a:cubicBezTo>
                    <a:pt x="1482" y="904"/>
                    <a:pt x="1466" y="884"/>
                    <a:pt x="1438" y="876"/>
                  </a:cubicBezTo>
                  <a:cubicBezTo>
                    <a:pt x="1418" y="848"/>
                    <a:pt x="1386" y="772"/>
                    <a:pt x="1374" y="748"/>
                  </a:cubicBezTo>
                  <a:cubicBezTo>
                    <a:pt x="1370" y="740"/>
                    <a:pt x="1358" y="724"/>
                    <a:pt x="1358" y="724"/>
                  </a:cubicBezTo>
                  <a:cubicBezTo>
                    <a:pt x="1378" y="684"/>
                    <a:pt x="1462" y="680"/>
                    <a:pt x="1498" y="680"/>
                  </a:cubicBezTo>
                  <a:cubicBezTo>
                    <a:pt x="1514" y="676"/>
                    <a:pt x="1518" y="664"/>
                    <a:pt x="1534" y="660"/>
                  </a:cubicBezTo>
                  <a:cubicBezTo>
                    <a:pt x="1542" y="652"/>
                    <a:pt x="1554" y="648"/>
                    <a:pt x="1558" y="640"/>
                  </a:cubicBezTo>
                  <a:cubicBezTo>
                    <a:pt x="1562" y="632"/>
                    <a:pt x="1566" y="616"/>
                    <a:pt x="1566" y="616"/>
                  </a:cubicBezTo>
                  <a:cubicBezTo>
                    <a:pt x="1558" y="540"/>
                    <a:pt x="1566" y="584"/>
                    <a:pt x="1522" y="556"/>
                  </a:cubicBezTo>
                  <a:cubicBezTo>
                    <a:pt x="1490" y="512"/>
                    <a:pt x="1426" y="512"/>
                    <a:pt x="1378" y="508"/>
                  </a:cubicBezTo>
                  <a:cubicBezTo>
                    <a:pt x="1358" y="480"/>
                    <a:pt x="1354" y="440"/>
                    <a:pt x="1318" y="432"/>
                  </a:cubicBezTo>
                  <a:cubicBezTo>
                    <a:pt x="1274" y="436"/>
                    <a:pt x="1282" y="436"/>
                    <a:pt x="1250" y="416"/>
                  </a:cubicBezTo>
                  <a:cubicBezTo>
                    <a:pt x="1246" y="392"/>
                    <a:pt x="1234" y="368"/>
                    <a:pt x="1210" y="360"/>
                  </a:cubicBezTo>
                  <a:cubicBezTo>
                    <a:pt x="1202" y="332"/>
                    <a:pt x="1154" y="320"/>
                    <a:pt x="1134" y="292"/>
                  </a:cubicBezTo>
                  <a:cubicBezTo>
                    <a:pt x="1118" y="236"/>
                    <a:pt x="1118" y="212"/>
                    <a:pt x="1086" y="168"/>
                  </a:cubicBezTo>
                  <a:cubicBezTo>
                    <a:pt x="1082" y="124"/>
                    <a:pt x="1078" y="48"/>
                    <a:pt x="1046" y="16"/>
                  </a:cubicBezTo>
                  <a:cubicBezTo>
                    <a:pt x="978" y="20"/>
                    <a:pt x="974" y="48"/>
                    <a:pt x="926" y="64"/>
                  </a:cubicBezTo>
                  <a:cubicBezTo>
                    <a:pt x="914" y="80"/>
                    <a:pt x="906" y="80"/>
                    <a:pt x="890" y="84"/>
                  </a:cubicBezTo>
                  <a:cubicBezTo>
                    <a:pt x="878" y="80"/>
                    <a:pt x="854" y="64"/>
                    <a:pt x="854" y="64"/>
                  </a:cubicBezTo>
                  <a:cubicBezTo>
                    <a:pt x="818" y="8"/>
                    <a:pt x="746" y="32"/>
                    <a:pt x="682" y="28"/>
                  </a:cubicBezTo>
                  <a:cubicBezTo>
                    <a:pt x="666" y="24"/>
                    <a:pt x="614" y="0"/>
                    <a:pt x="606" y="16"/>
                  </a:cubicBez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  <p:sp>
          <p:nvSpPr>
            <p:cNvPr id="276" name="Freeform 84"/>
            <p:cNvSpPr>
              <a:spLocks noChangeAspect="1"/>
            </p:cNvSpPr>
            <p:nvPr/>
          </p:nvSpPr>
          <p:spPr bwMode="auto">
            <a:xfrm>
              <a:off x="3135" y="2619"/>
              <a:ext cx="840" cy="578"/>
            </a:xfrm>
            <a:custGeom>
              <a:avLst/>
              <a:gdLst>
                <a:gd name="T0" fmla="*/ 0 w 3327"/>
                <a:gd name="T1" fmla="*/ 0 h 2288"/>
                <a:gd name="T2" fmla="*/ 0 w 3327"/>
                <a:gd name="T3" fmla="*/ 0 h 2288"/>
                <a:gd name="T4" fmla="*/ 0 w 3327"/>
                <a:gd name="T5" fmla="*/ 0 h 2288"/>
                <a:gd name="T6" fmla="*/ 0 w 3327"/>
                <a:gd name="T7" fmla="*/ 0 h 2288"/>
                <a:gd name="T8" fmla="*/ 0 w 3327"/>
                <a:gd name="T9" fmla="*/ 0 h 2288"/>
                <a:gd name="T10" fmla="*/ 0 w 3327"/>
                <a:gd name="T11" fmla="*/ 0 h 2288"/>
                <a:gd name="T12" fmla="*/ 0 w 3327"/>
                <a:gd name="T13" fmla="*/ 0 h 2288"/>
                <a:gd name="T14" fmla="*/ 0 w 3327"/>
                <a:gd name="T15" fmla="*/ 0 h 2288"/>
                <a:gd name="T16" fmla="*/ 0 w 3327"/>
                <a:gd name="T17" fmla="*/ 0 h 2288"/>
                <a:gd name="T18" fmla="*/ 0 w 3327"/>
                <a:gd name="T19" fmla="*/ 0 h 2288"/>
                <a:gd name="T20" fmla="*/ 0 w 3327"/>
                <a:gd name="T21" fmla="*/ 0 h 2288"/>
                <a:gd name="T22" fmla="*/ 0 w 3327"/>
                <a:gd name="T23" fmla="*/ 0 h 2288"/>
                <a:gd name="T24" fmla="*/ 0 w 3327"/>
                <a:gd name="T25" fmla="*/ 0 h 2288"/>
                <a:gd name="T26" fmla="*/ 0 w 3327"/>
                <a:gd name="T27" fmla="*/ 0 h 2288"/>
                <a:gd name="T28" fmla="*/ 0 w 3327"/>
                <a:gd name="T29" fmla="*/ 0 h 2288"/>
                <a:gd name="T30" fmla="*/ 0 w 3327"/>
                <a:gd name="T31" fmla="*/ 0 h 2288"/>
                <a:gd name="T32" fmla="*/ 0 w 3327"/>
                <a:gd name="T33" fmla="*/ 0 h 2288"/>
                <a:gd name="T34" fmla="*/ 0 w 3327"/>
                <a:gd name="T35" fmla="*/ 0 h 2288"/>
                <a:gd name="T36" fmla="*/ 0 w 3327"/>
                <a:gd name="T37" fmla="*/ 0 h 2288"/>
                <a:gd name="T38" fmla="*/ 0 w 3327"/>
                <a:gd name="T39" fmla="*/ 0 h 2288"/>
                <a:gd name="T40" fmla="*/ 0 w 3327"/>
                <a:gd name="T41" fmla="*/ 0 h 2288"/>
                <a:gd name="T42" fmla="*/ 0 w 3327"/>
                <a:gd name="T43" fmla="*/ 0 h 2288"/>
                <a:gd name="T44" fmla="*/ 0 w 3327"/>
                <a:gd name="T45" fmla="*/ 0 h 2288"/>
                <a:gd name="T46" fmla="*/ 0 w 3327"/>
                <a:gd name="T47" fmla="*/ 0 h 2288"/>
                <a:gd name="T48" fmla="*/ 0 w 3327"/>
                <a:gd name="T49" fmla="*/ 0 h 2288"/>
                <a:gd name="T50" fmla="*/ 0 w 3327"/>
                <a:gd name="T51" fmla="*/ 0 h 2288"/>
                <a:gd name="T52" fmla="*/ 0 w 3327"/>
                <a:gd name="T53" fmla="*/ 0 h 2288"/>
                <a:gd name="T54" fmla="*/ 0 w 3327"/>
                <a:gd name="T55" fmla="*/ 0 h 2288"/>
                <a:gd name="T56" fmla="*/ 0 w 3327"/>
                <a:gd name="T57" fmla="*/ 0 h 2288"/>
                <a:gd name="T58" fmla="*/ 0 w 3327"/>
                <a:gd name="T59" fmla="*/ 0 h 2288"/>
                <a:gd name="T60" fmla="*/ 0 w 3327"/>
                <a:gd name="T61" fmla="*/ 0 h 2288"/>
                <a:gd name="T62" fmla="*/ 0 w 3327"/>
                <a:gd name="T63" fmla="*/ 0 h 2288"/>
                <a:gd name="T64" fmla="*/ 0 w 3327"/>
                <a:gd name="T65" fmla="*/ 0 h 2288"/>
                <a:gd name="T66" fmla="*/ 0 w 3327"/>
                <a:gd name="T67" fmla="*/ 0 h 2288"/>
                <a:gd name="T68" fmla="*/ 0 w 3327"/>
                <a:gd name="T69" fmla="*/ 0 h 2288"/>
                <a:gd name="T70" fmla="*/ 0 w 3327"/>
                <a:gd name="T71" fmla="*/ 0 h 2288"/>
                <a:gd name="T72" fmla="*/ 0 w 3327"/>
                <a:gd name="T73" fmla="*/ 0 h 2288"/>
                <a:gd name="T74" fmla="*/ 0 w 3327"/>
                <a:gd name="T75" fmla="*/ 0 h 2288"/>
                <a:gd name="T76" fmla="*/ 0 w 3327"/>
                <a:gd name="T77" fmla="*/ 0 h 2288"/>
                <a:gd name="T78" fmla="*/ 0 w 3327"/>
                <a:gd name="T79" fmla="*/ 0 h 2288"/>
                <a:gd name="T80" fmla="*/ 0 w 3327"/>
                <a:gd name="T81" fmla="*/ 0 h 2288"/>
                <a:gd name="T82" fmla="*/ 0 w 3327"/>
                <a:gd name="T83" fmla="*/ 0 h 2288"/>
                <a:gd name="T84" fmla="*/ 0 w 3327"/>
                <a:gd name="T85" fmla="*/ 0 h 2288"/>
                <a:gd name="T86" fmla="*/ 0 w 3327"/>
                <a:gd name="T87" fmla="*/ 0 h 2288"/>
                <a:gd name="T88" fmla="*/ 0 w 3327"/>
                <a:gd name="T89" fmla="*/ 0 h 2288"/>
                <a:gd name="T90" fmla="*/ 0 w 3327"/>
                <a:gd name="T91" fmla="*/ 0 h 2288"/>
                <a:gd name="T92" fmla="*/ 0 w 3327"/>
                <a:gd name="T93" fmla="*/ 0 h 2288"/>
                <a:gd name="T94" fmla="*/ 0 w 3327"/>
                <a:gd name="T95" fmla="*/ 0 h 2288"/>
                <a:gd name="T96" fmla="*/ 0 w 3327"/>
                <a:gd name="T97" fmla="*/ 0 h 2288"/>
                <a:gd name="T98" fmla="*/ 0 w 3327"/>
                <a:gd name="T99" fmla="*/ 0 h 2288"/>
                <a:gd name="T100" fmla="*/ 0 w 3327"/>
                <a:gd name="T101" fmla="*/ 0 h 2288"/>
                <a:gd name="T102" fmla="*/ 0 w 3327"/>
                <a:gd name="T103" fmla="*/ 0 h 2288"/>
                <a:gd name="T104" fmla="*/ 0 w 3327"/>
                <a:gd name="T105" fmla="*/ 0 h 2288"/>
                <a:gd name="T106" fmla="*/ 0 w 3327"/>
                <a:gd name="T107" fmla="*/ 0 h 2288"/>
                <a:gd name="T108" fmla="*/ 0 w 3327"/>
                <a:gd name="T109" fmla="*/ 0 h 228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3327"/>
                <a:gd name="T166" fmla="*/ 0 h 2288"/>
                <a:gd name="T167" fmla="*/ 3327 w 3327"/>
                <a:gd name="T168" fmla="*/ 2288 h 228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3327" h="2288">
                  <a:moveTo>
                    <a:pt x="1407" y="204"/>
                  </a:moveTo>
                  <a:cubicBezTo>
                    <a:pt x="1403" y="204"/>
                    <a:pt x="1407" y="212"/>
                    <a:pt x="1403" y="216"/>
                  </a:cubicBezTo>
                  <a:cubicBezTo>
                    <a:pt x="1391" y="236"/>
                    <a:pt x="1379" y="248"/>
                    <a:pt x="1359" y="260"/>
                  </a:cubicBezTo>
                  <a:cubicBezTo>
                    <a:pt x="1351" y="272"/>
                    <a:pt x="1347" y="284"/>
                    <a:pt x="1335" y="296"/>
                  </a:cubicBezTo>
                  <a:cubicBezTo>
                    <a:pt x="1331" y="308"/>
                    <a:pt x="1323" y="332"/>
                    <a:pt x="1323" y="332"/>
                  </a:cubicBezTo>
                  <a:cubicBezTo>
                    <a:pt x="1323" y="364"/>
                    <a:pt x="1315" y="416"/>
                    <a:pt x="1347" y="440"/>
                  </a:cubicBezTo>
                  <a:cubicBezTo>
                    <a:pt x="1339" y="492"/>
                    <a:pt x="1339" y="500"/>
                    <a:pt x="1291" y="484"/>
                  </a:cubicBezTo>
                  <a:cubicBezTo>
                    <a:pt x="1279" y="468"/>
                    <a:pt x="1251" y="448"/>
                    <a:pt x="1231" y="440"/>
                  </a:cubicBezTo>
                  <a:cubicBezTo>
                    <a:pt x="1203" y="444"/>
                    <a:pt x="1215" y="452"/>
                    <a:pt x="1195" y="464"/>
                  </a:cubicBezTo>
                  <a:cubicBezTo>
                    <a:pt x="1187" y="484"/>
                    <a:pt x="1183" y="480"/>
                    <a:pt x="1163" y="476"/>
                  </a:cubicBezTo>
                  <a:cubicBezTo>
                    <a:pt x="1131" y="484"/>
                    <a:pt x="1151" y="516"/>
                    <a:pt x="1119" y="528"/>
                  </a:cubicBezTo>
                  <a:cubicBezTo>
                    <a:pt x="1087" y="516"/>
                    <a:pt x="1095" y="492"/>
                    <a:pt x="1087" y="464"/>
                  </a:cubicBezTo>
                  <a:cubicBezTo>
                    <a:pt x="1027" y="468"/>
                    <a:pt x="1055" y="464"/>
                    <a:pt x="1027" y="492"/>
                  </a:cubicBezTo>
                  <a:cubicBezTo>
                    <a:pt x="1023" y="508"/>
                    <a:pt x="1011" y="516"/>
                    <a:pt x="1003" y="528"/>
                  </a:cubicBezTo>
                  <a:cubicBezTo>
                    <a:pt x="999" y="552"/>
                    <a:pt x="995" y="556"/>
                    <a:pt x="975" y="548"/>
                  </a:cubicBezTo>
                  <a:cubicBezTo>
                    <a:pt x="959" y="504"/>
                    <a:pt x="975" y="512"/>
                    <a:pt x="923" y="508"/>
                  </a:cubicBezTo>
                  <a:cubicBezTo>
                    <a:pt x="907" y="504"/>
                    <a:pt x="899" y="500"/>
                    <a:pt x="883" y="504"/>
                  </a:cubicBezTo>
                  <a:cubicBezTo>
                    <a:pt x="871" y="540"/>
                    <a:pt x="847" y="548"/>
                    <a:pt x="823" y="572"/>
                  </a:cubicBezTo>
                  <a:cubicBezTo>
                    <a:pt x="811" y="532"/>
                    <a:pt x="823" y="532"/>
                    <a:pt x="771" y="536"/>
                  </a:cubicBezTo>
                  <a:cubicBezTo>
                    <a:pt x="755" y="540"/>
                    <a:pt x="747" y="548"/>
                    <a:pt x="731" y="552"/>
                  </a:cubicBezTo>
                  <a:cubicBezTo>
                    <a:pt x="711" y="524"/>
                    <a:pt x="714" y="529"/>
                    <a:pt x="710" y="501"/>
                  </a:cubicBezTo>
                  <a:cubicBezTo>
                    <a:pt x="694" y="505"/>
                    <a:pt x="695" y="524"/>
                    <a:pt x="675" y="528"/>
                  </a:cubicBezTo>
                  <a:cubicBezTo>
                    <a:pt x="575" y="516"/>
                    <a:pt x="611" y="528"/>
                    <a:pt x="567" y="512"/>
                  </a:cubicBezTo>
                  <a:cubicBezTo>
                    <a:pt x="527" y="516"/>
                    <a:pt x="491" y="512"/>
                    <a:pt x="451" y="516"/>
                  </a:cubicBezTo>
                  <a:cubicBezTo>
                    <a:pt x="415" y="552"/>
                    <a:pt x="359" y="540"/>
                    <a:pt x="315" y="540"/>
                  </a:cubicBezTo>
                  <a:cubicBezTo>
                    <a:pt x="291" y="552"/>
                    <a:pt x="263" y="568"/>
                    <a:pt x="235" y="576"/>
                  </a:cubicBezTo>
                  <a:cubicBezTo>
                    <a:pt x="219" y="592"/>
                    <a:pt x="211" y="616"/>
                    <a:pt x="187" y="632"/>
                  </a:cubicBezTo>
                  <a:cubicBezTo>
                    <a:pt x="167" y="660"/>
                    <a:pt x="179" y="652"/>
                    <a:pt x="159" y="660"/>
                  </a:cubicBezTo>
                  <a:cubicBezTo>
                    <a:pt x="151" y="672"/>
                    <a:pt x="115" y="684"/>
                    <a:pt x="115" y="684"/>
                  </a:cubicBezTo>
                  <a:cubicBezTo>
                    <a:pt x="110" y="707"/>
                    <a:pt x="107" y="714"/>
                    <a:pt x="98" y="723"/>
                  </a:cubicBezTo>
                  <a:cubicBezTo>
                    <a:pt x="108" y="740"/>
                    <a:pt x="111" y="764"/>
                    <a:pt x="114" y="778"/>
                  </a:cubicBezTo>
                  <a:cubicBezTo>
                    <a:pt x="123" y="793"/>
                    <a:pt x="148" y="796"/>
                    <a:pt x="161" y="810"/>
                  </a:cubicBezTo>
                  <a:cubicBezTo>
                    <a:pt x="169" y="818"/>
                    <a:pt x="177" y="837"/>
                    <a:pt x="183" y="849"/>
                  </a:cubicBezTo>
                  <a:cubicBezTo>
                    <a:pt x="209" y="851"/>
                    <a:pt x="221" y="864"/>
                    <a:pt x="221" y="872"/>
                  </a:cubicBezTo>
                  <a:cubicBezTo>
                    <a:pt x="228" y="908"/>
                    <a:pt x="236" y="933"/>
                    <a:pt x="235" y="956"/>
                  </a:cubicBezTo>
                  <a:cubicBezTo>
                    <a:pt x="235" y="964"/>
                    <a:pt x="239" y="1004"/>
                    <a:pt x="231" y="1012"/>
                  </a:cubicBezTo>
                  <a:cubicBezTo>
                    <a:pt x="215" y="1038"/>
                    <a:pt x="161" y="1092"/>
                    <a:pt x="139" y="1116"/>
                  </a:cubicBezTo>
                  <a:cubicBezTo>
                    <a:pt x="135" y="1132"/>
                    <a:pt x="105" y="1139"/>
                    <a:pt x="99" y="1156"/>
                  </a:cubicBezTo>
                  <a:cubicBezTo>
                    <a:pt x="87" y="1178"/>
                    <a:pt x="87" y="1228"/>
                    <a:pt x="77" y="1253"/>
                  </a:cubicBezTo>
                  <a:cubicBezTo>
                    <a:pt x="67" y="1278"/>
                    <a:pt x="44" y="1290"/>
                    <a:pt x="39" y="1304"/>
                  </a:cubicBezTo>
                  <a:cubicBezTo>
                    <a:pt x="35" y="1316"/>
                    <a:pt x="44" y="1340"/>
                    <a:pt x="44" y="1340"/>
                  </a:cubicBezTo>
                  <a:cubicBezTo>
                    <a:pt x="65" y="1394"/>
                    <a:pt x="63" y="1400"/>
                    <a:pt x="79" y="1448"/>
                  </a:cubicBezTo>
                  <a:cubicBezTo>
                    <a:pt x="59" y="1456"/>
                    <a:pt x="57" y="1479"/>
                    <a:pt x="53" y="1493"/>
                  </a:cubicBezTo>
                  <a:cubicBezTo>
                    <a:pt x="35" y="1509"/>
                    <a:pt x="19" y="1544"/>
                    <a:pt x="19" y="1544"/>
                  </a:cubicBezTo>
                  <a:cubicBezTo>
                    <a:pt x="15" y="1596"/>
                    <a:pt x="8" y="1638"/>
                    <a:pt x="0" y="1664"/>
                  </a:cubicBezTo>
                  <a:cubicBezTo>
                    <a:pt x="18" y="1683"/>
                    <a:pt x="21" y="1685"/>
                    <a:pt x="29" y="1700"/>
                  </a:cubicBezTo>
                  <a:cubicBezTo>
                    <a:pt x="56" y="1698"/>
                    <a:pt x="115" y="1703"/>
                    <a:pt x="139" y="1712"/>
                  </a:cubicBezTo>
                  <a:cubicBezTo>
                    <a:pt x="159" y="1742"/>
                    <a:pt x="155" y="1752"/>
                    <a:pt x="161" y="1773"/>
                  </a:cubicBezTo>
                  <a:cubicBezTo>
                    <a:pt x="213" y="1671"/>
                    <a:pt x="279" y="1743"/>
                    <a:pt x="348" y="1728"/>
                  </a:cubicBezTo>
                  <a:cubicBezTo>
                    <a:pt x="408" y="1732"/>
                    <a:pt x="476" y="1735"/>
                    <a:pt x="536" y="1739"/>
                  </a:cubicBezTo>
                  <a:cubicBezTo>
                    <a:pt x="572" y="1719"/>
                    <a:pt x="575" y="1713"/>
                    <a:pt x="618" y="1704"/>
                  </a:cubicBezTo>
                  <a:cubicBezTo>
                    <a:pt x="646" y="1688"/>
                    <a:pt x="695" y="1668"/>
                    <a:pt x="723" y="1656"/>
                  </a:cubicBezTo>
                  <a:cubicBezTo>
                    <a:pt x="735" y="1616"/>
                    <a:pt x="774" y="1616"/>
                    <a:pt x="810" y="1604"/>
                  </a:cubicBezTo>
                  <a:cubicBezTo>
                    <a:pt x="822" y="1566"/>
                    <a:pt x="843" y="1538"/>
                    <a:pt x="902" y="1529"/>
                  </a:cubicBezTo>
                  <a:cubicBezTo>
                    <a:pt x="896" y="1515"/>
                    <a:pt x="871" y="1517"/>
                    <a:pt x="879" y="1505"/>
                  </a:cubicBezTo>
                  <a:cubicBezTo>
                    <a:pt x="878" y="1482"/>
                    <a:pt x="875" y="1464"/>
                    <a:pt x="919" y="1468"/>
                  </a:cubicBezTo>
                  <a:cubicBezTo>
                    <a:pt x="939" y="1464"/>
                    <a:pt x="971" y="1461"/>
                    <a:pt x="978" y="1430"/>
                  </a:cubicBezTo>
                  <a:cubicBezTo>
                    <a:pt x="1010" y="1424"/>
                    <a:pt x="1030" y="1420"/>
                    <a:pt x="1062" y="1416"/>
                  </a:cubicBezTo>
                  <a:cubicBezTo>
                    <a:pt x="1083" y="1424"/>
                    <a:pt x="1079" y="1424"/>
                    <a:pt x="1095" y="1436"/>
                  </a:cubicBezTo>
                  <a:cubicBezTo>
                    <a:pt x="1107" y="1448"/>
                    <a:pt x="1132" y="1452"/>
                    <a:pt x="1148" y="1452"/>
                  </a:cubicBezTo>
                  <a:cubicBezTo>
                    <a:pt x="1199" y="1472"/>
                    <a:pt x="1194" y="1470"/>
                    <a:pt x="1260" y="1466"/>
                  </a:cubicBezTo>
                  <a:cubicBezTo>
                    <a:pt x="1280" y="1474"/>
                    <a:pt x="1273" y="1475"/>
                    <a:pt x="1289" y="1487"/>
                  </a:cubicBezTo>
                  <a:cubicBezTo>
                    <a:pt x="1371" y="1491"/>
                    <a:pt x="1383" y="1499"/>
                    <a:pt x="1388" y="1538"/>
                  </a:cubicBezTo>
                  <a:cubicBezTo>
                    <a:pt x="1376" y="1604"/>
                    <a:pt x="1370" y="1614"/>
                    <a:pt x="1395" y="1612"/>
                  </a:cubicBezTo>
                  <a:cubicBezTo>
                    <a:pt x="1403" y="1628"/>
                    <a:pt x="1416" y="1620"/>
                    <a:pt x="1427" y="1640"/>
                  </a:cubicBezTo>
                  <a:cubicBezTo>
                    <a:pt x="1439" y="1644"/>
                    <a:pt x="1476" y="1649"/>
                    <a:pt x="1476" y="1649"/>
                  </a:cubicBezTo>
                  <a:cubicBezTo>
                    <a:pt x="1492" y="1673"/>
                    <a:pt x="1491" y="1720"/>
                    <a:pt x="1515" y="1736"/>
                  </a:cubicBezTo>
                  <a:cubicBezTo>
                    <a:pt x="1523" y="1760"/>
                    <a:pt x="1535" y="1760"/>
                    <a:pt x="1539" y="1780"/>
                  </a:cubicBezTo>
                  <a:cubicBezTo>
                    <a:pt x="1546" y="1791"/>
                    <a:pt x="1548" y="1787"/>
                    <a:pt x="1557" y="1802"/>
                  </a:cubicBezTo>
                  <a:cubicBezTo>
                    <a:pt x="1590" y="1821"/>
                    <a:pt x="1617" y="1845"/>
                    <a:pt x="1637" y="1859"/>
                  </a:cubicBezTo>
                  <a:lnTo>
                    <a:pt x="1640" y="1886"/>
                  </a:lnTo>
                  <a:cubicBezTo>
                    <a:pt x="1592" y="1894"/>
                    <a:pt x="1557" y="1899"/>
                    <a:pt x="1505" y="1907"/>
                  </a:cubicBezTo>
                  <a:cubicBezTo>
                    <a:pt x="1476" y="1901"/>
                    <a:pt x="1455" y="1895"/>
                    <a:pt x="1433" y="1893"/>
                  </a:cubicBezTo>
                  <a:cubicBezTo>
                    <a:pt x="1417" y="1897"/>
                    <a:pt x="1428" y="1910"/>
                    <a:pt x="1424" y="1926"/>
                  </a:cubicBezTo>
                  <a:cubicBezTo>
                    <a:pt x="1424" y="1937"/>
                    <a:pt x="1424" y="1949"/>
                    <a:pt x="1430" y="1961"/>
                  </a:cubicBezTo>
                  <a:cubicBezTo>
                    <a:pt x="1448" y="1980"/>
                    <a:pt x="1461" y="2006"/>
                    <a:pt x="1463" y="2022"/>
                  </a:cubicBezTo>
                  <a:cubicBezTo>
                    <a:pt x="1440" y="2061"/>
                    <a:pt x="1446" y="2058"/>
                    <a:pt x="1437" y="2067"/>
                  </a:cubicBezTo>
                  <a:cubicBezTo>
                    <a:pt x="1449" y="2035"/>
                    <a:pt x="1416" y="2112"/>
                    <a:pt x="1407" y="2140"/>
                  </a:cubicBezTo>
                  <a:cubicBezTo>
                    <a:pt x="1399" y="2164"/>
                    <a:pt x="1410" y="2187"/>
                    <a:pt x="1400" y="2216"/>
                  </a:cubicBezTo>
                  <a:cubicBezTo>
                    <a:pt x="1384" y="2212"/>
                    <a:pt x="1371" y="2231"/>
                    <a:pt x="1355" y="2235"/>
                  </a:cubicBezTo>
                  <a:cubicBezTo>
                    <a:pt x="1368" y="2270"/>
                    <a:pt x="1386" y="2271"/>
                    <a:pt x="1433" y="2280"/>
                  </a:cubicBezTo>
                  <a:cubicBezTo>
                    <a:pt x="1453" y="2288"/>
                    <a:pt x="1447" y="2267"/>
                    <a:pt x="1463" y="2259"/>
                  </a:cubicBezTo>
                  <a:cubicBezTo>
                    <a:pt x="1478" y="2247"/>
                    <a:pt x="1490" y="2241"/>
                    <a:pt x="1503" y="2234"/>
                  </a:cubicBezTo>
                  <a:cubicBezTo>
                    <a:pt x="1515" y="2222"/>
                    <a:pt x="1511" y="2197"/>
                    <a:pt x="1523" y="2189"/>
                  </a:cubicBezTo>
                  <a:cubicBezTo>
                    <a:pt x="1565" y="2178"/>
                    <a:pt x="1616" y="2169"/>
                    <a:pt x="1643" y="2186"/>
                  </a:cubicBezTo>
                  <a:cubicBezTo>
                    <a:pt x="1647" y="2154"/>
                    <a:pt x="1635" y="2132"/>
                    <a:pt x="1659" y="2116"/>
                  </a:cubicBezTo>
                  <a:cubicBezTo>
                    <a:pt x="1663" y="2096"/>
                    <a:pt x="1663" y="2068"/>
                    <a:pt x="1687" y="2060"/>
                  </a:cubicBezTo>
                  <a:cubicBezTo>
                    <a:pt x="1703" y="2036"/>
                    <a:pt x="1719" y="2016"/>
                    <a:pt x="1731" y="1988"/>
                  </a:cubicBezTo>
                  <a:cubicBezTo>
                    <a:pt x="1739" y="1956"/>
                    <a:pt x="1743" y="1924"/>
                    <a:pt x="1755" y="1892"/>
                  </a:cubicBezTo>
                  <a:cubicBezTo>
                    <a:pt x="1759" y="1868"/>
                    <a:pt x="1755" y="1840"/>
                    <a:pt x="1783" y="1832"/>
                  </a:cubicBezTo>
                  <a:cubicBezTo>
                    <a:pt x="1799" y="1816"/>
                    <a:pt x="1807" y="1804"/>
                    <a:pt x="1831" y="1796"/>
                  </a:cubicBezTo>
                  <a:cubicBezTo>
                    <a:pt x="1855" y="1756"/>
                    <a:pt x="1867" y="1736"/>
                    <a:pt x="1915" y="1724"/>
                  </a:cubicBezTo>
                  <a:cubicBezTo>
                    <a:pt x="1939" y="1708"/>
                    <a:pt x="1943" y="1692"/>
                    <a:pt x="1959" y="1668"/>
                  </a:cubicBezTo>
                  <a:cubicBezTo>
                    <a:pt x="1991" y="1684"/>
                    <a:pt x="1983" y="1708"/>
                    <a:pt x="1995" y="1736"/>
                  </a:cubicBezTo>
                  <a:cubicBezTo>
                    <a:pt x="1983" y="1772"/>
                    <a:pt x="1991" y="1756"/>
                    <a:pt x="1979" y="1788"/>
                  </a:cubicBezTo>
                  <a:cubicBezTo>
                    <a:pt x="1979" y="1792"/>
                    <a:pt x="1975" y="1800"/>
                    <a:pt x="1975" y="1800"/>
                  </a:cubicBezTo>
                  <a:cubicBezTo>
                    <a:pt x="1983" y="1868"/>
                    <a:pt x="2027" y="1836"/>
                    <a:pt x="2067" y="1812"/>
                  </a:cubicBezTo>
                  <a:cubicBezTo>
                    <a:pt x="2111" y="1784"/>
                    <a:pt x="2167" y="1808"/>
                    <a:pt x="2219" y="1808"/>
                  </a:cubicBezTo>
                  <a:cubicBezTo>
                    <a:pt x="2259" y="1800"/>
                    <a:pt x="2239" y="1804"/>
                    <a:pt x="2271" y="1796"/>
                  </a:cubicBezTo>
                  <a:cubicBezTo>
                    <a:pt x="2299" y="1776"/>
                    <a:pt x="2303" y="1776"/>
                    <a:pt x="2335" y="1772"/>
                  </a:cubicBezTo>
                  <a:cubicBezTo>
                    <a:pt x="2343" y="1796"/>
                    <a:pt x="2347" y="1820"/>
                    <a:pt x="2323" y="1836"/>
                  </a:cubicBezTo>
                  <a:cubicBezTo>
                    <a:pt x="2311" y="1856"/>
                    <a:pt x="2319" y="1888"/>
                    <a:pt x="2295" y="1896"/>
                  </a:cubicBezTo>
                  <a:cubicBezTo>
                    <a:pt x="2275" y="1916"/>
                    <a:pt x="2271" y="1936"/>
                    <a:pt x="2251" y="1952"/>
                  </a:cubicBezTo>
                  <a:cubicBezTo>
                    <a:pt x="2243" y="1960"/>
                    <a:pt x="2227" y="1976"/>
                    <a:pt x="2227" y="1976"/>
                  </a:cubicBezTo>
                  <a:cubicBezTo>
                    <a:pt x="2223" y="1992"/>
                    <a:pt x="2211" y="2024"/>
                    <a:pt x="2211" y="2024"/>
                  </a:cubicBezTo>
                  <a:cubicBezTo>
                    <a:pt x="2231" y="2052"/>
                    <a:pt x="2259" y="2024"/>
                    <a:pt x="2283" y="2016"/>
                  </a:cubicBezTo>
                  <a:cubicBezTo>
                    <a:pt x="2315" y="2028"/>
                    <a:pt x="2339" y="2004"/>
                    <a:pt x="2383" y="2028"/>
                  </a:cubicBezTo>
                  <a:cubicBezTo>
                    <a:pt x="2411" y="2036"/>
                    <a:pt x="2435" y="2044"/>
                    <a:pt x="2455" y="2072"/>
                  </a:cubicBezTo>
                  <a:cubicBezTo>
                    <a:pt x="2479" y="2112"/>
                    <a:pt x="2459" y="2176"/>
                    <a:pt x="2503" y="2204"/>
                  </a:cubicBezTo>
                  <a:cubicBezTo>
                    <a:pt x="2555" y="2196"/>
                    <a:pt x="2559" y="2192"/>
                    <a:pt x="2599" y="2180"/>
                  </a:cubicBezTo>
                  <a:cubicBezTo>
                    <a:pt x="2611" y="2164"/>
                    <a:pt x="2619" y="2168"/>
                    <a:pt x="2623" y="2148"/>
                  </a:cubicBezTo>
                  <a:cubicBezTo>
                    <a:pt x="2627" y="2124"/>
                    <a:pt x="2623" y="2104"/>
                    <a:pt x="2643" y="2088"/>
                  </a:cubicBezTo>
                  <a:cubicBezTo>
                    <a:pt x="2647" y="2076"/>
                    <a:pt x="2659" y="2060"/>
                    <a:pt x="2667" y="2052"/>
                  </a:cubicBezTo>
                  <a:cubicBezTo>
                    <a:pt x="2683" y="2040"/>
                    <a:pt x="2703" y="2016"/>
                    <a:pt x="2723" y="2000"/>
                  </a:cubicBezTo>
                  <a:cubicBezTo>
                    <a:pt x="2731" y="1980"/>
                    <a:pt x="2767" y="1980"/>
                    <a:pt x="2775" y="1956"/>
                  </a:cubicBezTo>
                  <a:cubicBezTo>
                    <a:pt x="2779" y="1928"/>
                    <a:pt x="2783" y="1924"/>
                    <a:pt x="2803" y="1908"/>
                  </a:cubicBezTo>
                  <a:cubicBezTo>
                    <a:pt x="2811" y="1904"/>
                    <a:pt x="2827" y="1892"/>
                    <a:pt x="2827" y="1892"/>
                  </a:cubicBezTo>
                  <a:cubicBezTo>
                    <a:pt x="2875" y="1904"/>
                    <a:pt x="2847" y="1900"/>
                    <a:pt x="2907" y="1896"/>
                  </a:cubicBezTo>
                  <a:cubicBezTo>
                    <a:pt x="2931" y="1888"/>
                    <a:pt x="2931" y="1880"/>
                    <a:pt x="2943" y="1860"/>
                  </a:cubicBezTo>
                  <a:cubicBezTo>
                    <a:pt x="2955" y="1812"/>
                    <a:pt x="2983" y="1768"/>
                    <a:pt x="2995" y="1716"/>
                  </a:cubicBezTo>
                  <a:cubicBezTo>
                    <a:pt x="2995" y="1712"/>
                    <a:pt x="2963" y="1728"/>
                    <a:pt x="2955" y="1728"/>
                  </a:cubicBezTo>
                  <a:cubicBezTo>
                    <a:pt x="2919" y="1736"/>
                    <a:pt x="2879" y="1744"/>
                    <a:pt x="2847" y="1764"/>
                  </a:cubicBezTo>
                  <a:cubicBezTo>
                    <a:pt x="2835" y="1804"/>
                    <a:pt x="2823" y="1808"/>
                    <a:pt x="2787" y="1832"/>
                  </a:cubicBezTo>
                  <a:cubicBezTo>
                    <a:pt x="2759" y="1828"/>
                    <a:pt x="2739" y="1812"/>
                    <a:pt x="2715" y="1796"/>
                  </a:cubicBezTo>
                  <a:cubicBezTo>
                    <a:pt x="2691" y="1760"/>
                    <a:pt x="2675" y="1772"/>
                    <a:pt x="2643" y="1748"/>
                  </a:cubicBezTo>
                  <a:cubicBezTo>
                    <a:pt x="2631" y="1740"/>
                    <a:pt x="2607" y="1724"/>
                    <a:pt x="2607" y="1724"/>
                  </a:cubicBezTo>
                  <a:cubicBezTo>
                    <a:pt x="2603" y="1708"/>
                    <a:pt x="2579" y="1676"/>
                    <a:pt x="2579" y="1676"/>
                  </a:cubicBezTo>
                  <a:cubicBezTo>
                    <a:pt x="2587" y="1640"/>
                    <a:pt x="2579" y="1644"/>
                    <a:pt x="2623" y="1640"/>
                  </a:cubicBezTo>
                  <a:cubicBezTo>
                    <a:pt x="2655" y="1616"/>
                    <a:pt x="2647" y="1584"/>
                    <a:pt x="2667" y="1556"/>
                  </a:cubicBezTo>
                  <a:cubicBezTo>
                    <a:pt x="2671" y="1536"/>
                    <a:pt x="2679" y="1492"/>
                    <a:pt x="2695" y="1476"/>
                  </a:cubicBezTo>
                  <a:cubicBezTo>
                    <a:pt x="2703" y="1468"/>
                    <a:pt x="2719" y="1460"/>
                    <a:pt x="2719" y="1460"/>
                  </a:cubicBezTo>
                  <a:cubicBezTo>
                    <a:pt x="2727" y="1436"/>
                    <a:pt x="2747" y="1428"/>
                    <a:pt x="2767" y="1420"/>
                  </a:cubicBezTo>
                  <a:cubicBezTo>
                    <a:pt x="2783" y="1400"/>
                    <a:pt x="2787" y="1396"/>
                    <a:pt x="2811" y="1388"/>
                  </a:cubicBezTo>
                  <a:cubicBezTo>
                    <a:pt x="2831" y="1368"/>
                    <a:pt x="2859" y="1372"/>
                    <a:pt x="2887" y="1368"/>
                  </a:cubicBezTo>
                  <a:cubicBezTo>
                    <a:pt x="2895" y="1324"/>
                    <a:pt x="2891" y="1308"/>
                    <a:pt x="2935" y="1296"/>
                  </a:cubicBezTo>
                  <a:cubicBezTo>
                    <a:pt x="2947" y="1280"/>
                    <a:pt x="2963" y="1260"/>
                    <a:pt x="2979" y="1248"/>
                  </a:cubicBezTo>
                  <a:cubicBezTo>
                    <a:pt x="2991" y="1216"/>
                    <a:pt x="3019" y="1188"/>
                    <a:pt x="3051" y="1176"/>
                  </a:cubicBezTo>
                  <a:cubicBezTo>
                    <a:pt x="3063" y="1164"/>
                    <a:pt x="3083" y="1152"/>
                    <a:pt x="3099" y="1148"/>
                  </a:cubicBezTo>
                  <a:cubicBezTo>
                    <a:pt x="3119" y="1120"/>
                    <a:pt x="3095" y="1060"/>
                    <a:pt x="3075" y="1032"/>
                  </a:cubicBezTo>
                  <a:cubicBezTo>
                    <a:pt x="3071" y="1000"/>
                    <a:pt x="3071" y="976"/>
                    <a:pt x="3079" y="956"/>
                  </a:cubicBezTo>
                  <a:cubicBezTo>
                    <a:pt x="3083" y="940"/>
                    <a:pt x="3107" y="916"/>
                    <a:pt x="3127" y="908"/>
                  </a:cubicBezTo>
                  <a:cubicBezTo>
                    <a:pt x="3135" y="880"/>
                    <a:pt x="3195" y="868"/>
                    <a:pt x="3223" y="860"/>
                  </a:cubicBezTo>
                  <a:cubicBezTo>
                    <a:pt x="3251" y="840"/>
                    <a:pt x="3291" y="848"/>
                    <a:pt x="3319" y="828"/>
                  </a:cubicBezTo>
                  <a:cubicBezTo>
                    <a:pt x="3315" y="776"/>
                    <a:pt x="3327" y="788"/>
                    <a:pt x="3295" y="756"/>
                  </a:cubicBezTo>
                  <a:cubicBezTo>
                    <a:pt x="3275" y="700"/>
                    <a:pt x="3231" y="576"/>
                    <a:pt x="3203" y="512"/>
                  </a:cubicBezTo>
                  <a:cubicBezTo>
                    <a:pt x="3219" y="396"/>
                    <a:pt x="3219" y="360"/>
                    <a:pt x="3139" y="348"/>
                  </a:cubicBezTo>
                  <a:cubicBezTo>
                    <a:pt x="3091" y="328"/>
                    <a:pt x="3031" y="360"/>
                    <a:pt x="2979" y="344"/>
                  </a:cubicBezTo>
                  <a:cubicBezTo>
                    <a:pt x="2935" y="360"/>
                    <a:pt x="2951" y="364"/>
                    <a:pt x="2887" y="368"/>
                  </a:cubicBezTo>
                  <a:cubicBezTo>
                    <a:pt x="2795" y="332"/>
                    <a:pt x="2779" y="368"/>
                    <a:pt x="2727" y="384"/>
                  </a:cubicBezTo>
                  <a:cubicBezTo>
                    <a:pt x="2679" y="380"/>
                    <a:pt x="2691" y="376"/>
                    <a:pt x="2659" y="344"/>
                  </a:cubicBezTo>
                  <a:cubicBezTo>
                    <a:pt x="2643" y="328"/>
                    <a:pt x="2595" y="328"/>
                    <a:pt x="2575" y="320"/>
                  </a:cubicBezTo>
                  <a:cubicBezTo>
                    <a:pt x="2543" y="320"/>
                    <a:pt x="2523" y="368"/>
                    <a:pt x="2491" y="380"/>
                  </a:cubicBezTo>
                  <a:cubicBezTo>
                    <a:pt x="2459" y="392"/>
                    <a:pt x="2403" y="392"/>
                    <a:pt x="2379" y="396"/>
                  </a:cubicBezTo>
                  <a:cubicBezTo>
                    <a:pt x="2363" y="404"/>
                    <a:pt x="2351" y="408"/>
                    <a:pt x="2335" y="412"/>
                  </a:cubicBezTo>
                  <a:cubicBezTo>
                    <a:pt x="2307" y="412"/>
                    <a:pt x="2279" y="416"/>
                    <a:pt x="2251" y="408"/>
                  </a:cubicBezTo>
                  <a:cubicBezTo>
                    <a:pt x="2247" y="408"/>
                    <a:pt x="2231" y="316"/>
                    <a:pt x="2211" y="296"/>
                  </a:cubicBezTo>
                  <a:cubicBezTo>
                    <a:pt x="2179" y="240"/>
                    <a:pt x="2095" y="276"/>
                    <a:pt x="2055" y="272"/>
                  </a:cubicBezTo>
                  <a:cubicBezTo>
                    <a:pt x="2011" y="276"/>
                    <a:pt x="1995" y="288"/>
                    <a:pt x="1979" y="244"/>
                  </a:cubicBezTo>
                  <a:cubicBezTo>
                    <a:pt x="1979" y="220"/>
                    <a:pt x="1967" y="156"/>
                    <a:pt x="1959" y="128"/>
                  </a:cubicBezTo>
                  <a:cubicBezTo>
                    <a:pt x="1939" y="92"/>
                    <a:pt x="1875" y="36"/>
                    <a:pt x="1831" y="20"/>
                  </a:cubicBezTo>
                  <a:cubicBezTo>
                    <a:pt x="1803" y="0"/>
                    <a:pt x="1735" y="32"/>
                    <a:pt x="1695" y="36"/>
                  </a:cubicBezTo>
                  <a:cubicBezTo>
                    <a:pt x="1667" y="52"/>
                    <a:pt x="1627" y="72"/>
                    <a:pt x="1599" y="80"/>
                  </a:cubicBezTo>
                  <a:cubicBezTo>
                    <a:pt x="1595" y="92"/>
                    <a:pt x="1583" y="108"/>
                    <a:pt x="1575" y="116"/>
                  </a:cubicBezTo>
                  <a:cubicBezTo>
                    <a:pt x="1567" y="124"/>
                    <a:pt x="1539" y="180"/>
                    <a:pt x="1539" y="180"/>
                  </a:cubicBezTo>
                  <a:cubicBezTo>
                    <a:pt x="1519" y="208"/>
                    <a:pt x="1515" y="172"/>
                    <a:pt x="1483" y="180"/>
                  </a:cubicBezTo>
                  <a:cubicBezTo>
                    <a:pt x="1471" y="188"/>
                    <a:pt x="1443" y="196"/>
                    <a:pt x="1443" y="196"/>
                  </a:cubicBezTo>
                  <a:lnTo>
                    <a:pt x="1407" y="204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  <p:sp>
          <p:nvSpPr>
            <p:cNvPr id="277" name="Freeform 85"/>
            <p:cNvSpPr>
              <a:spLocks noChangeAspect="1"/>
            </p:cNvSpPr>
            <p:nvPr/>
          </p:nvSpPr>
          <p:spPr bwMode="auto">
            <a:xfrm>
              <a:off x="3353" y="2976"/>
              <a:ext cx="196" cy="209"/>
            </a:xfrm>
            <a:custGeom>
              <a:avLst/>
              <a:gdLst>
                <a:gd name="T0" fmla="*/ 0 w 776"/>
                <a:gd name="T1" fmla="*/ 0 h 826"/>
                <a:gd name="T2" fmla="*/ 0 w 776"/>
                <a:gd name="T3" fmla="*/ 0 h 826"/>
                <a:gd name="T4" fmla="*/ 0 w 776"/>
                <a:gd name="T5" fmla="*/ 0 h 826"/>
                <a:gd name="T6" fmla="*/ 0 w 776"/>
                <a:gd name="T7" fmla="*/ 0 h 826"/>
                <a:gd name="T8" fmla="*/ 0 w 776"/>
                <a:gd name="T9" fmla="*/ 0 h 826"/>
                <a:gd name="T10" fmla="*/ 0 w 776"/>
                <a:gd name="T11" fmla="*/ 0 h 826"/>
                <a:gd name="T12" fmla="*/ 0 w 776"/>
                <a:gd name="T13" fmla="*/ 0 h 826"/>
                <a:gd name="T14" fmla="*/ 0 w 776"/>
                <a:gd name="T15" fmla="*/ 0 h 826"/>
                <a:gd name="T16" fmla="*/ 0 w 776"/>
                <a:gd name="T17" fmla="*/ 0 h 826"/>
                <a:gd name="T18" fmla="*/ 0 w 776"/>
                <a:gd name="T19" fmla="*/ 0 h 826"/>
                <a:gd name="T20" fmla="*/ 0 w 776"/>
                <a:gd name="T21" fmla="*/ 0 h 826"/>
                <a:gd name="T22" fmla="*/ 0 w 776"/>
                <a:gd name="T23" fmla="*/ 0 h 826"/>
                <a:gd name="T24" fmla="*/ 0 w 776"/>
                <a:gd name="T25" fmla="*/ 0 h 826"/>
                <a:gd name="T26" fmla="*/ 0 w 776"/>
                <a:gd name="T27" fmla="*/ 0 h 826"/>
                <a:gd name="T28" fmla="*/ 0 w 776"/>
                <a:gd name="T29" fmla="*/ 0 h 826"/>
                <a:gd name="T30" fmla="*/ 0 w 776"/>
                <a:gd name="T31" fmla="*/ 0 h 826"/>
                <a:gd name="T32" fmla="*/ 0 w 776"/>
                <a:gd name="T33" fmla="*/ 0 h 826"/>
                <a:gd name="T34" fmla="*/ 0 w 776"/>
                <a:gd name="T35" fmla="*/ 0 h 826"/>
                <a:gd name="T36" fmla="*/ 0 w 776"/>
                <a:gd name="T37" fmla="*/ 0 h 826"/>
                <a:gd name="T38" fmla="*/ 0 w 776"/>
                <a:gd name="T39" fmla="*/ 0 h 826"/>
                <a:gd name="T40" fmla="*/ 0 w 776"/>
                <a:gd name="T41" fmla="*/ 0 h 826"/>
                <a:gd name="T42" fmla="*/ 0 w 776"/>
                <a:gd name="T43" fmla="*/ 0 h 826"/>
                <a:gd name="T44" fmla="*/ 0 w 776"/>
                <a:gd name="T45" fmla="*/ 0 h 826"/>
                <a:gd name="T46" fmla="*/ 0 w 776"/>
                <a:gd name="T47" fmla="*/ 0 h 826"/>
                <a:gd name="T48" fmla="*/ 0 w 776"/>
                <a:gd name="T49" fmla="*/ 0 h 826"/>
                <a:gd name="T50" fmla="*/ 0 w 776"/>
                <a:gd name="T51" fmla="*/ 0 h 826"/>
                <a:gd name="T52" fmla="*/ 0 w 776"/>
                <a:gd name="T53" fmla="*/ 0 h 826"/>
                <a:gd name="T54" fmla="*/ 0 w 776"/>
                <a:gd name="T55" fmla="*/ 0 h 826"/>
                <a:gd name="T56" fmla="*/ 0 w 776"/>
                <a:gd name="T57" fmla="*/ 0 h 826"/>
                <a:gd name="T58" fmla="*/ 0 w 776"/>
                <a:gd name="T59" fmla="*/ 0 h 826"/>
                <a:gd name="T60" fmla="*/ 0 w 776"/>
                <a:gd name="T61" fmla="*/ 0 h 826"/>
                <a:gd name="T62" fmla="*/ 0 w 776"/>
                <a:gd name="T63" fmla="*/ 0 h 82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776"/>
                <a:gd name="T97" fmla="*/ 0 h 826"/>
                <a:gd name="T98" fmla="*/ 776 w 776"/>
                <a:gd name="T99" fmla="*/ 826 h 82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776" h="826">
                  <a:moveTo>
                    <a:pt x="484" y="824"/>
                  </a:moveTo>
                  <a:cubicBezTo>
                    <a:pt x="503" y="815"/>
                    <a:pt x="500" y="803"/>
                    <a:pt x="532" y="800"/>
                  </a:cubicBezTo>
                  <a:cubicBezTo>
                    <a:pt x="544" y="764"/>
                    <a:pt x="532" y="728"/>
                    <a:pt x="552" y="696"/>
                  </a:cubicBezTo>
                  <a:cubicBezTo>
                    <a:pt x="560" y="660"/>
                    <a:pt x="580" y="640"/>
                    <a:pt x="592" y="608"/>
                  </a:cubicBezTo>
                  <a:cubicBezTo>
                    <a:pt x="588" y="584"/>
                    <a:pt x="580" y="564"/>
                    <a:pt x="564" y="548"/>
                  </a:cubicBezTo>
                  <a:cubicBezTo>
                    <a:pt x="556" y="504"/>
                    <a:pt x="544" y="484"/>
                    <a:pt x="576" y="476"/>
                  </a:cubicBezTo>
                  <a:cubicBezTo>
                    <a:pt x="596" y="480"/>
                    <a:pt x="640" y="492"/>
                    <a:pt x="640" y="492"/>
                  </a:cubicBezTo>
                  <a:cubicBezTo>
                    <a:pt x="688" y="488"/>
                    <a:pt x="728" y="476"/>
                    <a:pt x="776" y="468"/>
                  </a:cubicBezTo>
                  <a:cubicBezTo>
                    <a:pt x="772" y="448"/>
                    <a:pt x="768" y="440"/>
                    <a:pt x="748" y="432"/>
                  </a:cubicBezTo>
                  <a:cubicBezTo>
                    <a:pt x="740" y="416"/>
                    <a:pt x="704" y="392"/>
                    <a:pt x="688" y="384"/>
                  </a:cubicBezTo>
                  <a:cubicBezTo>
                    <a:pt x="680" y="360"/>
                    <a:pt x="656" y="336"/>
                    <a:pt x="640" y="312"/>
                  </a:cubicBezTo>
                  <a:cubicBezTo>
                    <a:pt x="604" y="260"/>
                    <a:pt x="652" y="232"/>
                    <a:pt x="556" y="224"/>
                  </a:cubicBezTo>
                  <a:cubicBezTo>
                    <a:pt x="540" y="196"/>
                    <a:pt x="532" y="204"/>
                    <a:pt x="508" y="188"/>
                  </a:cubicBezTo>
                  <a:cubicBezTo>
                    <a:pt x="528" y="84"/>
                    <a:pt x="536" y="76"/>
                    <a:pt x="420" y="72"/>
                  </a:cubicBezTo>
                  <a:cubicBezTo>
                    <a:pt x="416" y="56"/>
                    <a:pt x="400" y="56"/>
                    <a:pt x="388" y="48"/>
                  </a:cubicBezTo>
                  <a:cubicBezTo>
                    <a:pt x="344" y="64"/>
                    <a:pt x="288" y="36"/>
                    <a:pt x="244" y="28"/>
                  </a:cubicBezTo>
                  <a:cubicBezTo>
                    <a:pt x="228" y="16"/>
                    <a:pt x="196" y="0"/>
                    <a:pt x="196" y="0"/>
                  </a:cubicBezTo>
                  <a:cubicBezTo>
                    <a:pt x="168" y="4"/>
                    <a:pt x="112" y="12"/>
                    <a:pt x="112" y="12"/>
                  </a:cubicBezTo>
                  <a:cubicBezTo>
                    <a:pt x="96" y="56"/>
                    <a:pt x="56" y="52"/>
                    <a:pt x="16" y="56"/>
                  </a:cubicBezTo>
                  <a:cubicBezTo>
                    <a:pt x="0" y="104"/>
                    <a:pt x="16" y="92"/>
                    <a:pt x="48" y="124"/>
                  </a:cubicBezTo>
                  <a:cubicBezTo>
                    <a:pt x="52" y="136"/>
                    <a:pt x="60" y="156"/>
                    <a:pt x="100" y="172"/>
                  </a:cubicBezTo>
                  <a:cubicBezTo>
                    <a:pt x="116" y="192"/>
                    <a:pt x="123" y="197"/>
                    <a:pt x="135" y="212"/>
                  </a:cubicBezTo>
                  <a:cubicBezTo>
                    <a:pt x="158" y="231"/>
                    <a:pt x="153" y="233"/>
                    <a:pt x="173" y="245"/>
                  </a:cubicBezTo>
                  <a:cubicBezTo>
                    <a:pt x="177" y="261"/>
                    <a:pt x="185" y="263"/>
                    <a:pt x="194" y="282"/>
                  </a:cubicBezTo>
                  <a:cubicBezTo>
                    <a:pt x="214" y="302"/>
                    <a:pt x="213" y="312"/>
                    <a:pt x="233" y="332"/>
                  </a:cubicBezTo>
                  <a:cubicBezTo>
                    <a:pt x="261" y="342"/>
                    <a:pt x="300" y="364"/>
                    <a:pt x="300" y="364"/>
                  </a:cubicBezTo>
                  <a:cubicBezTo>
                    <a:pt x="311" y="381"/>
                    <a:pt x="300" y="354"/>
                    <a:pt x="317" y="393"/>
                  </a:cubicBezTo>
                  <a:cubicBezTo>
                    <a:pt x="443" y="449"/>
                    <a:pt x="398" y="557"/>
                    <a:pt x="400" y="600"/>
                  </a:cubicBezTo>
                  <a:cubicBezTo>
                    <a:pt x="422" y="668"/>
                    <a:pt x="414" y="645"/>
                    <a:pt x="429" y="701"/>
                  </a:cubicBezTo>
                  <a:cubicBezTo>
                    <a:pt x="433" y="729"/>
                    <a:pt x="446" y="764"/>
                    <a:pt x="452" y="780"/>
                  </a:cubicBezTo>
                  <a:cubicBezTo>
                    <a:pt x="461" y="794"/>
                    <a:pt x="464" y="798"/>
                    <a:pt x="474" y="810"/>
                  </a:cubicBezTo>
                  <a:cubicBezTo>
                    <a:pt x="478" y="826"/>
                    <a:pt x="484" y="816"/>
                    <a:pt x="484" y="824"/>
                  </a:cubicBez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  <p:sp>
          <p:nvSpPr>
            <p:cNvPr id="278" name="Freeform 86"/>
            <p:cNvSpPr>
              <a:spLocks noChangeAspect="1"/>
            </p:cNvSpPr>
            <p:nvPr/>
          </p:nvSpPr>
          <p:spPr bwMode="auto">
            <a:xfrm>
              <a:off x="3059" y="3001"/>
              <a:ext cx="503" cy="360"/>
            </a:xfrm>
            <a:custGeom>
              <a:avLst/>
              <a:gdLst>
                <a:gd name="T0" fmla="*/ 0 w 1991"/>
                <a:gd name="T1" fmla="*/ 0 h 1428"/>
                <a:gd name="T2" fmla="*/ 0 w 1991"/>
                <a:gd name="T3" fmla="*/ 0 h 1428"/>
                <a:gd name="T4" fmla="*/ 0 w 1991"/>
                <a:gd name="T5" fmla="*/ 0 h 1428"/>
                <a:gd name="T6" fmla="*/ 0 w 1991"/>
                <a:gd name="T7" fmla="*/ 0 h 1428"/>
                <a:gd name="T8" fmla="*/ 0 w 1991"/>
                <a:gd name="T9" fmla="*/ 0 h 1428"/>
                <a:gd name="T10" fmla="*/ 0 w 1991"/>
                <a:gd name="T11" fmla="*/ 0 h 1428"/>
                <a:gd name="T12" fmla="*/ 0 w 1991"/>
                <a:gd name="T13" fmla="*/ 0 h 1428"/>
                <a:gd name="T14" fmla="*/ 0 w 1991"/>
                <a:gd name="T15" fmla="*/ 0 h 1428"/>
                <a:gd name="T16" fmla="*/ 0 w 1991"/>
                <a:gd name="T17" fmla="*/ 0 h 1428"/>
                <a:gd name="T18" fmla="*/ 0 w 1991"/>
                <a:gd name="T19" fmla="*/ 0 h 1428"/>
                <a:gd name="T20" fmla="*/ 0 w 1991"/>
                <a:gd name="T21" fmla="*/ 0 h 1428"/>
                <a:gd name="T22" fmla="*/ 0 w 1991"/>
                <a:gd name="T23" fmla="*/ 0 h 1428"/>
                <a:gd name="T24" fmla="*/ 0 w 1991"/>
                <a:gd name="T25" fmla="*/ 0 h 1428"/>
                <a:gd name="T26" fmla="*/ 0 w 1991"/>
                <a:gd name="T27" fmla="*/ 0 h 1428"/>
                <a:gd name="T28" fmla="*/ 0 w 1991"/>
                <a:gd name="T29" fmla="*/ 0 h 1428"/>
                <a:gd name="T30" fmla="*/ 0 w 1991"/>
                <a:gd name="T31" fmla="*/ 0 h 1428"/>
                <a:gd name="T32" fmla="*/ 0 w 1991"/>
                <a:gd name="T33" fmla="*/ 0 h 1428"/>
                <a:gd name="T34" fmla="*/ 0 w 1991"/>
                <a:gd name="T35" fmla="*/ 0 h 1428"/>
                <a:gd name="T36" fmla="*/ 0 w 1991"/>
                <a:gd name="T37" fmla="*/ 0 h 1428"/>
                <a:gd name="T38" fmla="*/ 0 w 1991"/>
                <a:gd name="T39" fmla="*/ 0 h 1428"/>
                <a:gd name="T40" fmla="*/ 0 w 1991"/>
                <a:gd name="T41" fmla="*/ 0 h 1428"/>
                <a:gd name="T42" fmla="*/ 0 w 1991"/>
                <a:gd name="T43" fmla="*/ 0 h 1428"/>
                <a:gd name="T44" fmla="*/ 0 w 1991"/>
                <a:gd name="T45" fmla="*/ 0 h 1428"/>
                <a:gd name="T46" fmla="*/ 0 w 1991"/>
                <a:gd name="T47" fmla="*/ 0 h 1428"/>
                <a:gd name="T48" fmla="*/ 0 w 1991"/>
                <a:gd name="T49" fmla="*/ 0 h 1428"/>
                <a:gd name="T50" fmla="*/ 0 w 1991"/>
                <a:gd name="T51" fmla="*/ 0 h 1428"/>
                <a:gd name="T52" fmla="*/ 0 w 1991"/>
                <a:gd name="T53" fmla="*/ 0 h 1428"/>
                <a:gd name="T54" fmla="*/ 0 w 1991"/>
                <a:gd name="T55" fmla="*/ 0 h 1428"/>
                <a:gd name="T56" fmla="*/ 0 w 1991"/>
                <a:gd name="T57" fmla="*/ 0 h 1428"/>
                <a:gd name="T58" fmla="*/ 0 w 1991"/>
                <a:gd name="T59" fmla="*/ 0 h 1428"/>
                <a:gd name="T60" fmla="*/ 0 w 1991"/>
                <a:gd name="T61" fmla="*/ 0 h 1428"/>
                <a:gd name="T62" fmla="*/ 0 w 1991"/>
                <a:gd name="T63" fmla="*/ 0 h 1428"/>
                <a:gd name="T64" fmla="*/ 0 w 1991"/>
                <a:gd name="T65" fmla="*/ 0 h 1428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991"/>
                <a:gd name="T100" fmla="*/ 0 h 1428"/>
                <a:gd name="T101" fmla="*/ 1991 w 1991"/>
                <a:gd name="T102" fmla="*/ 1428 h 1428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991" h="1428">
                  <a:moveTo>
                    <a:pt x="1847" y="1195"/>
                  </a:moveTo>
                  <a:cubicBezTo>
                    <a:pt x="1855" y="1139"/>
                    <a:pt x="1851" y="1087"/>
                    <a:pt x="1831" y="1035"/>
                  </a:cubicBezTo>
                  <a:cubicBezTo>
                    <a:pt x="1835" y="963"/>
                    <a:pt x="1815" y="903"/>
                    <a:pt x="1875" y="863"/>
                  </a:cubicBezTo>
                  <a:cubicBezTo>
                    <a:pt x="1879" y="847"/>
                    <a:pt x="1911" y="835"/>
                    <a:pt x="1927" y="827"/>
                  </a:cubicBezTo>
                  <a:cubicBezTo>
                    <a:pt x="1939" y="823"/>
                    <a:pt x="1963" y="815"/>
                    <a:pt x="1963" y="815"/>
                  </a:cubicBezTo>
                  <a:cubicBezTo>
                    <a:pt x="1991" y="787"/>
                    <a:pt x="1975" y="712"/>
                    <a:pt x="1947" y="684"/>
                  </a:cubicBezTo>
                  <a:cubicBezTo>
                    <a:pt x="1935" y="644"/>
                    <a:pt x="1863" y="672"/>
                    <a:pt x="1823" y="676"/>
                  </a:cubicBezTo>
                  <a:cubicBezTo>
                    <a:pt x="1815" y="708"/>
                    <a:pt x="1791" y="735"/>
                    <a:pt x="1759" y="747"/>
                  </a:cubicBezTo>
                  <a:cubicBezTo>
                    <a:pt x="1747" y="775"/>
                    <a:pt x="1735" y="767"/>
                    <a:pt x="1703" y="763"/>
                  </a:cubicBezTo>
                  <a:cubicBezTo>
                    <a:pt x="1687" y="755"/>
                    <a:pt x="1675" y="751"/>
                    <a:pt x="1659" y="743"/>
                  </a:cubicBezTo>
                  <a:cubicBezTo>
                    <a:pt x="1647" y="727"/>
                    <a:pt x="1639" y="708"/>
                    <a:pt x="1627" y="696"/>
                  </a:cubicBezTo>
                  <a:cubicBezTo>
                    <a:pt x="1619" y="688"/>
                    <a:pt x="1603" y="636"/>
                    <a:pt x="1603" y="636"/>
                  </a:cubicBezTo>
                  <a:cubicBezTo>
                    <a:pt x="1595" y="604"/>
                    <a:pt x="1587" y="560"/>
                    <a:pt x="1567" y="500"/>
                  </a:cubicBezTo>
                  <a:cubicBezTo>
                    <a:pt x="1583" y="396"/>
                    <a:pt x="1563" y="324"/>
                    <a:pt x="1483" y="296"/>
                  </a:cubicBezTo>
                  <a:cubicBezTo>
                    <a:pt x="1475" y="276"/>
                    <a:pt x="1467" y="268"/>
                    <a:pt x="1447" y="260"/>
                  </a:cubicBezTo>
                  <a:cubicBezTo>
                    <a:pt x="1431" y="244"/>
                    <a:pt x="1419" y="244"/>
                    <a:pt x="1399" y="236"/>
                  </a:cubicBezTo>
                  <a:cubicBezTo>
                    <a:pt x="1387" y="216"/>
                    <a:pt x="1379" y="204"/>
                    <a:pt x="1363" y="192"/>
                  </a:cubicBezTo>
                  <a:cubicBezTo>
                    <a:pt x="1359" y="176"/>
                    <a:pt x="1319" y="124"/>
                    <a:pt x="1299" y="116"/>
                  </a:cubicBezTo>
                  <a:cubicBezTo>
                    <a:pt x="1291" y="88"/>
                    <a:pt x="1255" y="76"/>
                    <a:pt x="1231" y="60"/>
                  </a:cubicBezTo>
                  <a:cubicBezTo>
                    <a:pt x="1223" y="48"/>
                    <a:pt x="1219" y="36"/>
                    <a:pt x="1207" y="24"/>
                  </a:cubicBezTo>
                  <a:cubicBezTo>
                    <a:pt x="1199" y="0"/>
                    <a:pt x="1135" y="44"/>
                    <a:pt x="1135" y="44"/>
                  </a:cubicBezTo>
                  <a:cubicBezTo>
                    <a:pt x="1111" y="76"/>
                    <a:pt x="1123" y="92"/>
                    <a:pt x="1079" y="100"/>
                  </a:cubicBezTo>
                  <a:cubicBezTo>
                    <a:pt x="1063" y="108"/>
                    <a:pt x="1043" y="116"/>
                    <a:pt x="1027" y="128"/>
                  </a:cubicBezTo>
                  <a:cubicBezTo>
                    <a:pt x="1015" y="164"/>
                    <a:pt x="943" y="168"/>
                    <a:pt x="915" y="192"/>
                  </a:cubicBezTo>
                  <a:cubicBezTo>
                    <a:pt x="899" y="196"/>
                    <a:pt x="871" y="204"/>
                    <a:pt x="871" y="204"/>
                  </a:cubicBezTo>
                  <a:cubicBezTo>
                    <a:pt x="859" y="216"/>
                    <a:pt x="847" y="220"/>
                    <a:pt x="835" y="228"/>
                  </a:cubicBezTo>
                  <a:cubicBezTo>
                    <a:pt x="723" y="216"/>
                    <a:pt x="787" y="220"/>
                    <a:pt x="643" y="216"/>
                  </a:cubicBezTo>
                  <a:cubicBezTo>
                    <a:pt x="535" y="220"/>
                    <a:pt x="543" y="180"/>
                    <a:pt x="483" y="228"/>
                  </a:cubicBezTo>
                  <a:cubicBezTo>
                    <a:pt x="475" y="248"/>
                    <a:pt x="435" y="292"/>
                    <a:pt x="411" y="296"/>
                  </a:cubicBezTo>
                  <a:cubicBezTo>
                    <a:pt x="399" y="312"/>
                    <a:pt x="383" y="312"/>
                    <a:pt x="363" y="320"/>
                  </a:cubicBezTo>
                  <a:cubicBezTo>
                    <a:pt x="359" y="320"/>
                    <a:pt x="351" y="324"/>
                    <a:pt x="351" y="324"/>
                  </a:cubicBezTo>
                  <a:cubicBezTo>
                    <a:pt x="339" y="340"/>
                    <a:pt x="331" y="360"/>
                    <a:pt x="319" y="372"/>
                  </a:cubicBezTo>
                  <a:cubicBezTo>
                    <a:pt x="295" y="440"/>
                    <a:pt x="287" y="528"/>
                    <a:pt x="247" y="588"/>
                  </a:cubicBezTo>
                  <a:cubicBezTo>
                    <a:pt x="233" y="623"/>
                    <a:pt x="235" y="632"/>
                    <a:pt x="219" y="680"/>
                  </a:cubicBezTo>
                  <a:cubicBezTo>
                    <a:pt x="215" y="720"/>
                    <a:pt x="203" y="725"/>
                    <a:pt x="183" y="753"/>
                  </a:cubicBezTo>
                  <a:cubicBezTo>
                    <a:pt x="173" y="772"/>
                    <a:pt x="174" y="780"/>
                    <a:pt x="161" y="800"/>
                  </a:cubicBezTo>
                  <a:cubicBezTo>
                    <a:pt x="144" y="813"/>
                    <a:pt x="98" y="825"/>
                    <a:pt x="83" y="849"/>
                  </a:cubicBezTo>
                  <a:cubicBezTo>
                    <a:pt x="60" y="860"/>
                    <a:pt x="27" y="862"/>
                    <a:pt x="20" y="866"/>
                  </a:cubicBezTo>
                  <a:cubicBezTo>
                    <a:pt x="0" y="878"/>
                    <a:pt x="33" y="866"/>
                    <a:pt x="36" y="881"/>
                  </a:cubicBezTo>
                  <a:cubicBezTo>
                    <a:pt x="50" y="921"/>
                    <a:pt x="90" y="912"/>
                    <a:pt x="105" y="927"/>
                  </a:cubicBezTo>
                  <a:cubicBezTo>
                    <a:pt x="129" y="959"/>
                    <a:pt x="141" y="962"/>
                    <a:pt x="163" y="991"/>
                  </a:cubicBezTo>
                  <a:cubicBezTo>
                    <a:pt x="170" y="1017"/>
                    <a:pt x="206" y="1035"/>
                    <a:pt x="225" y="1076"/>
                  </a:cubicBezTo>
                  <a:cubicBezTo>
                    <a:pt x="248" y="1083"/>
                    <a:pt x="257" y="1079"/>
                    <a:pt x="281" y="1086"/>
                  </a:cubicBezTo>
                  <a:cubicBezTo>
                    <a:pt x="293" y="1090"/>
                    <a:pt x="315" y="1111"/>
                    <a:pt x="315" y="1111"/>
                  </a:cubicBezTo>
                  <a:cubicBezTo>
                    <a:pt x="319" y="1199"/>
                    <a:pt x="288" y="1233"/>
                    <a:pt x="375" y="1231"/>
                  </a:cubicBezTo>
                  <a:cubicBezTo>
                    <a:pt x="391" y="1235"/>
                    <a:pt x="399" y="1226"/>
                    <a:pt x="422" y="1233"/>
                  </a:cubicBezTo>
                  <a:cubicBezTo>
                    <a:pt x="430" y="1237"/>
                    <a:pt x="462" y="1251"/>
                    <a:pt x="462" y="1251"/>
                  </a:cubicBezTo>
                  <a:cubicBezTo>
                    <a:pt x="473" y="1253"/>
                    <a:pt x="475" y="1254"/>
                    <a:pt x="491" y="1248"/>
                  </a:cubicBezTo>
                  <a:cubicBezTo>
                    <a:pt x="497" y="1235"/>
                    <a:pt x="498" y="1226"/>
                    <a:pt x="557" y="1206"/>
                  </a:cubicBezTo>
                  <a:cubicBezTo>
                    <a:pt x="581" y="1214"/>
                    <a:pt x="609" y="1265"/>
                    <a:pt x="600" y="1301"/>
                  </a:cubicBezTo>
                  <a:cubicBezTo>
                    <a:pt x="604" y="1309"/>
                    <a:pt x="618" y="1301"/>
                    <a:pt x="629" y="1316"/>
                  </a:cubicBezTo>
                  <a:cubicBezTo>
                    <a:pt x="641" y="1320"/>
                    <a:pt x="656" y="1329"/>
                    <a:pt x="656" y="1329"/>
                  </a:cubicBezTo>
                  <a:cubicBezTo>
                    <a:pt x="698" y="1392"/>
                    <a:pt x="678" y="1401"/>
                    <a:pt x="685" y="1415"/>
                  </a:cubicBezTo>
                  <a:cubicBezTo>
                    <a:pt x="704" y="1421"/>
                    <a:pt x="707" y="1423"/>
                    <a:pt x="725" y="1425"/>
                  </a:cubicBezTo>
                  <a:cubicBezTo>
                    <a:pt x="747" y="1428"/>
                    <a:pt x="771" y="1425"/>
                    <a:pt x="795" y="1425"/>
                  </a:cubicBezTo>
                  <a:cubicBezTo>
                    <a:pt x="871" y="1421"/>
                    <a:pt x="942" y="1409"/>
                    <a:pt x="1026" y="1397"/>
                  </a:cubicBezTo>
                  <a:cubicBezTo>
                    <a:pt x="1074" y="1389"/>
                    <a:pt x="1122" y="1385"/>
                    <a:pt x="1175" y="1380"/>
                  </a:cubicBezTo>
                  <a:cubicBezTo>
                    <a:pt x="1196" y="1371"/>
                    <a:pt x="1230" y="1359"/>
                    <a:pt x="1230" y="1359"/>
                  </a:cubicBezTo>
                  <a:cubicBezTo>
                    <a:pt x="1242" y="1351"/>
                    <a:pt x="1251" y="1346"/>
                    <a:pt x="1263" y="1338"/>
                  </a:cubicBezTo>
                  <a:cubicBezTo>
                    <a:pt x="1267" y="1322"/>
                    <a:pt x="1295" y="1307"/>
                    <a:pt x="1311" y="1295"/>
                  </a:cubicBezTo>
                  <a:cubicBezTo>
                    <a:pt x="1323" y="1274"/>
                    <a:pt x="1343" y="1257"/>
                    <a:pt x="1355" y="1233"/>
                  </a:cubicBezTo>
                  <a:cubicBezTo>
                    <a:pt x="1382" y="1216"/>
                    <a:pt x="1428" y="1213"/>
                    <a:pt x="1455" y="1203"/>
                  </a:cubicBezTo>
                  <a:cubicBezTo>
                    <a:pt x="1476" y="1182"/>
                    <a:pt x="1519" y="1175"/>
                    <a:pt x="1519" y="1175"/>
                  </a:cubicBezTo>
                  <a:cubicBezTo>
                    <a:pt x="1527" y="1167"/>
                    <a:pt x="1557" y="1158"/>
                    <a:pt x="1557" y="1158"/>
                  </a:cubicBezTo>
                  <a:cubicBezTo>
                    <a:pt x="1581" y="1162"/>
                    <a:pt x="1605" y="1154"/>
                    <a:pt x="1629" y="1158"/>
                  </a:cubicBezTo>
                  <a:cubicBezTo>
                    <a:pt x="1670" y="1172"/>
                    <a:pt x="1773" y="1197"/>
                    <a:pt x="1803" y="1195"/>
                  </a:cubicBezTo>
                  <a:cubicBezTo>
                    <a:pt x="1811" y="1195"/>
                    <a:pt x="1871" y="1219"/>
                    <a:pt x="1847" y="1195"/>
                  </a:cubicBez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  <p:sp>
          <p:nvSpPr>
            <p:cNvPr id="279" name="Freeform 87"/>
            <p:cNvSpPr>
              <a:spLocks noChangeAspect="1"/>
            </p:cNvSpPr>
            <p:nvPr/>
          </p:nvSpPr>
          <p:spPr bwMode="auto">
            <a:xfrm>
              <a:off x="3202" y="3292"/>
              <a:ext cx="334" cy="253"/>
            </a:xfrm>
            <a:custGeom>
              <a:avLst/>
              <a:gdLst>
                <a:gd name="T0" fmla="*/ 0 w 1320"/>
                <a:gd name="T1" fmla="*/ 0 h 999"/>
                <a:gd name="T2" fmla="*/ 0 w 1320"/>
                <a:gd name="T3" fmla="*/ 0 h 999"/>
                <a:gd name="T4" fmla="*/ 0 w 1320"/>
                <a:gd name="T5" fmla="*/ 0 h 999"/>
                <a:gd name="T6" fmla="*/ 0 w 1320"/>
                <a:gd name="T7" fmla="*/ 0 h 999"/>
                <a:gd name="T8" fmla="*/ 0 w 1320"/>
                <a:gd name="T9" fmla="*/ 0 h 999"/>
                <a:gd name="T10" fmla="*/ 0 w 1320"/>
                <a:gd name="T11" fmla="*/ 0 h 999"/>
                <a:gd name="T12" fmla="*/ 0 w 1320"/>
                <a:gd name="T13" fmla="*/ 0 h 999"/>
                <a:gd name="T14" fmla="*/ 0 w 1320"/>
                <a:gd name="T15" fmla="*/ 0 h 999"/>
                <a:gd name="T16" fmla="*/ 0 w 1320"/>
                <a:gd name="T17" fmla="*/ 0 h 999"/>
                <a:gd name="T18" fmla="*/ 0 w 1320"/>
                <a:gd name="T19" fmla="*/ 0 h 999"/>
                <a:gd name="T20" fmla="*/ 0 w 1320"/>
                <a:gd name="T21" fmla="*/ 0 h 999"/>
                <a:gd name="T22" fmla="*/ 0 w 1320"/>
                <a:gd name="T23" fmla="*/ 0 h 999"/>
                <a:gd name="T24" fmla="*/ 0 w 1320"/>
                <a:gd name="T25" fmla="*/ 0 h 999"/>
                <a:gd name="T26" fmla="*/ 0 w 1320"/>
                <a:gd name="T27" fmla="*/ 0 h 999"/>
                <a:gd name="T28" fmla="*/ 0 w 1320"/>
                <a:gd name="T29" fmla="*/ 0 h 999"/>
                <a:gd name="T30" fmla="*/ 0 w 1320"/>
                <a:gd name="T31" fmla="*/ 0 h 999"/>
                <a:gd name="T32" fmla="*/ 0 w 1320"/>
                <a:gd name="T33" fmla="*/ 0 h 999"/>
                <a:gd name="T34" fmla="*/ 0 w 1320"/>
                <a:gd name="T35" fmla="*/ 0 h 999"/>
                <a:gd name="T36" fmla="*/ 0 w 1320"/>
                <a:gd name="T37" fmla="*/ 0 h 999"/>
                <a:gd name="T38" fmla="*/ 0 w 1320"/>
                <a:gd name="T39" fmla="*/ 0 h 999"/>
                <a:gd name="T40" fmla="*/ 0 w 1320"/>
                <a:gd name="T41" fmla="*/ 0 h 999"/>
                <a:gd name="T42" fmla="*/ 0 w 1320"/>
                <a:gd name="T43" fmla="*/ 0 h 999"/>
                <a:gd name="T44" fmla="*/ 0 w 1320"/>
                <a:gd name="T45" fmla="*/ 0 h 999"/>
                <a:gd name="T46" fmla="*/ 0 w 1320"/>
                <a:gd name="T47" fmla="*/ 0 h 999"/>
                <a:gd name="T48" fmla="*/ 0 w 1320"/>
                <a:gd name="T49" fmla="*/ 0 h 999"/>
                <a:gd name="T50" fmla="*/ 0 w 1320"/>
                <a:gd name="T51" fmla="*/ 0 h 999"/>
                <a:gd name="T52" fmla="*/ 0 w 1320"/>
                <a:gd name="T53" fmla="*/ 0 h 999"/>
                <a:gd name="T54" fmla="*/ 0 w 1320"/>
                <a:gd name="T55" fmla="*/ 0 h 999"/>
                <a:gd name="T56" fmla="*/ 0 w 1320"/>
                <a:gd name="T57" fmla="*/ 0 h 999"/>
                <a:gd name="T58" fmla="*/ 0 w 1320"/>
                <a:gd name="T59" fmla="*/ 0 h 999"/>
                <a:gd name="T60" fmla="*/ 0 w 1320"/>
                <a:gd name="T61" fmla="*/ 0 h 999"/>
                <a:gd name="T62" fmla="*/ 0 w 1320"/>
                <a:gd name="T63" fmla="*/ 0 h 999"/>
                <a:gd name="T64" fmla="*/ 0 w 1320"/>
                <a:gd name="T65" fmla="*/ 0 h 999"/>
                <a:gd name="T66" fmla="*/ 0 w 1320"/>
                <a:gd name="T67" fmla="*/ 0 h 999"/>
                <a:gd name="T68" fmla="*/ 0 w 1320"/>
                <a:gd name="T69" fmla="*/ 0 h 999"/>
                <a:gd name="T70" fmla="*/ 0 w 1320"/>
                <a:gd name="T71" fmla="*/ 0 h 999"/>
                <a:gd name="T72" fmla="*/ 0 w 1320"/>
                <a:gd name="T73" fmla="*/ 0 h 999"/>
                <a:gd name="T74" fmla="*/ 0 w 1320"/>
                <a:gd name="T75" fmla="*/ 0 h 999"/>
                <a:gd name="T76" fmla="*/ 0 w 1320"/>
                <a:gd name="T77" fmla="*/ 0 h 999"/>
                <a:gd name="T78" fmla="*/ 0 w 1320"/>
                <a:gd name="T79" fmla="*/ 0 h 999"/>
                <a:gd name="T80" fmla="*/ 0 w 1320"/>
                <a:gd name="T81" fmla="*/ 0 h 999"/>
                <a:gd name="T82" fmla="*/ 0 w 1320"/>
                <a:gd name="T83" fmla="*/ 0 h 999"/>
                <a:gd name="T84" fmla="*/ 0 w 1320"/>
                <a:gd name="T85" fmla="*/ 0 h 999"/>
                <a:gd name="T86" fmla="*/ 0 w 1320"/>
                <a:gd name="T87" fmla="*/ 0 h 999"/>
                <a:gd name="T88" fmla="*/ 0 w 1320"/>
                <a:gd name="T89" fmla="*/ 0 h 999"/>
                <a:gd name="T90" fmla="*/ 0 w 1320"/>
                <a:gd name="T91" fmla="*/ 0 h 999"/>
                <a:gd name="T92" fmla="*/ 0 w 1320"/>
                <a:gd name="T93" fmla="*/ 0 h 999"/>
                <a:gd name="T94" fmla="*/ 0 w 1320"/>
                <a:gd name="T95" fmla="*/ 0 h 999"/>
                <a:gd name="T96" fmla="*/ 0 w 1320"/>
                <a:gd name="T97" fmla="*/ 0 h 999"/>
                <a:gd name="T98" fmla="*/ 0 w 1320"/>
                <a:gd name="T99" fmla="*/ 0 h 999"/>
                <a:gd name="T100" fmla="*/ 0 w 1320"/>
                <a:gd name="T101" fmla="*/ 0 h 999"/>
                <a:gd name="T102" fmla="*/ 0 w 1320"/>
                <a:gd name="T103" fmla="*/ 0 h 999"/>
                <a:gd name="T104" fmla="*/ 0 w 1320"/>
                <a:gd name="T105" fmla="*/ 0 h 999"/>
                <a:gd name="T106" fmla="*/ 0 w 1320"/>
                <a:gd name="T107" fmla="*/ 0 h 999"/>
                <a:gd name="T108" fmla="*/ 0 w 1320"/>
                <a:gd name="T109" fmla="*/ 0 h 999"/>
                <a:gd name="T110" fmla="*/ 0 w 1320"/>
                <a:gd name="T111" fmla="*/ 0 h 999"/>
                <a:gd name="T112" fmla="*/ 0 w 1320"/>
                <a:gd name="T113" fmla="*/ 0 h 999"/>
                <a:gd name="T114" fmla="*/ 0 w 1320"/>
                <a:gd name="T115" fmla="*/ 0 h 999"/>
                <a:gd name="T116" fmla="*/ 0 w 1320"/>
                <a:gd name="T117" fmla="*/ 0 h 999"/>
                <a:gd name="T118" fmla="*/ 0 w 1320"/>
                <a:gd name="T119" fmla="*/ 0 h 999"/>
                <a:gd name="T120" fmla="*/ 0 w 1320"/>
                <a:gd name="T121" fmla="*/ 0 h 999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320"/>
                <a:gd name="T184" fmla="*/ 0 h 999"/>
                <a:gd name="T185" fmla="*/ 1320 w 1320"/>
                <a:gd name="T186" fmla="*/ 999 h 999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320" h="999">
                  <a:moveTo>
                    <a:pt x="1283" y="578"/>
                  </a:moveTo>
                  <a:cubicBezTo>
                    <a:pt x="1307" y="570"/>
                    <a:pt x="1284" y="527"/>
                    <a:pt x="1276" y="507"/>
                  </a:cubicBezTo>
                  <a:cubicBezTo>
                    <a:pt x="1272" y="500"/>
                    <a:pt x="1224" y="484"/>
                    <a:pt x="1216" y="480"/>
                  </a:cubicBezTo>
                  <a:cubicBezTo>
                    <a:pt x="1208" y="476"/>
                    <a:pt x="1192" y="464"/>
                    <a:pt x="1192" y="464"/>
                  </a:cubicBezTo>
                  <a:cubicBezTo>
                    <a:pt x="1172" y="436"/>
                    <a:pt x="1184" y="400"/>
                    <a:pt x="1188" y="368"/>
                  </a:cubicBezTo>
                  <a:cubicBezTo>
                    <a:pt x="1188" y="340"/>
                    <a:pt x="1192" y="316"/>
                    <a:pt x="1192" y="288"/>
                  </a:cubicBezTo>
                  <a:cubicBezTo>
                    <a:pt x="1200" y="164"/>
                    <a:pt x="1196" y="144"/>
                    <a:pt x="1312" y="128"/>
                  </a:cubicBezTo>
                  <a:cubicBezTo>
                    <a:pt x="1320" y="116"/>
                    <a:pt x="1292" y="56"/>
                    <a:pt x="1272" y="48"/>
                  </a:cubicBezTo>
                  <a:cubicBezTo>
                    <a:pt x="1256" y="40"/>
                    <a:pt x="1228" y="40"/>
                    <a:pt x="1216" y="40"/>
                  </a:cubicBezTo>
                  <a:cubicBezTo>
                    <a:pt x="1176" y="28"/>
                    <a:pt x="1144" y="20"/>
                    <a:pt x="1104" y="16"/>
                  </a:cubicBezTo>
                  <a:cubicBezTo>
                    <a:pt x="1084" y="8"/>
                    <a:pt x="1064" y="4"/>
                    <a:pt x="1044" y="0"/>
                  </a:cubicBezTo>
                  <a:cubicBezTo>
                    <a:pt x="996" y="4"/>
                    <a:pt x="968" y="8"/>
                    <a:pt x="924" y="24"/>
                  </a:cubicBezTo>
                  <a:cubicBezTo>
                    <a:pt x="912" y="28"/>
                    <a:pt x="900" y="44"/>
                    <a:pt x="888" y="48"/>
                  </a:cubicBezTo>
                  <a:cubicBezTo>
                    <a:pt x="852" y="56"/>
                    <a:pt x="816" y="64"/>
                    <a:pt x="784" y="80"/>
                  </a:cubicBezTo>
                  <a:cubicBezTo>
                    <a:pt x="780" y="96"/>
                    <a:pt x="772" y="104"/>
                    <a:pt x="760" y="112"/>
                  </a:cubicBezTo>
                  <a:cubicBezTo>
                    <a:pt x="752" y="128"/>
                    <a:pt x="752" y="136"/>
                    <a:pt x="736" y="140"/>
                  </a:cubicBezTo>
                  <a:cubicBezTo>
                    <a:pt x="708" y="168"/>
                    <a:pt x="720" y="156"/>
                    <a:pt x="700" y="172"/>
                  </a:cubicBezTo>
                  <a:cubicBezTo>
                    <a:pt x="688" y="208"/>
                    <a:pt x="648" y="200"/>
                    <a:pt x="612" y="224"/>
                  </a:cubicBezTo>
                  <a:cubicBezTo>
                    <a:pt x="492" y="232"/>
                    <a:pt x="336" y="264"/>
                    <a:pt x="192" y="272"/>
                  </a:cubicBezTo>
                  <a:cubicBezTo>
                    <a:pt x="72" y="264"/>
                    <a:pt x="152" y="252"/>
                    <a:pt x="96" y="196"/>
                  </a:cubicBezTo>
                  <a:cubicBezTo>
                    <a:pt x="88" y="168"/>
                    <a:pt x="80" y="172"/>
                    <a:pt x="60" y="160"/>
                  </a:cubicBezTo>
                  <a:cubicBezTo>
                    <a:pt x="48" y="191"/>
                    <a:pt x="33" y="242"/>
                    <a:pt x="16" y="244"/>
                  </a:cubicBezTo>
                  <a:cubicBezTo>
                    <a:pt x="0" y="288"/>
                    <a:pt x="27" y="326"/>
                    <a:pt x="36" y="370"/>
                  </a:cubicBezTo>
                  <a:cubicBezTo>
                    <a:pt x="39" y="397"/>
                    <a:pt x="43" y="406"/>
                    <a:pt x="51" y="410"/>
                  </a:cubicBezTo>
                  <a:cubicBezTo>
                    <a:pt x="86" y="415"/>
                    <a:pt x="108" y="424"/>
                    <a:pt x="124" y="432"/>
                  </a:cubicBezTo>
                  <a:cubicBezTo>
                    <a:pt x="136" y="448"/>
                    <a:pt x="140" y="448"/>
                    <a:pt x="156" y="460"/>
                  </a:cubicBezTo>
                  <a:cubicBezTo>
                    <a:pt x="169" y="502"/>
                    <a:pt x="142" y="523"/>
                    <a:pt x="129" y="541"/>
                  </a:cubicBezTo>
                  <a:cubicBezTo>
                    <a:pt x="115" y="557"/>
                    <a:pt x="91" y="559"/>
                    <a:pt x="84" y="571"/>
                  </a:cubicBezTo>
                  <a:cubicBezTo>
                    <a:pt x="80" y="592"/>
                    <a:pt x="80" y="583"/>
                    <a:pt x="88" y="603"/>
                  </a:cubicBezTo>
                  <a:cubicBezTo>
                    <a:pt x="92" y="626"/>
                    <a:pt x="87" y="637"/>
                    <a:pt x="86" y="662"/>
                  </a:cubicBezTo>
                  <a:cubicBezTo>
                    <a:pt x="89" y="695"/>
                    <a:pt x="86" y="715"/>
                    <a:pt x="78" y="739"/>
                  </a:cubicBezTo>
                  <a:cubicBezTo>
                    <a:pt x="84" y="755"/>
                    <a:pt x="79" y="754"/>
                    <a:pt x="93" y="764"/>
                  </a:cubicBezTo>
                  <a:cubicBezTo>
                    <a:pt x="107" y="774"/>
                    <a:pt x="139" y="787"/>
                    <a:pt x="160" y="799"/>
                  </a:cubicBezTo>
                  <a:cubicBezTo>
                    <a:pt x="183" y="817"/>
                    <a:pt x="201" y="817"/>
                    <a:pt x="216" y="835"/>
                  </a:cubicBezTo>
                  <a:cubicBezTo>
                    <a:pt x="232" y="859"/>
                    <a:pt x="245" y="878"/>
                    <a:pt x="252" y="907"/>
                  </a:cubicBezTo>
                  <a:cubicBezTo>
                    <a:pt x="248" y="943"/>
                    <a:pt x="244" y="963"/>
                    <a:pt x="248" y="999"/>
                  </a:cubicBezTo>
                  <a:cubicBezTo>
                    <a:pt x="252" y="983"/>
                    <a:pt x="269" y="977"/>
                    <a:pt x="269" y="977"/>
                  </a:cubicBezTo>
                  <a:cubicBezTo>
                    <a:pt x="311" y="961"/>
                    <a:pt x="422" y="956"/>
                    <a:pt x="438" y="956"/>
                  </a:cubicBezTo>
                  <a:cubicBezTo>
                    <a:pt x="444" y="941"/>
                    <a:pt x="447" y="931"/>
                    <a:pt x="450" y="923"/>
                  </a:cubicBezTo>
                  <a:cubicBezTo>
                    <a:pt x="477" y="911"/>
                    <a:pt x="480" y="899"/>
                    <a:pt x="500" y="878"/>
                  </a:cubicBezTo>
                  <a:cubicBezTo>
                    <a:pt x="516" y="866"/>
                    <a:pt x="516" y="869"/>
                    <a:pt x="536" y="865"/>
                  </a:cubicBezTo>
                  <a:cubicBezTo>
                    <a:pt x="568" y="869"/>
                    <a:pt x="576" y="875"/>
                    <a:pt x="600" y="887"/>
                  </a:cubicBezTo>
                  <a:cubicBezTo>
                    <a:pt x="650" y="920"/>
                    <a:pt x="668" y="907"/>
                    <a:pt x="720" y="911"/>
                  </a:cubicBezTo>
                  <a:cubicBezTo>
                    <a:pt x="753" y="911"/>
                    <a:pt x="777" y="913"/>
                    <a:pt x="819" y="898"/>
                  </a:cubicBezTo>
                  <a:cubicBezTo>
                    <a:pt x="831" y="894"/>
                    <a:pt x="848" y="881"/>
                    <a:pt x="852" y="883"/>
                  </a:cubicBezTo>
                  <a:cubicBezTo>
                    <a:pt x="869" y="859"/>
                    <a:pt x="900" y="863"/>
                    <a:pt x="928" y="855"/>
                  </a:cubicBezTo>
                  <a:cubicBezTo>
                    <a:pt x="948" y="827"/>
                    <a:pt x="931" y="802"/>
                    <a:pt x="924" y="770"/>
                  </a:cubicBezTo>
                  <a:cubicBezTo>
                    <a:pt x="904" y="753"/>
                    <a:pt x="917" y="722"/>
                    <a:pt x="917" y="722"/>
                  </a:cubicBezTo>
                  <a:cubicBezTo>
                    <a:pt x="933" y="719"/>
                    <a:pt x="925" y="718"/>
                    <a:pt x="941" y="730"/>
                  </a:cubicBezTo>
                  <a:cubicBezTo>
                    <a:pt x="951" y="745"/>
                    <a:pt x="955" y="743"/>
                    <a:pt x="965" y="749"/>
                  </a:cubicBezTo>
                  <a:cubicBezTo>
                    <a:pt x="975" y="755"/>
                    <a:pt x="1001" y="769"/>
                    <a:pt x="1002" y="767"/>
                  </a:cubicBezTo>
                  <a:cubicBezTo>
                    <a:pt x="992" y="728"/>
                    <a:pt x="973" y="745"/>
                    <a:pt x="969" y="737"/>
                  </a:cubicBezTo>
                  <a:cubicBezTo>
                    <a:pt x="965" y="729"/>
                    <a:pt x="971" y="722"/>
                    <a:pt x="975" y="716"/>
                  </a:cubicBezTo>
                  <a:cubicBezTo>
                    <a:pt x="979" y="716"/>
                    <a:pt x="988" y="701"/>
                    <a:pt x="992" y="701"/>
                  </a:cubicBezTo>
                  <a:cubicBezTo>
                    <a:pt x="996" y="697"/>
                    <a:pt x="995" y="689"/>
                    <a:pt x="995" y="685"/>
                  </a:cubicBezTo>
                  <a:cubicBezTo>
                    <a:pt x="995" y="673"/>
                    <a:pt x="1003" y="663"/>
                    <a:pt x="1007" y="655"/>
                  </a:cubicBezTo>
                  <a:cubicBezTo>
                    <a:pt x="1011" y="644"/>
                    <a:pt x="1029" y="642"/>
                    <a:pt x="1037" y="638"/>
                  </a:cubicBezTo>
                  <a:cubicBezTo>
                    <a:pt x="1065" y="620"/>
                    <a:pt x="1082" y="598"/>
                    <a:pt x="1118" y="586"/>
                  </a:cubicBezTo>
                  <a:cubicBezTo>
                    <a:pt x="1145" y="581"/>
                    <a:pt x="1157" y="602"/>
                    <a:pt x="1200" y="603"/>
                  </a:cubicBezTo>
                  <a:cubicBezTo>
                    <a:pt x="1222" y="603"/>
                    <a:pt x="1243" y="600"/>
                    <a:pt x="1257" y="596"/>
                  </a:cubicBezTo>
                  <a:cubicBezTo>
                    <a:pt x="1271" y="592"/>
                    <a:pt x="1266" y="583"/>
                    <a:pt x="1283" y="578"/>
                  </a:cubicBez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  <p:sp>
          <p:nvSpPr>
            <p:cNvPr id="280" name="Freeform 88"/>
            <p:cNvSpPr>
              <a:spLocks noChangeAspect="1"/>
            </p:cNvSpPr>
            <p:nvPr/>
          </p:nvSpPr>
          <p:spPr bwMode="auto">
            <a:xfrm>
              <a:off x="3124" y="3471"/>
              <a:ext cx="142" cy="130"/>
            </a:xfrm>
            <a:custGeom>
              <a:avLst/>
              <a:gdLst>
                <a:gd name="T0" fmla="*/ 0 w 559"/>
                <a:gd name="T1" fmla="*/ 0 h 512"/>
                <a:gd name="T2" fmla="*/ 0 w 559"/>
                <a:gd name="T3" fmla="*/ 0 h 512"/>
                <a:gd name="T4" fmla="*/ 0 w 559"/>
                <a:gd name="T5" fmla="*/ 0 h 512"/>
                <a:gd name="T6" fmla="*/ 0 w 559"/>
                <a:gd name="T7" fmla="*/ 0 h 512"/>
                <a:gd name="T8" fmla="*/ 0 w 559"/>
                <a:gd name="T9" fmla="*/ 0 h 512"/>
                <a:gd name="T10" fmla="*/ 0 w 559"/>
                <a:gd name="T11" fmla="*/ 0 h 512"/>
                <a:gd name="T12" fmla="*/ 0 w 559"/>
                <a:gd name="T13" fmla="*/ 0 h 512"/>
                <a:gd name="T14" fmla="*/ 0 w 559"/>
                <a:gd name="T15" fmla="*/ 0 h 512"/>
                <a:gd name="T16" fmla="*/ 0 w 559"/>
                <a:gd name="T17" fmla="*/ 0 h 512"/>
                <a:gd name="T18" fmla="*/ 0 w 559"/>
                <a:gd name="T19" fmla="*/ 0 h 512"/>
                <a:gd name="T20" fmla="*/ 0 w 559"/>
                <a:gd name="T21" fmla="*/ 0 h 512"/>
                <a:gd name="T22" fmla="*/ 0 w 559"/>
                <a:gd name="T23" fmla="*/ 0 h 512"/>
                <a:gd name="T24" fmla="*/ 0 w 559"/>
                <a:gd name="T25" fmla="*/ 0 h 512"/>
                <a:gd name="T26" fmla="*/ 0 w 559"/>
                <a:gd name="T27" fmla="*/ 0 h 512"/>
                <a:gd name="T28" fmla="*/ 0 w 559"/>
                <a:gd name="T29" fmla="*/ 0 h 512"/>
                <a:gd name="T30" fmla="*/ 0 w 559"/>
                <a:gd name="T31" fmla="*/ 0 h 512"/>
                <a:gd name="T32" fmla="*/ 0 w 559"/>
                <a:gd name="T33" fmla="*/ 0 h 512"/>
                <a:gd name="T34" fmla="*/ 0 w 559"/>
                <a:gd name="T35" fmla="*/ 0 h 512"/>
                <a:gd name="T36" fmla="*/ 0 w 559"/>
                <a:gd name="T37" fmla="*/ 0 h 512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559"/>
                <a:gd name="T58" fmla="*/ 0 h 512"/>
                <a:gd name="T59" fmla="*/ 559 w 559"/>
                <a:gd name="T60" fmla="*/ 512 h 512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559" h="512">
                  <a:moveTo>
                    <a:pt x="380" y="28"/>
                  </a:moveTo>
                  <a:cubicBezTo>
                    <a:pt x="310" y="36"/>
                    <a:pt x="242" y="57"/>
                    <a:pt x="200" y="83"/>
                  </a:cubicBezTo>
                  <a:cubicBezTo>
                    <a:pt x="184" y="87"/>
                    <a:pt x="155" y="102"/>
                    <a:pt x="155" y="102"/>
                  </a:cubicBezTo>
                  <a:cubicBezTo>
                    <a:pt x="110" y="107"/>
                    <a:pt x="74" y="123"/>
                    <a:pt x="52" y="160"/>
                  </a:cubicBezTo>
                  <a:cubicBezTo>
                    <a:pt x="48" y="180"/>
                    <a:pt x="49" y="188"/>
                    <a:pt x="32" y="200"/>
                  </a:cubicBezTo>
                  <a:cubicBezTo>
                    <a:pt x="16" y="220"/>
                    <a:pt x="5" y="227"/>
                    <a:pt x="0" y="268"/>
                  </a:cubicBezTo>
                  <a:cubicBezTo>
                    <a:pt x="4" y="308"/>
                    <a:pt x="5" y="341"/>
                    <a:pt x="16" y="380"/>
                  </a:cubicBezTo>
                  <a:cubicBezTo>
                    <a:pt x="23" y="401"/>
                    <a:pt x="27" y="421"/>
                    <a:pt x="43" y="437"/>
                  </a:cubicBezTo>
                  <a:cubicBezTo>
                    <a:pt x="51" y="457"/>
                    <a:pt x="76" y="467"/>
                    <a:pt x="80" y="484"/>
                  </a:cubicBezTo>
                  <a:cubicBezTo>
                    <a:pt x="94" y="494"/>
                    <a:pt x="101" y="491"/>
                    <a:pt x="121" y="512"/>
                  </a:cubicBezTo>
                  <a:cubicBezTo>
                    <a:pt x="154" y="503"/>
                    <a:pt x="184" y="492"/>
                    <a:pt x="216" y="484"/>
                  </a:cubicBezTo>
                  <a:cubicBezTo>
                    <a:pt x="248" y="477"/>
                    <a:pt x="275" y="468"/>
                    <a:pt x="298" y="456"/>
                  </a:cubicBezTo>
                  <a:cubicBezTo>
                    <a:pt x="313" y="447"/>
                    <a:pt x="317" y="440"/>
                    <a:pt x="329" y="426"/>
                  </a:cubicBezTo>
                  <a:cubicBezTo>
                    <a:pt x="356" y="395"/>
                    <a:pt x="352" y="397"/>
                    <a:pt x="392" y="369"/>
                  </a:cubicBezTo>
                  <a:cubicBezTo>
                    <a:pt x="433" y="360"/>
                    <a:pt x="542" y="398"/>
                    <a:pt x="556" y="284"/>
                  </a:cubicBezTo>
                  <a:cubicBezTo>
                    <a:pt x="555" y="257"/>
                    <a:pt x="557" y="233"/>
                    <a:pt x="559" y="198"/>
                  </a:cubicBezTo>
                  <a:cubicBezTo>
                    <a:pt x="552" y="166"/>
                    <a:pt x="535" y="140"/>
                    <a:pt x="508" y="116"/>
                  </a:cubicBezTo>
                  <a:cubicBezTo>
                    <a:pt x="464" y="92"/>
                    <a:pt x="432" y="68"/>
                    <a:pt x="396" y="56"/>
                  </a:cubicBezTo>
                  <a:cubicBezTo>
                    <a:pt x="392" y="48"/>
                    <a:pt x="380" y="0"/>
                    <a:pt x="380" y="28"/>
                  </a:cubicBez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  <p:sp>
          <p:nvSpPr>
            <p:cNvPr id="281" name="Freeform 89"/>
            <p:cNvSpPr>
              <a:spLocks noChangeAspect="1"/>
            </p:cNvSpPr>
            <p:nvPr/>
          </p:nvSpPr>
          <p:spPr bwMode="auto">
            <a:xfrm>
              <a:off x="3053" y="3476"/>
              <a:ext cx="117" cy="232"/>
            </a:xfrm>
            <a:custGeom>
              <a:avLst/>
              <a:gdLst>
                <a:gd name="T0" fmla="*/ 0 w 467"/>
                <a:gd name="T1" fmla="*/ 0 h 920"/>
                <a:gd name="T2" fmla="*/ 0 w 467"/>
                <a:gd name="T3" fmla="*/ 0 h 920"/>
                <a:gd name="T4" fmla="*/ 0 w 467"/>
                <a:gd name="T5" fmla="*/ 0 h 920"/>
                <a:gd name="T6" fmla="*/ 0 w 467"/>
                <a:gd name="T7" fmla="*/ 0 h 920"/>
                <a:gd name="T8" fmla="*/ 0 w 467"/>
                <a:gd name="T9" fmla="*/ 0 h 920"/>
                <a:gd name="T10" fmla="*/ 0 w 467"/>
                <a:gd name="T11" fmla="*/ 0 h 920"/>
                <a:gd name="T12" fmla="*/ 0 w 467"/>
                <a:gd name="T13" fmla="*/ 0 h 920"/>
                <a:gd name="T14" fmla="*/ 0 w 467"/>
                <a:gd name="T15" fmla="*/ 0 h 920"/>
                <a:gd name="T16" fmla="*/ 0 w 467"/>
                <a:gd name="T17" fmla="*/ 0 h 920"/>
                <a:gd name="T18" fmla="*/ 0 w 467"/>
                <a:gd name="T19" fmla="*/ 0 h 920"/>
                <a:gd name="T20" fmla="*/ 0 w 467"/>
                <a:gd name="T21" fmla="*/ 0 h 920"/>
                <a:gd name="T22" fmla="*/ 0 w 467"/>
                <a:gd name="T23" fmla="*/ 0 h 920"/>
                <a:gd name="T24" fmla="*/ 0 w 467"/>
                <a:gd name="T25" fmla="*/ 0 h 920"/>
                <a:gd name="T26" fmla="*/ 0 w 467"/>
                <a:gd name="T27" fmla="*/ 0 h 920"/>
                <a:gd name="T28" fmla="*/ 0 w 467"/>
                <a:gd name="T29" fmla="*/ 0 h 920"/>
                <a:gd name="T30" fmla="*/ 0 w 467"/>
                <a:gd name="T31" fmla="*/ 0 h 920"/>
                <a:gd name="T32" fmla="*/ 0 w 467"/>
                <a:gd name="T33" fmla="*/ 0 h 920"/>
                <a:gd name="T34" fmla="*/ 0 w 467"/>
                <a:gd name="T35" fmla="*/ 0 h 920"/>
                <a:gd name="T36" fmla="*/ 0 w 467"/>
                <a:gd name="T37" fmla="*/ 0 h 920"/>
                <a:gd name="T38" fmla="*/ 0 w 467"/>
                <a:gd name="T39" fmla="*/ 0 h 920"/>
                <a:gd name="T40" fmla="*/ 0 w 467"/>
                <a:gd name="T41" fmla="*/ 0 h 920"/>
                <a:gd name="T42" fmla="*/ 0 w 467"/>
                <a:gd name="T43" fmla="*/ 0 h 920"/>
                <a:gd name="T44" fmla="*/ 0 w 467"/>
                <a:gd name="T45" fmla="*/ 0 h 920"/>
                <a:gd name="T46" fmla="*/ 0 w 467"/>
                <a:gd name="T47" fmla="*/ 0 h 920"/>
                <a:gd name="T48" fmla="*/ 0 w 467"/>
                <a:gd name="T49" fmla="*/ 0 h 920"/>
                <a:gd name="T50" fmla="*/ 0 w 467"/>
                <a:gd name="T51" fmla="*/ 0 h 920"/>
                <a:gd name="T52" fmla="*/ 0 w 467"/>
                <a:gd name="T53" fmla="*/ 0 h 920"/>
                <a:gd name="T54" fmla="*/ 0 w 467"/>
                <a:gd name="T55" fmla="*/ 0 h 920"/>
                <a:gd name="T56" fmla="*/ 0 w 467"/>
                <a:gd name="T57" fmla="*/ 0 h 920"/>
                <a:gd name="T58" fmla="*/ 0 w 467"/>
                <a:gd name="T59" fmla="*/ 0 h 920"/>
                <a:gd name="T60" fmla="*/ 0 w 467"/>
                <a:gd name="T61" fmla="*/ 0 h 920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467"/>
                <a:gd name="T94" fmla="*/ 0 h 920"/>
                <a:gd name="T95" fmla="*/ 467 w 467"/>
                <a:gd name="T96" fmla="*/ 920 h 920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467" h="920">
                  <a:moveTo>
                    <a:pt x="306" y="189"/>
                  </a:moveTo>
                  <a:cubicBezTo>
                    <a:pt x="294" y="186"/>
                    <a:pt x="283" y="154"/>
                    <a:pt x="291" y="134"/>
                  </a:cubicBezTo>
                  <a:cubicBezTo>
                    <a:pt x="285" y="119"/>
                    <a:pt x="278" y="105"/>
                    <a:pt x="273" y="93"/>
                  </a:cubicBezTo>
                  <a:cubicBezTo>
                    <a:pt x="259" y="84"/>
                    <a:pt x="230" y="90"/>
                    <a:pt x="209" y="78"/>
                  </a:cubicBezTo>
                  <a:cubicBezTo>
                    <a:pt x="186" y="68"/>
                    <a:pt x="191" y="56"/>
                    <a:pt x="185" y="50"/>
                  </a:cubicBezTo>
                  <a:cubicBezTo>
                    <a:pt x="175" y="43"/>
                    <a:pt x="159" y="36"/>
                    <a:pt x="147" y="35"/>
                  </a:cubicBezTo>
                  <a:cubicBezTo>
                    <a:pt x="139" y="47"/>
                    <a:pt x="138" y="35"/>
                    <a:pt x="122" y="39"/>
                  </a:cubicBezTo>
                  <a:cubicBezTo>
                    <a:pt x="94" y="31"/>
                    <a:pt x="102" y="18"/>
                    <a:pt x="84" y="0"/>
                  </a:cubicBezTo>
                  <a:cubicBezTo>
                    <a:pt x="54" y="23"/>
                    <a:pt x="41" y="54"/>
                    <a:pt x="31" y="74"/>
                  </a:cubicBezTo>
                  <a:cubicBezTo>
                    <a:pt x="23" y="102"/>
                    <a:pt x="18" y="111"/>
                    <a:pt x="8" y="129"/>
                  </a:cubicBezTo>
                  <a:cubicBezTo>
                    <a:pt x="0" y="149"/>
                    <a:pt x="3" y="135"/>
                    <a:pt x="17" y="146"/>
                  </a:cubicBezTo>
                  <a:cubicBezTo>
                    <a:pt x="26" y="164"/>
                    <a:pt x="29" y="176"/>
                    <a:pt x="35" y="192"/>
                  </a:cubicBezTo>
                  <a:cubicBezTo>
                    <a:pt x="39" y="228"/>
                    <a:pt x="51" y="258"/>
                    <a:pt x="87" y="274"/>
                  </a:cubicBezTo>
                  <a:cubicBezTo>
                    <a:pt x="91" y="290"/>
                    <a:pt x="87" y="294"/>
                    <a:pt x="79" y="310"/>
                  </a:cubicBezTo>
                  <a:cubicBezTo>
                    <a:pt x="67" y="350"/>
                    <a:pt x="87" y="634"/>
                    <a:pt x="103" y="642"/>
                  </a:cubicBezTo>
                  <a:cubicBezTo>
                    <a:pt x="119" y="674"/>
                    <a:pt x="131" y="714"/>
                    <a:pt x="143" y="746"/>
                  </a:cubicBezTo>
                  <a:cubicBezTo>
                    <a:pt x="147" y="762"/>
                    <a:pt x="207" y="766"/>
                    <a:pt x="223" y="770"/>
                  </a:cubicBezTo>
                  <a:cubicBezTo>
                    <a:pt x="235" y="778"/>
                    <a:pt x="239" y="790"/>
                    <a:pt x="255" y="794"/>
                  </a:cubicBezTo>
                  <a:cubicBezTo>
                    <a:pt x="279" y="834"/>
                    <a:pt x="308" y="884"/>
                    <a:pt x="332" y="920"/>
                  </a:cubicBezTo>
                  <a:cubicBezTo>
                    <a:pt x="341" y="897"/>
                    <a:pt x="326" y="840"/>
                    <a:pt x="327" y="807"/>
                  </a:cubicBezTo>
                  <a:cubicBezTo>
                    <a:pt x="335" y="774"/>
                    <a:pt x="288" y="749"/>
                    <a:pt x="384" y="720"/>
                  </a:cubicBezTo>
                  <a:cubicBezTo>
                    <a:pt x="396" y="696"/>
                    <a:pt x="405" y="674"/>
                    <a:pt x="398" y="644"/>
                  </a:cubicBezTo>
                  <a:cubicBezTo>
                    <a:pt x="384" y="617"/>
                    <a:pt x="402" y="611"/>
                    <a:pt x="434" y="599"/>
                  </a:cubicBezTo>
                  <a:cubicBezTo>
                    <a:pt x="467" y="609"/>
                    <a:pt x="453" y="581"/>
                    <a:pt x="437" y="542"/>
                  </a:cubicBezTo>
                  <a:cubicBezTo>
                    <a:pt x="429" y="530"/>
                    <a:pt x="431" y="516"/>
                    <a:pt x="423" y="504"/>
                  </a:cubicBezTo>
                  <a:cubicBezTo>
                    <a:pt x="419" y="496"/>
                    <a:pt x="403" y="494"/>
                    <a:pt x="403" y="494"/>
                  </a:cubicBezTo>
                  <a:cubicBezTo>
                    <a:pt x="391" y="482"/>
                    <a:pt x="367" y="466"/>
                    <a:pt x="367" y="466"/>
                  </a:cubicBezTo>
                  <a:cubicBezTo>
                    <a:pt x="355" y="450"/>
                    <a:pt x="342" y="434"/>
                    <a:pt x="327" y="422"/>
                  </a:cubicBezTo>
                  <a:cubicBezTo>
                    <a:pt x="315" y="402"/>
                    <a:pt x="295" y="374"/>
                    <a:pt x="291" y="334"/>
                  </a:cubicBezTo>
                  <a:cubicBezTo>
                    <a:pt x="285" y="304"/>
                    <a:pt x="281" y="263"/>
                    <a:pt x="282" y="243"/>
                  </a:cubicBezTo>
                  <a:cubicBezTo>
                    <a:pt x="285" y="219"/>
                    <a:pt x="303" y="195"/>
                    <a:pt x="306" y="189"/>
                  </a:cubicBez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  <p:grpSp>
          <p:nvGrpSpPr>
            <p:cNvPr id="282" name="Group 90"/>
            <p:cNvGrpSpPr>
              <a:grpSpLocks/>
            </p:cNvGrpSpPr>
            <p:nvPr/>
          </p:nvGrpSpPr>
          <p:grpSpPr bwMode="auto">
            <a:xfrm>
              <a:off x="3434" y="3438"/>
              <a:ext cx="173" cy="170"/>
              <a:chOff x="6214" y="7863"/>
              <a:chExt cx="684" cy="671"/>
            </a:xfrm>
            <a:grpFill/>
          </p:grpSpPr>
          <p:sp>
            <p:nvSpPr>
              <p:cNvPr id="317" name="Freeform 92"/>
              <p:cNvSpPr>
                <a:spLocks noChangeAspect="1"/>
              </p:cNvSpPr>
              <p:nvPr/>
            </p:nvSpPr>
            <p:spPr bwMode="auto">
              <a:xfrm>
                <a:off x="6214" y="8466"/>
                <a:ext cx="64" cy="68"/>
              </a:xfrm>
              <a:custGeom>
                <a:avLst/>
                <a:gdLst>
                  <a:gd name="T0" fmla="*/ 2147483647 w 16"/>
                  <a:gd name="T1" fmla="*/ 2147483647 h 17"/>
                  <a:gd name="T2" fmla="*/ 2147483647 w 16"/>
                  <a:gd name="T3" fmla="*/ 2147483647 h 17"/>
                  <a:gd name="T4" fmla="*/ 2147483647 w 16"/>
                  <a:gd name="T5" fmla="*/ 2147483647 h 17"/>
                  <a:gd name="T6" fmla="*/ 2147483647 w 16"/>
                  <a:gd name="T7" fmla="*/ 2147483647 h 17"/>
                  <a:gd name="T8" fmla="*/ 2147483647 w 16"/>
                  <a:gd name="T9" fmla="*/ 2147483647 h 1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6"/>
                  <a:gd name="T16" fmla="*/ 0 h 17"/>
                  <a:gd name="T17" fmla="*/ 16 w 16"/>
                  <a:gd name="T18" fmla="*/ 17 h 1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6" h="17">
                    <a:moveTo>
                      <a:pt x="13" y="3"/>
                    </a:moveTo>
                    <a:cubicBezTo>
                      <a:pt x="10" y="5"/>
                      <a:pt x="7" y="7"/>
                      <a:pt x="3" y="8"/>
                    </a:cubicBezTo>
                    <a:cubicBezTo>
                      <a:pt x="1" y="15"/>
                      <a:pt x="0" y="12"/>
                      <a:pt x="2" y="17"/>
                    </a:cubicBezTo>
                    <a:cubicBezTo>
                      <a:pt x="6" y="16"/>
                      <a:pt x="8" y="14"/>
                      <a:pt x="12" y="13"/>
                    </a:cubicBezTo>
                    <a:cubicBezTo>
                      <a:pt x="13" y="11"/>
                      <a:pt x="16" y="0"/>
                      <a:pt x="13" y="3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18" name="Freeform 93"/>
              <p:cNvSpPr>
                <a:spLocks noChangeAspect="1"/>
              </p:cNvSpPr>
              <p:nvPr/>
            </p:nvSpPr>
            <p:spPr bwMode="auto">
              <a:xfrm>
                <a:off x="6258" y="7863"/>
                <a:ext cx="640" cy="623"/>
              </a:xfrm>
              <a:custGeom>
                <a:avLst/>
                <a:gdLst>
                  <a:gd name="T0" fmla="*/ 340 w 640"/>
                  <a:gd name="T1" fmla="*/ 20 h 623"/>
                  <a:gd name="T2" fmla="*/ 384 w 640"/>
                  <a:gd name="T3" fmla="*/ 92 h 623"/>
                  <a:gd name="T4" fmla="*/ 468 w 640"/>
                  <a:gd name="T5" fmla="*/ 140 h 623"/>
                  <a:gd name="T6" fmla="*/ 604 w 640"/>
                  <a:gd name="T7" fmla="*/ 156 h 623"/>
                  <a:gd name="T8" fmla="*/ 588 w 640"/>
                  <a:gd name="T9" fmla="*/ 248 h 623"/>
                  <a:gd name="T10" fmla="*/ 516 w 640"/>
                  <a:gd name="T11" fmla="*/ 252 h 623"/>
                  <a:gd name="T12" fmla="*/ 472 w 640"/>
                  <a:gd name="T13" fmla="*/ 264 h 623"/>
                  <a:gd name="T14" fmla="*/ 388 w 640"/>
                  <a:gd name="T15" fmla="*/ 284 h 623"/>
                  <a:gd name="T16" fmla="*/ 324 w 640"/>
                  <a:gd name="T17" fmla="*/ 312 h 623"/>
                  <a:gd name="T18" fmla="*/ 280 w 640"/>
                  <a:gd name="T19" fmla="*/ 395 h 623"/>
                  <a:gd name="T20" fmla="*/ 208 w 640"/>
                  <a:gd name="T21" fmla="*/ 451 h 623"/>
                  <a:gd name="T22" fmla="*/ 160 w 640"/>
                  <a:gd name="T23" fmla="*/ 519 h 623"/>
                  <a:gd name="T24" fmla="*/ 84 w 640"/>
                  <a:gd name="T25" fmla="*/ 591 h 623"/>
                  <a:gd name="T26" fmla="*/ 56 w 640"/>
                  <a:gd name="T27" fmla="*/ 599 h 623"/>
                  <a:gd name="T28" fmla="*/ 100 w 640"/>
                  <a:gd name="T29" fmla="*/ 519 h 623"/>
                  <a:gd name="T30" fmla="*/ 124 w 640"/>
                  <a:gd name="T31" fmla="*/ 487 h 623"/>
                  <a:gd name="T32" fmla="*/ 72 w 640"/>
                  <a:gd name="T33" fmla="*/ 491 h 623"/>
                  <a:gd name="T34" fmla="*/ 0 w 640"/>
                  <a:gd name="T35" fmla="*/ 475 h 623"/>
                  <a:gd name="T36" fmla="*/ 28 w 640"/>
                  <a:gd name="T37" fmla="*/ 439 h 623"/>
                  <a:gd name="T38" fmla="*/ 48 w 640"/>
                  <a:gd name="T39" fmla="*/ 384 h 623"/>
                  <a:gd name="T40" fmla="*/ 38 w 640"/>
                  <a:gd name="T41" fmla="*/ 342 h 623"/>
                  <a:gd name="T42" fmla="*/ 81 w 640"/>
                  <a:gd name="T43" fmla="*/ 254 h 623"/>
                  <a:gd name="T44" fmla="*/ 42 w 640"/>
                  <a:gd name="T45" fmla="*/ 209 h 623"/>
                  <a:gd name="T46" fmla="*/ 4 w 640"/>
                  <a:gd name="T47" fmla="*/ 176 h 623"/>
                  <a:gd name="T48" fmla="*/ 28 w 640"/>
                  <a:gd name="T49" fmla="*/ 144 h 623"/>
                  <a:gd name="T50" fmla="*/ 48 w 640"/>
                  <a:gd name="T51" fmla="*/ 88 h 623"/>
                  <a:gd name="T52" fmla="*/ 72 w 640"/>
                  <a:gd name="T53" fmla="*/ 80 h 623"/>
                  <a:gd name="T54" fmla="*/ 156 w 640"/>
                  <a:gd name="T55" fmla="*/ 24 h 623"/>
                  <a:gd name="T56" fmla="*/ 216 w 640"/>
                  <a:gd name="T57" fmla="*/ 40 h 623"/>
                  <a:gd name="T58" fmla="*/ 296 w 640"/>
                  <a:gd name="T59" fmla="*/ 36 h 623"/>
                  <a:gd name="T60" fmla="*/ 340 w 640"/>
                  <a:gd name="T61" fmla="*/ 20 h 623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640"/>
                  <a:gd name="T94" fmla="*/ 0 h 623"/>
                  <a:gd name="T95" fmla="*/ 640 w 640"/>
                  <a:gd name="T96" fmla="*/ 623 h 623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640" h="623">
                    <a:moveTo>
                      <a:pt x="340" y="20"/>
                    </a:moveTo>
                    <a:cubicBezTo>
                      <a:pt x="352" y="56"/>
                      <a:pt x="352" y="72"/>
                      <a:pt x="384" y="92"/>
                    </a:cubicBezTo>
                    <a:cubicBezTo>
                      <a:pt x="400" y="136"/>
                      <a:pt x="424" y="136"/>
                      <a:pt x="468" y="140"/>
                    </a:cubicBezTo>
                    <a:cubicBezTo>
                      <a:pt x="512" y="148"/>
                      <a:pt x="604" y="156"/>
                      <a:pt x="604" y="156"/>
                    </a:cubicBezTo>
                    <a:cubicBezTo>
                      <a:pt x="640" y="168"/>
                      <a:pt x="616" y="244"/>
                      <a:pt x="588" y="248"/>
                    </a:cubicBezTo>
                    <a:cubicBezTo>
                      <a:pt x="564" y="252"/>
                      <a:pt x="540" y="252"/>
                      <a:pt x="516" y="252"/>
                    </a:cubicBezTo>
                    <a:cubicBezTo>
                      <a:pt x="500" y="256"/>
                      <a:pt x="472" y="264"/>
                      <a:pt x="472" y="264"/>
                    </a:cubicBezTo>
                    <a:cubicBezTo>
                      <a:pt x="444" y="284"/>
                      <a:pt x="424" y="280"/>
                      <a:pt x="388" y="284"/>
                    </a:cubicBezTo>
                    <a:cubicBezTo>
                      <a:pt x="368" y="292"/>
                      <a:pt x="344" y="300"/>
                      <a:pt x="324" y="312"/>
                    </a:cubicBezTo>
                    <a:cubicBezTo>
                      <a:pt x="316" y="339"/>
                      <a:pt x="312" y="383"/>
                      <a:pt x="280" y="395"/>
                    </a:cubicBezTo>
                    <a:cubicBezTo>
                      <a:pt x="264" y="415"/>
                      <a:pt x="232" y="443"/>
                      <a:pt x="208" y="451"/>
                    </a:cubicBezTo>
                    <a:cubicBezTo>
                      <a:pt x="196" y="471"/>
                      <a:pt x="180" y="507"/>
                      <a:pt x="160" y="519"/>
                    </a:cubicBezTo>
                    <a:cubicBezTo>
                      <a:pt x="152" y="535"/>
                      <a:pt x="104" y="583"/>
                      <a:pt x="84" y="591"/>
                    </a:cubicBezTo>
                    <a:cubicBezTo>
                      <a:pt x="80" y="615"/>
                      <a:pt x="68" y="623"/>
                      <a:pt x="56" y="599"/>
                    </a:cubicBezTo>
                    <a:cubicBezTo>
                      <a:pt x="64" y="579"/>
                      <a:pt x="80" y="531"/>
                      <a:pt x="100" y="519"/>
                    </a:cubicBezTo>
                    <a:cubicBezTo>
                      <a:pt x="108" y="499"/>
                      <a:pt x="120" y="503"/>
                      <a:pt x="124" y="487"/>
                    </a:cubicBezTo>
                    <a:cubicBezTo>
                      <a:pt x="116" y="447"/>
                      <a:pt x="96" y="483"/>
                      <a:pt x="72" y="491"/>
                    </a:cubicBezTo>
                    <a:cubicBezTo>
                      <a:pt x="40" y="487"/>
                      <a:pt x="28" y="479"/>
                      <a:pt x="0" y="475"/>
                    </a:cubicBezTo>
                    <a:cubicBezTo>
                      <a:pt x="12" y="463"/>
                      <a:pt x="16" y="451"/>
                      <a:pt x="28" y="439"/>
                    </a:cubicBezTo>
                    <a:cubicBezTo>
                      <a:pt x="32" y="423"/>
                      <a:pt x="44" y="400"/>
                      <a:pt x="48" y="384"/>
                    </a:cubicBezTo>
                    <a:cubicBezTo>
                      <a:pt x="44" y="364"/>
                      <a:pt x="46" y="362"/>
                      <a:pt x="38" y="342"/>
                    </a:cubicBezTo>
                    <a:cubicBezTo>
                      <a:pt x="42" y="303"/>
                      <a:pt x="59" y="275"/>
                      <a:pt x="81" y="254"/>
                    </a:cubicBezTo>
                    <a:cubicBezTo>
                      <a:pt x="83" y="232"/>
                      <a:pt x="55" y="222"/>
                      <a:pt x="42" y="209"/>
                    </a:cubicBezTo>
                    <a:cubicBezTo>
                      <a:pt x="38" y="194"/>
                      <a:pt x="42" y="183"/>
                      <a:pt x="4" y="176"/>
                    </a:cubicBezTo>
                    <a:cubicBezTo>
                      <a:pt x="8" y="160"/>
                      <a:pt x="16" y="152"/>
                      <a:pt x="28" y="144"/>
                    </a:cubicBezTo>
                    <a:cubicBezTo>
                      <a:pt x="36" y="128"/>
                      <a:pt x="40" y="100"/>
                      <a:pt x="48" y="88"/>
                    </a:cubicBezTo>
                    <a:cubicBezTo>
                      <a:pt x="52" y="80"/>
                      <a:pt x="64" y="84"/>
                      <a:pt x="72" y="80"/>
                    </a:cubicBezTo>
                    <a:cubicBezTo>
                      <a:pt x="100" y="60"/>
                      <a:pt x="128" y="44"/>
                      <a:pt x="156" y="24"/>
                    </a:cubicBezTo>
                    <a:cubicBezTo>
                      <a:pt x="176" y="28"/>
                      <a:pt x="216" y="40"/>
                      <a:pt x="216" y="40"/>
                    </a:cubicBezTo>
                    <a:cubicBezTo>
                      <a:pt x="236" y="56"/>
                      <a:pt x="272" y="36"/>
                      <a:pt x="296" y="36"/>
                    </a:cubicBezTo>
                    <a:cubicBezTo>
                      <a:pt x="300" y="32"/>
                      <a:pt x="340" y="0"/>
                      <a:pt x="340" y="2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</p:grpSp>
        <p:sp>
          <p:nvSpPr>
            <p:cNvPr id="283" name="Freeform 94"/>
            <p:cNvSpPr>
              <a:spLocks noChangeAspect="1"/>
            </p:cNvSpPr>
            <p:nvPr/>
          </p:nvSpPr>
          <p:spPr bwMode="auto">
            <a:xfrm>
              <a:off x="2842" y="3300"/>
              <a:ext cx="211" cy="192"/>
            </a:xfrm>
            <a:custGeom>
              <a:avLst/>
              <a:gdLst>
                <a:gd name="T0" fmla="*/ 0 w 837"/>
                <a:gd name="T1" fmla="*/ 0 h 756"/>
                <a:gd name="T2" fmla="*/ 0 w 837"/>
                <a:gd name="T3" fmla="*/ 0 h 756"/>
                <a:gd name="T4" fmla="*/ 0 w 837"/>
                <a:gd name="T5" fmla="*/ 0 h 756"/>
                <a:gd name="T6" fmla="*/ 0 w 837"/>
                <a:gd name="T7" fmla="*/ 0 h 756"/>
                <a:gd name="T8" fmla="*/ 0 w 837"/>
                <a:gd name="T9" fmla="*/ 0 h 756"/>
                <a:gd name="T10" fmla="*/ 0 w 837"/>
                <a:gd name="T11" fmla="*/ 0 h 756"/>
                <a:gd name="T12" fmla="*/ 0 w 837"/>
                <a:gd name="T13" fmla="*/ 0 h 756"/>
                <a:gd name="T14" fmla="*/ 0 w 837"/>
                <a:gd name="T15" fmla="*/ 0 h 756"/>
                <a:gd name="T16" fmla="*/ 0 w 837"/>
                <a:gd name="T17" fmla="*/ 0 h 756"/>
                <a:gd name="T18" fmla="*/ 0 w 837"/>
                <a:gd name="T19" fmla="*/ 0 h 756"/>
                <a:gd name="T20" fmla="*/ 0 w 837"/>
                <a:gd name="T21" fmla="*/ 0 h 756"/>
                <a:gd name="T22" fmla="*/ 0 w 837"/>
                <a:gd name="T23" fmla="*/ 0 h 756"/>
                <a:gd name="T24" fmla="*/ 0 w 837"/>
                <a:gd name="T25" fmla="*/ 0 h 756"/>
                <a:gd name="T26" fmla="*/ 0 w 837"/>
                <a:gd name="T27" fmla="*/ 0 h 756"/>
                <a:gd name="T28" fmla="*/ 0 w 837"/>
                <a:gd name="T29" fmla="*/ 0 h 756"/>
                <a:gd name="T30" fmla="*/ 0 w 837"/>
                <a:gd name="T31" fmla="*/ 0 h 756"/>
                <a:gd name="T32" fmla="*/ 0 w 837"/>
                <a:gd name="T33" fmla="*/ 0 h 756"/>
                <a:gd name="T34" fmla="*/ 0 w 837"/>
                <a:gd name="T35" fmla="*/ 0 h 756"/>
                <a:gd name="T36" fmla="*/ 0 w 837"/>
                <a:gd name="T37" fmla="*/ 0 h 756"/>
                <a:gd name="T38" fmla="*/ 0 w 837"/>
                <a:gd name="T39" fmla="*/ 0 h 756"/>
                <a:gd name="T40" fmla="*/ 0 w 837"/>
                <a:gd name="T41" fmla="*/ 0 h 756"/>
                <a:gd name="T42" fmla="*/ 0 w 837"/>
                <a:gd name="T43" fmla="*/ 0 h 756"/>
                <a:gd name="T44" fmla="*/ 0 w 837"/>
                <a:gd name="T45" fmla="*/ 0 h 756"/>
                <a:gd name="T46" fmla="*/ 0 w 837"/>
                <a:gd name="T47" fmla="*/ 0 h 756"/>
                <a:gd name="T48" fmla="*/ 0 w 837"/>
                <a:gd name="T49" fmla="*/ 0 h 756"/>
                <a:gd name="T50" fmla="*/ 0 w 837"/>
                <a:gd name="T51" fmla="*/ 0 h 756"/>
                <a:gd name="T52" fmla="*/ 0 w 837"/>
                <a:gd name="T53" fmla="*/ 0 h 756"/>
                <a:gd name="T54" fmla="*/ 0 w 837"/>
                <a:gd name="T55" fmla="*/ 0 h 756"/>
                <a:gd name="T56" fmla="*/ 0 w 837"/>
                <a:gd name="T57" fmla="*/ 0 h 756"/>
                <a:gd name="T58" fmla="*/ 0 w 837"/>
                <a:gd name="T59" fmla="*/ 0 h 756"/>
                <a:gd name="T60" fmla="*/ 0 w 837"/>
                <a:gd name="T61" fmla="*/ 0 h 756"/>
                <a:gd name="T62" fmla="*/ 0 w 837"/>
                <a:gd name="T63" fmla="*/ 0 h 756"/>
                <a:gd name="T64" fmla="*/ 0 w 837"/>
                <a:gd name="T65" fmla="*/ 0 h 756"/>
                <a:gd name="T66" fmla="*/ 0 w 837"/>
                <a:gd name="T67" fmla="*/ 0 h 756"/>
                <a:gd name="T68" fmla="*/ 0 w 837"/>
                <a:gd name="T69" fmla="*/ 0 h 756"/>
                <a:gd name="T70" fmla="*/ 0 w 837"/>
                <a:gd name="T71" fmla="*/ 0 h 756"/>
                <a:gd name="T72" fmla="*/ 0 w 837"/>
                <a:gd name="T73" fmla="*/ 0 h 756"/>
                <a:gd name="T74" fmla="*/ 0 w 837"/>
                <a:gd name="T75" fmla="*/ 0 h 756"/>
                <a:gd name="T76" fmla="*/ 0 w 837"/>
                <a:gd name="T77" fmla="*/ 0 h 756"/>
                <a:gd name="T78" fmla="*/ 0 w 837"/>
                <a:gd name="T79" fmla="*/ 0 h 756"/>
                <a:gd name="T80" fmla="*/ 0 w 837"/>
                <a:gd name="T81" fmla="*/ 0 h 756"/>
                <a:gd name="T82" fmla="*/ 0 w 837"/>
                <a:gd name="T83" fmla="*/ 0 h 75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837"/>
                <a:gd name="T127" fmla="*/ 0 h 756"/>
                <a:gd name="T128" fmla="*/ 837 w 837"/>
                <a:gd name="T129" fmla="*/ 756 h 75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837" h="756">
                  <a:moveTo>
                    <a:pt x="710" y="24"/>
                  </a:moveTo>
                  <a:cubicBezTo>
                    <a:pt x="702" y="44"/>
                    <a:pt x="726" y="65"/>
                    <a:pt x="672" y="77"/>
                  </a:cubicBezTo>
                  <a:cubicBezTo>
                    <a:pt x="622" y="80"/>
                    <a:pt x="630" y="57"/>
                    <a:pt x="618" y="21"/>
                  </a:cubicBezTo>
                  <a:cubicBezTo>
                    <a:pt x="609" y="14"/>
                    <a:pt x="530" y="12"/>
                    <a:pt x="530" y="12"/>
                  </a:cubicBezTo>
                  <a:cubicBezTo>
                    <a:pt x="494" y="4"/>
                    <a:pt x="466" y="24"/>
                    <a:pt x="409" y="27"/>
                  </a:cubicBezTo>
                  <a:cubicBezTo>
                    <a:pt x="370" y="29"/>
                    <a:pt x="358" y="35"/>
                    <a:pt x="321" y="36"/>
                  </a:cubicBezTo>
                  <a:cubicBezTo>
                    <a:pt x="313" y="36"/>
                    <a:pt x="261" y="20"/>
                    <a:pt x="261" y="20"/>
                  </a:cubicBezTo>
                  <a:cubicBezTo>
                    <a:pt x="241" y="0"/>
                    <a:pt x="177" y="14"/>
                    <a:pt x="171" y="35"/>
                  </a:cubicBezTo>
                  <a:cubicBezTo>
                    <a:pt x="163" y="51"/>
                    <a:pt x="132" y="63"/>
                    <a:pt x="132" y="63"/>
                  </a:cubicBezTo>
                  <a:cubicBezTo>
                    <a:pt x="115" y="69"/>
                    <a:pt x="114" y="73"/>
                    <a:pt x="94" y="69"/>
                  </a:cubicBezTo>
                  <a:cubicBezTo>
                    <a:pt x="84" y="60"/>
                    <a:pt x="87" y="60"/>
                    <a:pt x="71" y="56"/>
                  </a:cubicBezTo>
                  <a:cubicBezTo>
                    <a:pt x="67" y="40"/>
                    <a:pt x="39" y="30"/>
                    <a:pt x="13" y="23"/>
                  </a:cubicBezTo>
                  <a:cubicBezTo>
                    <a:pt x="3" y="50"/>
                    <a:pt x="16" y="11"/>
                    <a:pt x="0" y="84"/>
                  </a:cubicBezTo>
                  <a:cubicBezTo>
                    <a:pt x="1" y="104"/>
                    <a:pt x="5" y="138"/>
                    <a:pt x="16" y="156"/>
                  </a:cubicBezTo>
                  <a:cubicBezTo>
                    <a:pt x="27" y="174"/>
                    <a:pt x="31" y="158"/>
                    <a:pt x="63" y="192"/>
                  </a:cubicBezTo>
                  <a:cubicBezTo>
                    <a:pt x="95" y="212"/>
                    <a:pt x="99" y="246"/>
                    <a:pt x="115" y="267"/>
                  </a:cubicBezTo>
                  <a:cubicBezTo>
                    <a:pt x="127" y="287"/>
                    <a:pt x="141" y="314"/>
                    <a:pt x="154" y="335"/>
                  </a:cubicBezTo>
                  <a:cubicBezTo>
                    <a:pt x="162" y="357"/>
                    <a:pt x="203" y="399"/>
                    <a:pt x="227" y="407"/>
                  </a:cubicBezTo>
                  <a:cubicBezTo>
                    <a:pt x="239" y="423"/>
                    <a:pt x="241" y="443"/>
                    <a:pt x="275" y="447"/>
                  </a:cubicBezTo>
                  <a:cubicBezTo>
                    <a:pt x="291" y="450"/>
                    <a:pt x="299" y="463"/>
                    <a:pt x="299" y="463"/>
                  </a:cubicBezTo>
                  <a:cubicBezTo>
                    <a:pt x="307" y="479"/>
                    <a:pt x="302" y="496"/>
                    <a:pt x="334" y="504"/>
                  </a:cubicBezTo>
                  <a:cubicBezTo>
                    <a:pt x="358" y="520"/>
                    <a:pt x="360" y="525"/>
                    <a:pt x="364" y="540"/>
                  </a:cubicBezTo>
                  <a:cubicBezTo>
                    <a:pt x="384" y="560"/>
                    <a:pt x="398" y="590"/>
                    <a:pt x="421" y="606"/>
                  </a:cubicBezTo>
                  <a:cubicBezTo>
                    <a:pt x="436" y="618"/>
                    <a:pt x="454" y="603"/>
                    <a:pt x="478" y="652"/>
                  </a:cubicBezTo>
                  <a:cubicBezTo>
                    <a:pt x="511" y="671"/>
                    <a:pt x="509" y="689"/>
                    <a:pt x="528" y="701"/>
                  </a:cubicBezTo>
                  <a:cubicBezTo>
                    <a:pt x="547" y="713"/>
                    <a:pt x="574" y="717"/>
                    <a:pt x="591" y="726"/>
                  </a:cubicBezTo>
                  <a:cubicBezTo>
                    <a:pt x="606" y="729"/>
                    <a:pt x="631" y="756"/>
                    <a:pt x="631" y="756"/>
                  </a:cubicBezTo>
                  <a:cubicBezTo>
                    <a:pt x="642" y="743"/>
                    <a:pt x="649" y="689"/>
                    <a:pt x="625" y="675"/>
                  </a:cubicBezTo>
                  <a:cubicBezTo>
                    <a:pt x="622" y="648"/>
                    <a:pt x="622" y="638"/>
                    <a:pt x="646" y="630"/>
                  </a:cubicBezTo>
                  <a:cubicBezTo>
                    <a:pt x="667" y="605"/>
                    <a:pt x="666" y="597"/>
                    <a:pt x="666" y="567"/>
                  </a:cubicBezTo>
                  <a:cubicBezTo>
                    <a:pt x="673" y="551"/>
                    <a:pt x="687" y="518"/>
                    <a:pt x="741" y="522"/>
                  </a:cubicBezTo>
                  <a:cubicBezTo>
                    <a:pt x="745" y="509"/>
                    <a:pt x="732" y="496"/>
                    <a:pt x="735" y="483"/>
                  </a:cubicBezTo>
                  <a:cubicBezTo>
                    <a:pt x="738" y="470"/>
                    <a:pt x="750" y="449"/>
                    <a:pt x="757" y="441"/>
                  </a:cubicBezTo>
                  <a:cubicBezTo>
                    <a:pt x="772" y="434"/>
                    <a:pt x="814" y="451"/>
                    <a:pt x="826" y="443"/>
                  </a:cubicBezTo>
                  <a:cubicBezTo>
                    <a:pt x="834" y="419"/>
                    <a:pt x="834" y="414"/>
                    <a:pt x="826" y="390"/>
                  </a:cubicBezTo>
                  <a:cubicBezTo>
                    <a:pt x="811" y="375"/>
                    <a:pt x="766" y="343"/>
                    <a:pt x="768" y="329"/>
                  </a:cubicBezTo>
                  <a:cubicBezTo>
                    <a:pt x="799" y="327"/>
                    <a:pt x="814" y="324"/>
                    <a:pt x="831" y="308"/>
                  </a:cubicBezTo>
                  <a:cubicBezTo>
                    <a:pt x="837" y="279"/>
                    <a:pt x="806" y="276"/>
                    <a:pt x="790" y="272"/>
                  </a:cubicBezTo>
                  <a:cubicBezTo>
                    <a:pt x="774" y="256"/>
                    <a:pt x="768" y="263"/>
                    <a:pt x="759" y="240"/>
                  </a:cubicBezTo>
                  <a:cubicBezTo>
                    <a:pt x="745" y="222"/>
                    <a:pt x="736" y="216"/>
                    <a:pt x="732" y="200"/>
                  </a:cubicBezTo>
                  <a:cubicBezTo>
                    <a:pt x="721" y="165"/>
                    <a:pt x="735" y="123"/>
                    <a:pt x="735" y="95"/>
                  </a:cubicBezTo>
                  <a:cubicBezTo>
                    <a:pt x="747" y="59"/>
                    <a:pt x="714" y="40"/>
                    <a:pt x="710" y="24"/>
                  </a:cubicBez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  <p:sp>
          <p:nvSpPr>
            <p:cNvPr id="284" name="Freeform 95"/>
            <p:cNvSpPr>
              <a:spLocks noChangeAspect="1"/>
            </p:cNvSpPr>
            <p:nvPr/>
          </p:nvSpPr>
          <p:spPr bwMode="auto">
            <a:xfrm>
              <a:off x="2998" y="3217"/>
              <a:ext cx="244" cy="317"/>
            </a:xfrm>
            <a:custGeom>
              <a:avLst/>
              <a:gdLst>
                <a:gd name="T0" fmla="*/ 0 w 968"/>
                <a:gd name="T1" fmla="*/ 0 h 1251"/>
                <a:gd name="T2" fmla="*/ 0 w 968"/>
                <a:gd name="T3" fmla="*/ 0 h 1251"/>
                <a:gd name="T4" fmla="*/ 0 w 968"/>
                <a:gd name="T5" fmla="*/ 0 h 1251"/>
                <a:gd name="T6" fmla="*/ 0 w 968"/>
                <a:gd name="T7" fmla="*/ 0 h 1251"/>
                <a:gd name="T8" fmla="*/ 0 w 968"/>
                <a:gd name="T9" fmla="*/ 0 h 1251"/>
                <a:gd name="T10" fmla="*/ 0 w 968"/>
                <a:gd name="T11" fmla="*/ 0 h 1251"/>
                <a:gd name="T12" fmla="*/ 0 w 968"/>
                <a:gd name="T13" fmla="*/ 0 h 1251"/>
                <a:gd name="T14" fmla="*/ 0 w 968"/>
                <a:gd name="T15" fmla="*/ 0 h 1251"/>
                <a:gd name="T16" fmla="*/ 0 w 968"/>
                <a:gd name="T17" fmla="*/ 0 h 1251"/>
                <a:gd name="T18" fmla="*/ 0 w 968"/>
                <a:gd name="T19" fmla="*/ 0 h 1251"/>
                <a:gd name="T20" fmla="*/ 0 w 968"/>
                <a:gd name="T21" fmla="*/ 0 h 1251"/>
                <a:gd name="T22" fmla="*/ 0 w 968"/>
                <a:gd name="T23" fmla="*/ 0 h 1251"/>
                <a:gd name="T24" fmla="*/ 0 w 968"/>
                <a:gd name="T25" fmla="*/ 0 h 1251"/>
                <a:gd name="T26" fmla="*/ 0 w 968"/>
                <a:gd name="T27" fmla="*/ 0 h 1251"/>
                <a:gd name="T28" fmla="*/ 0 w 968"/>
                <a:gd name="T29" fmla="*/ 0 h 1251"/>
                <a:gd name="T30" fmla="*/ 0 w 968"/>
                <a:gd name="T31" fmla="*/ 0 h 1251"/>
                <a:gd name="T32" fmla="*/ 0 w 968"/>
                <a:gd name="T33" fmla="*/ 0 h 1251"/>
                <a:gd name="T34" fmla="*/ 0 w 968"/>
                <a:gd name="T35" fmla="*/ 0 h 1251"/>
                <a:gd name="T36" fmla="*/ 0 w 968"/>
                <a:gd name="T37" fmla="*/ 0 h 1251"/>
                <a:gd name="T38" fmla="*/ 0 w 968"/>
                <a:gd name="T39" fmla="*/ 0 h 1251"/>
                <a:gd name="T40" fmla="*/ 0 w 968"/>
                <a:gd name="T41" fmla="*/ 0 h 1251"/>
                <a:gd name="T42" fmla="*/ 0 w 968"/>
                <a:gd name="T43" fmla="*/ 0 h 1251"/>
                <a:gd name="T44" fmla="*/ 0 w 968"/>
                <a:gd name="T45" fmla="*/ 0 h 1251"/>
                <a:gd name="T46" fmla="*/ 0 w 968"/>
                <a:gd name="T47" fmla="*/ 0 h 1251"/>
                <a:gd name="T48" fmla="*/ 0 w 968"/>
                <a:gd name="T49" fmla="*/ 0 h 1251"/>
                <a:gd name="T50" fmla="*/ 0 w 968"/>
                <a:gd name="T51" fmla="*/ 0 h 1251"/>
                <a:gd name="T52" fmla="*/ 0 w 968"/>
                <a:gd name="T53" fmla="*/ 0 h 1251"/>
                <a:gd name="T54" fmla="*/ 0 w 968"/>
                <a:gd name="T55" fmla="*/ 0 h 1251"/>
                <a:gd name="T56" fmla="*/ 0 w 968"/>
                <a:gd name="T57" fmla="*/ 0 h 1251"/>
                <a:gd name="T58" fmla="*/ 0 w 968"/>
                <a:gd name="T59" fmla="*/ 0 h 1251"/>
                <a:gd name="T60" fmla="*/ 0 w 968"/>
                <a:gd name="T61" fmla="*/ 0 h 1251"/>
                <a:gd name="T62" fmla="*/ 0 w 968"/>
                <a:gd name="T63" fmla="*/ 0 h 1251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968"/>
                <a:gd name="T97" fmla="*/ 0 h 1251"/>
                <a:gd name="T98" fmla="*/ 968 w 968"/>
                <a:gd name="T99" fmla="*/ 1251 h 1251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968" h="1251">
                  <a:moveTo>
                    <a:pt x="256" y="1251"/>
                  </a:moveTo>
                  <a:cubicBezTo>
                    <a:pt x="252" y="1223"/>
                    <a:pt x="252" y="1179"/>
                    <a:pt x="224" y="1159"/>
                  </a:cubicBezTo>
                  <a:cubicBezTo>
                    <a:pt x="232" y="1123"/>
                    <a:pt x="268" y="1039"/>
                    <a:pt x="304" y="1023"/>
                  </a:cubicBezTo>
                  <a:cubicBezTo>
                    <a:pt x="316" y="1043"/>
                    <a:pt x="320" y="1055"/>
                    <a:pt x="340" y="1063"/>
                  </a:cubicBezTo>
                  <a:cubicBezTo>
                    <a:pt x="372" y="1051"/>
                    <a:pt x="368" y="1059"/>
                    <a:pt x="400" y="1071"/>
                  </a:cubicBezTo>
                  <a:cubicBezTo>
                    <a:pt x="404" y="1087"/>
                    <a:pt x="412" y="1091"/>
                    <a:pt x="428" y="1095"/>
                  </a:cubicBezTo>
                  <a:cubicBezTo>
                    <a:pt x="448" y="1115"/>
                    <a:pt x="464" y="1107"/>
                    <a:pt x="488" y="1115"/>
                  </a:cubicBezTo>
                  <a:cubicBezTo>
                    <a:pt x="496" y="1131"/>
                    <a:pt x="508" y="1163"/>
                    <a:pt x="508" y="1163"/>
                  </a:cubicBezTo>
                  <a:cubicBezTo>
                    <a:pt x="512" y="1227"/>
                    <a:pt x="512" y="1211"/>
                    <a:pt x="544" y="1191"/>
                  </a:cubicBezTo>
                  <a:cubicBezTo>
                    <a:pt x="568" y="1123"/>
                    <a:pt x="584" y="1119"/>
                    <a:pt x="656" y="1107"/>
                  </a:cubicBezTo>
                  <a:cubicBezTo>
                    <a:pt x="672" y="1087"/>
                    <a:pt x="692" y="1091"/>
                    <a:pt x="712" y="1079"/>
                  </a:cubicBezTo>
                  <a:cubicBezTo>
                    <a:pt x="756" y="1051"/>
                    <a:pt x="832" y="1039"/>
                    <a:pt x="884" y="1031"/>
                  </a:cubicBezTo>
                  <a:cubicBezTo>
                    <a:pt x="908" y="995"/>
                    <a:pt x="888" y="955"/>
                    <a:pt x="896" y="915"/>
                  </a:cubicBezTo>
                  <a:cubicBezTo>
                    <a:pt x="892" y="895"/>
                    <a:pt x="884" y="883"/>
                    <a:pt x="896" y="867"/>
                  </a:cubicBezTo>
                  <a:cubicBezTo>
                    <a:pt x="904" y="855"/>
                    <a:pt x="932" y="839"/>
                    <a:pt x="932" y="839"/>
                  </a:cubicBezTo>
                  <a:cubicBezTo>
                    <a:pt x="940" y="827"/>
                    <a:pt x="952" y="819"/>
                    <a:pt x="960" y="807"/>
                  </a:cubicBezTo>
                  <a:cubicBezTo>
                    <a:pt x="964" y="799"/>
                    <a:pt x="968" y="783"/>
                    <a:pt x="968" y="783"/>
                  </a:cubicBezTo>
                  <a:cubicBezTo>
                    <a:pt x="964" y="759"/>
                    <a:pt x="968" y="751"/>
                    <a:pt x="944" y="743"/>
                  </a:cubicBezTo>
                  <a:cubicBezTo>
                    <a:pt x="908" y="715"/>
                    <a:pt x="912" y="711"/>
                    <a:pt x="860" y="707"/>
                  </a:cubicBezTo>
                  <a:cubicBezTo>
                    <a:pt x="840" y="695"/>
                    <a:pt x="848" y="659"/>
                    <a:pt x="836" y="639"/>
                  </a:cubicBezTo>
                  <a:cubicBezTo>
                    <a:pt x="828" y="604"/>
                    <a:pt x="800" y="560"/>
                    <a:pt x="836" y="536"/>
                  </a:cubicBezTo>
                  <a:cubicBezTo>
                    <a:pt x="844" y="496"/>
                    <a:pt x="892" y="448"/>
                    <a:pt x="840" y="440"/>
                  </a:cubicBezTo>
                  <a:cubicBezTo>
                    <a:pt x="856" y="416"/>
                    <a:pt x="828" y="360"/>
                    <a:pt x="796" y="348"/>
                  </a:cubicBezTo>
                  <a:cubicBezTo>
                    <a:pt x="776" y="352"/>
                    <a:pt x="756" y="360"/>
                    <a:pt x="740" y="372"/>
                  </a:cubicBezTo>
                  <a:cubicBezTo>
                    <a:pt x="724" y="416"/>
                    <a:pt x="680" y="372"/>
                    <a:pt x="628" y="368"/>
                  </a:cubicBezTo>
                  <a:cubicBezTo>
                    <a:pt x="600" y="368"/>
                    <a:pt x="576" y="384"/>
                    <a:pt x="560" y="360"/>
                  </a:cubicBezTo>
                  <a:cubicBezTo>
                    <a:pt x="548" y="336"/>
                    <a:pt x="560" y="276"/>
                    <a:pt x="552" y="248"/>
                  </a:cubicBezTo>
                  <a:cubicBezTo>
                    <a:pt x="536" y="216"/>
                    <a:pt x="476" y="224"/>
                    <a:pt x="464" y="216"/>
                  </a:cubicBezTo>
                  <a:cubicBezTo>
                    <a:pt x="456" y="192"/>
                    <a:pt x="432" y="164"/>
                    <a:pt x="412" y="152"/>
                  </a:cubicBezTo>
                  <a:cubicBezTo>
                    <a:pt x="404" y="132"/>
                    <a:pt x="388" y="104"/>
                    <a:pt x="368" y="96"/>
                  </a:cubicBezTo>
                  <a:cubicBezTo>
                    <a:pt x="360" y="84"/>
                    <a:pt x="348" y="68"/>
                    <a:pt x="336" y="60"/>
                  </a:cubicBezTo>
                  <a:cubicBezTo>
                    <a:pt x="324" y="52"/>
                    <a:pt x="296" y="48"/>
                    <a:pt x="296" y="48"/>
                  </a:cubicBezTo>
                  <a:cubicBezTo>
                    <a:pt x="284" y="32"/>
                    <a:pt x="272" y="12"/>
                    <a:pt x="256" y="4"/>
                  </a:cubicBezTo>
                  <a:cubicBezTo>
                    <a:pt x="202" y="0"/>
                    <a:pt x="177" y="5"/>
                    <a:pt x="133" y="1"/>
                  </a:cubicBezTo>
                  <a:cubicBezTo>
                    <a:pt x="109" y="12"/>
                    <a:pt x="97" y="33"/>
                    <a:pt x="75" y="55"/>
                  </a:cubicBezTo>
                  <a:cubicBezTo>
                    <a:pt x="62" y="65"/>
                    <a:pt x="60" y="51"/>
                    <a:pt x="52" y="52"/>
                  </a:cubicBezTo>
                  <a:cubicBezTo>
                    <a:pt x="45" y="53"/>
                    <a:pt x="42" y="56"/>
                    <a:pt x="34" y="64"/>
                  </a:cubicBezTo>
                  <a:cubicBezTo>
                    <a:pt x="30" y="84"/>
                    <a:pt x="5" y="79"/>
                    <a:pt x="4" y="99"/>
                  </a:cubicBezTo>
                  <a:cubicBezTo>
                    <a:pt x="3" y="119"/>
                    <a:pt x="10" y="159"/>
                    <a:pt x="28" y="184"/>
                  </a:cubicBezTo>
                  <a:cubicBezTo>
                    <a:pt x="32" y="200"/>
                    <a:pt x="34" y="201"/>
                    <a:pt x="32" y="220"/>
                  </a:cubicBezTo>
                  <a:cubicBezTo>
                    <a:pt x="36" y="229"/>
                    <a:pt x="57" y="222"/>
                    <a:pt x="54" y="241"/>
                  </a:cubicBezTo>
                  <a:cubicBezTo>
                    <a:pt x="84" y="243"/>
                    <a:pt x="87" y="259"/>
                    <a:pt x="100" y="267"/>
                  </a:cubicBezTo>
                  <a:cubicBezTo>
                    <a:pt x="113" y="275"/>
                    <a:pt x="132" y="283"/>
                    <a:pt x="130" y="292"/>
                  </a:cubicBezTo>
                  <a:cubicBezTo>
                    <a:pt x="108" y="315"/>
                    <a:pt x="112" y="304"/>
                    <a:pt x="88" y="320"/>
                  </a:cubicBezTo>
                  <a:cubicBezTo>
                    <a:pt x="80" y="340"/>
                    <a:pt x="76" y="356"/>
                    <a:pt x="100" y="364"/>
                  </a:cubicBezTo>
                  <a:cubicBezTo>
                    <a:pt x="104" y="376"/>
                    <a:pt x="120" y="400"/>
                    <a:pt x="120" y="400"/>
                  </a:cubicBezTo>
                  <a:cubicBezTo>
                    <a:pt x="116" y="444"/>
                    <a:pt x="92" y="536"/>
                    <a:pt x="136" y="564"/>
                  </a:cubicBezTo>
                  <a:cubicBezTo>
                    <a:pt x="144" y="592"/>
                    <a:pt x="180" y="604"/>
                    <a:pt x="208" y="612"/>
                  </a:cubicBezTo>
                  <a:cubicBezTo>
                    <a:pt x="224" y="655"/>
                    <a:pt x="180" y="651"/>
                    <a:pt x="148" y="655"/>
                  </a:cubicBezTo>
                  <a:cubicBezTo>
                    <a:pt x="152" y="675"/>
                    <a:pt x="180" y="695"/>
                    <a:pt x="200" y="707"/>
                  </a:cubicBezTo>
                  <a:cubicBezTo>
                    <a:pt x="212" y="727"/>
                    <a:pt x="223" y="778"/>
                    <a:pt x="196" y="771"/>
                  </a:cubicBezTo>
                  <a:cubicBezTo>
                    <a:pt x="120" y="755"/>
                    <a:pt x="144" y="767"/>
                    <a:pt x="116" y="807"/>
                  </a:cubicBezTo>
                  <a:cubicBezTo>
                    <a:pt x="124" y="843"/>
                    <a:pt x="128" y="855"/>
                    <a:pt x="88" y="851"/>
                  </a:cubicBezTo>
                  <a:cubicBezTo>
                    <a:pt x="72" y="855"/>
                    <a:pt x="68" y="871"/>
                    <a:pt x="52" y="879"/>
                  </a:cubicBezTo>
                  <a:cubicBezTo>
                    <a:pt x="48" y="895"/>
                    <a:pt x="44" y="907"/>
                    <a:pt x="48" y="923"/>
                  </a:cubicBezTo>
                  <a:cubicBezTo>
                    <a:pt x="44" y="943"/>
                    <a:pt x="8" y="975"/>
                    <a:pt x="8" y="975"/>
                  </a:cubicBezTo>
                  <a:cubicBezTo>
                    <a:pt x="4" y="999"/>
                    <a:pt x="0" y="1003"/>
                    <a:pt x="20" y="1015"/>
                  </a:cubicBezTo>
                  <a:cubicBezTo>
                    <a:pt x="24" y="1043"/>
                    <a:pt x="24" y="1067"/>
                    <a:pt x="8" y="1091"/>
                  </a:cubicBezTo>
                  <a:cubicBezTo>
                    <a:pt x="16" y="1107"/>
                    <a:pt x="28" y="1111"/>
                    <a:pt x="44" y="1115"/>
                  </a:cubicBezTo>
                  <a:cubicBezTo>
                    <a:pt x="56" y="1131"/>
                    <a:pt x="72" y="1131"/>
                    <a:pt x="92" y="1139"/>
                  </a:cubicBezTo>
                  <a:cubicBezTo>
                    <a:pt x="96" y="1139"/>
                    <a:pt x="104" y="1143"/>
                    <a:pt x="104" y="1143"/>
                  </a:cubicBezTo>
                  <a:cubicBezTo>
                    <a:pt x="140" y="1179"/>
                    <a:pt x="164" y="1199"/>
                    <a:pt x="212" y="1215"/>
                  </a:cubicBezTo>
                  <a:cubicBezTo>
                    <a:pt x="216" y="1223"/>
                    <a:pt x="232" y="1239"/>
                    <a:pt x="240" y="1247"/>
                  </a:cubicBezTo>
                  <a:cubicBezTo>
                    <a:pt x="244" y="1251"/>
                    <a:pt x="256" y="1251"/>
                    <a:pt x="256" y="1251"/>
                  </a:cubicBez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  <p:sp>
          <p:nvSpPr>
            <p:cNvPr id="285" name="Freeform 96"/>
            <p:cNvSpPr>
              <a:spLocks noChangeAspect="1"/>
            </p:cNvSpPr>
            <p:nvPr/>
          </p:nvSpPr>
          <p:spPr bwMode="auto">
            <a:xfrm>
              <a:off x="2716" y="3184"/>
              <a:ext cx="152" cy="121"/>
            </a:xfrm>
            <a:custGeom>
              <a:avLst/>
              <a:gdLst>
                <a:gd name="T0" fmla="*/ 0 w 598"/>
                <a:gd name="T1" fmla="*/ 0 h 474"/>
                <a:gd name="T2" fmla="*/ 0 w 598"/>
                <a:gd name="T3" fmla="*/ 0 h 474"/>
                <a:gd name="T4" fmla="*/ 0 w 598"/>
                <a:gd name="T5" fmla="*/ 0 h 474"/>
                <a:gd name="T6" fmla="*/ 0 w 598"/>
                <a:gd name="T7" fmla="*/ 0 h 474"/>
                <a:gd name="T8" fmla="*/ 0 w 598"/>
                <a:gd name="T9" fmla="*/ 0 h 474"/>
                <a:gd name="T10" fmla="*/ 0 w 598"/>
                <a:gd name="T11" fmla="*/ 0 h 474"/>
                <a:gd name="T12" fmla="*/ 0 w 598"/>
                <a:gd name="T13" fmla="*/ 0 h 474"/>
                <a:gd name="T14" fmla="*/ 0 w 598"/>
                <a:gd name="T15" fmla="*/ 0 h 474"/>
                <a:gd name="T16" fmla="*/ 0 w 598"/>
                <a:gd name="T17" fmla="*/ 0 h 474"/>
                <a:gd name="T18" fmla="*/ 0 w 598"/>
                <a:gd name="T19" fmla="*/ 0 h 474"/>
                <a:gd name="T20" fmla="*/ 0 w 598"/>
                <a:gd name="T21" fmla="*/ 0 h 474"/>
                <a:gd name="T22" fmla="*/ 0 w 598"/>
                <a:gd name="T23" fmla="*/ 0 h 474"/>
                <a:gd name="T24" fmla="*/ 0 w 598"/>
                <a:gd name="T25" fmla="*/ 0 h 474"/>
                <a:gd name="T26" fmla="*/ 0 w 598"/>
                <a:gd name="T27" fmla="*/ 0 h 474"/>
                <a:gd name="T28" fmla="*/ 0 w 598"/>
                <a:gd name="T29" fmla="*/ 0 h 474"/>
                <a:gd name="T30" fmla="*/ 0 w 598"/>
                <a:gd name="T31" fmla="*/ 0 h 474"/>
                <a:gd name="T32" fmla="*/ 0 w 598"/>
                <a:gd name="T33" fmla="*/ 0 h 474"/>
                <a:gd name="T34" fmla="*/ 0 w 598"/>
                <a:gd name="T35" fmla="*/ 0 h 474"/>
                <a:gd name="T36" fmla="*/ 0 w 598"/>
                <a:gd name="T37" fmla="*/ 0 h 474"/>
                <a:gd name="T38" fmla="*/ 0 w 598"/>
                <a:gd name="T39" fmla="*/ 0 h 474"/>
                <a:gd name="T40" fmla="*/ 0 w 598"/>
                <a:gd name="T41" fmla="*/ 0 h 474"/>
                <a:gd name="T42" fmla="*/ 0 w 598"/>
                <a:gd name="T43" fmla="*/ 0 h 474"/>
                <a:gd name="T44" fmla="*/ 0 w 598"/>
                <a:gd name="T45" fmla="*/ 0 h 474"/>
                <a:gd name="T46" fmla="*/ 0 w 598"/>
                <a:gd name="T47" fmla="*/ 0 h 474"/>
                <a:gd name="T48" fmla="*/ 0 w 598"/>
                <a:gd name="T49" fmla="*/ 0 h 474"/>
                <a:gd name="T50" fmla="*/ 0 w 598"/>
                <a:gd name="T51" fmla="*/ 0 h 474"/>
                <a:gd name="T52" fmla="*/ 0 w 598"/>
                <a:gd name="T53" fmla="*/ 0 h 474"/>
                <a:gd name="T54" fmla="*/ 0 w 598"/>
                <a:gd name="T55" fmla="*/ 0 h 474"/>
                <a:gd name="T56" fmla="*/ 0 w 598"/>
                <a:gd name="T57" fmla="*/ 0 h 47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598"/>
                <a:gd name="T88" fmla="*/ 0 h 474"/>
                <a:gd name="T89" fmla="*/ 598 w 598"/>
                <a:gd name="T90" fmla="*/ 474 h 474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598" h="474">
                  <a:moveTo>
                    <a:pt x="183" y="162"/>
                  </a:moveTo>
                  <a:cubicBezTo>
                    <a:pt x="257" y="150"/>
                    <a:pt x="217" y="163"/>
                    <a:pt x="265" y="139"/>
                  </a:cubicBezTo>
                  <a:cubicBezTo>
                    <a:pt x="285" y="115"/>
                    <a:pt x="317" y="122"/>
                    <a:pt x="337" y="99"/>
                  </a:cubicBezTo>
                  <a:cubicBezTo>
                    <a:pt x="378" y="95"/>
                    <a:pt x="413" y="101"/>
                    <a:pt x="428" y="66"/>
                  </a:cubicBezTo>
                  <a:cubicBezTo>
                    <a:pt x="449" y="60"/>
                    <a:pt x="481" y="63"/>
                    <a:pt x="505" y="51"/>
                  </a:cubicBezTo>
                  <a:cubicBezTo>
                    <a:pt x="513" y="35"/>
                    <a:pt x="535" y="16"/>
                    <a:pt x="543" y="0"/>
                  </a:cubicBezTo>
                  <a:cubicBezTo>
                    <a:pt x="560" y="18"/>
                    <a:pt x="576" y="51"/>
                    <a:pt x="591" y="74"/>
                  </a:cubicBezTo>
                  <a:cubicBezTo>
                    <a:pt x="595" y="82"/>
                    <a:pt x="598" y="88"/>
                    <a:pt x="590" y="96"/>
                  </a:cubicBezTo>
                  <a:cubicBezTo>
                    <a:pt x="573" y="102"/>
                    <a:pt x="565" y="123"/>
                    <a:pt x="565" y="123"/>
                  </a:cubicBezTo>
                  <a:cubicBezTo>
                    <a:pt x="551" y="153"/>
                    <a:pt x="529" y="163"/>
                    <a:pt x="529" y="163"/>
                  </a:cubicBezTo>
                  <a:cubicBezTo>
                    <a:pt x="512" y="179"/>
                    <a:pt x="494" y="189"/>
                    <a:pt x="468" y="188"/>
                  </a:cubicBezTo>
                  <a:cubicBezTo>
                    <a:pt x="450" y="218"/>
                    <a:pt x="466" y="268"/>
                    <a:pt x="474" y="288"/>
                  </a:cubicBezTo>
                  <a:cubicBezTo>
                    <a:pt x="462" y="314"/>
                    <a:pt x="412" y="321"/>
                    <a:pt x="399" y="345"/>
                  </a:cubicBezTo>
                  <a:cubicBezTo>
                    <a:pt x="391" y="369"/>
                    <a:pt x="431" y="422"/>
                    <a:pt x="395" y="432"/>
                  </a:cubicBezTo>
                  <a:cubicBezTo>
                    <a:pt x="383" y="450"/>
                    <a:pt x="366" y="449"/>
                    <a:pt x="366" y="449"/>
                  </a:cubicBezTo>
                  <a:cubicBezTo>
                    <a:pt x="336" y="453"/>
                    <a:pt x="338" y="422"/>
                    <a:pt x="338" y="422"/>
                  </a:cubicBezTo>
                  <a:cubicBezTo>
                    <a:pt x="326" y="426"/>
                    <a:pt x="278" y="439"/>
                    <a:pt x="266" y="431"/>
                  </a:cubicBezTo>
                  <a:cubicBezTo>
                    <a:pt x="269" y="404"/>
                    <a:pt x="264" y="398"/>
                    <a:pt x="255" y="375"/>
                  </a:cubicBezTo>
                  <a:cubicBezTo>
                    <a:pt x="251" y="398"/>
                    <a:pt x="236" y="410"/>
                    <a:pt x="228" y="423"/>
                  </a:cubicBezTo>
                  <a:cubicBezTo>
                    <a:pt x="220" y="436"/>
                    <a:pt x="216" y="449"/>
                    <a:pt x="205" y="451"/>
                  </a:cubicBezTo>
                  <a:cubicBezTo>
                    <a:pt x="165" y="447"/>
                    <a:pt x="170" y="450"/>
                    <a:pt x="161" y="437"/>
                  </a:cubicBezTo>
                  <a:cubicBezTo>
                    <a:pt x="96" y="441"/>
                    <a:pt x="88" y="466"/>
                    <a:pt x="60" y="474"/>
                  </a:cubicBezTo>
                  <a:cubicBezTo>
                    <a:pt x="60" y="473"/>
                    <a:pt x="36" y="468"/>
                    <a:pt x="36" y="468"/>
                  </a:cubicBezTo>
                  <a:cubicBezTo>
                    <a:pt x="17" y="450"/>
                    <a:pt x="33" y="379"/>
                    <a:pt x="29" y="351"/>
                  </a:cubicBezTo>
                  <a:cubicBezTo>
                    <a:pt x="45" y="318"/>
                    <a:pt x="47" y="296"/>
                    <a:pt x="11" y="288"/>
                  </a:cubicBezTo>
                  <a:cubicBezTo>
                    <a:pt x="15" y="269"/>
                    <a:pt x="23" y="280"/>
                    <a:pt x="35" y="252"/>
                  </a:cubicBezTo>
                  <a:cubicBezTo>
                    <a:pt x="19" y="236"/>
                    <a:pt x="16" y="239"/>
                    <a:pt x="0" y="227"/>
                  </a:cubicBezTo>
                  <a:cubicBezTo>
                    <a:pt x="16" y="203"/>
                    <a:pt x="41" y="162"/>
                    <a:pt x="29" y="139"/>
                  </a:cubicBezTo>
                  <a:cubicBezTo>
                    <a:pt x="61" y="131"/>
                    <a:pt x="147" y="161"/>
                    <a:pt x="183" y="162"/>
                  </a:cubicBez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  <p:sp>
          <p:nvSpPr>
            <p:cNvPr id="286" name="Freeform 97"/>
            <p:cNvSpPr>
              <a:spLocks noChangeAspect="1"/>
            </p:cNvSpPr>
            <p:nvPr/>
          </p:nvSpPr>
          <p:spPr bwMode="auto">
            <a:xfrm>
              <a:off x="2853" y="3035"/>
              <a:ext cx="322" cy="222"/>
            </a:xfrm>
            <a:custGeom>
              <a:avLst/>
              <a:gdLst>
                <a:gd name="T0" fmla="*/ 0 w 1273"/>
                <a:gd name="T1" fmla="*/ 0 h 878"/>
                <a:gd name="T2" fmla="*/ 0 w 1273"/>
                <a:gd name="T3" fmla="*/ 0 h 878"/>
                <a:gd name="T4" fmla="*/ 0 w 1273"/>
                <a:gd name="T5" fmla="*/ 0 h 878"/>
                <a:gd name="T6" fmla="*/ 0 w 1273"/>
                <a:gd name="T7" fmla="*/ 0 h 878"/>
                <a:gd name="T8" fmla="*/ 0 w 1273"/>
                <a:gd name="T9" fmla="*/ 0 h 878"/>
                <a:gd name="T10" fmla="*/ 0 w 1273"/>
                <a:gd name="T11" fmla="*/ 0 h 878"/>
                <a:gd name="T12" fmla="*/ 0 w 1273"/>
                <a:gd name="T13" fmla="*/ 0 h 878"/>
                <a:gd name="T14" fmla="*/ 0 w 1273"/>
                <a:gd name="T15" fmla="*/ 0 h 878"/>
                <a:gd name="T16" fmla="*/ 0 w 1273"/>
                <a:gd name="T17" fmla="*/ 0 h 878"/>
                <a:gd name="T18" fmla="*/ 0 w 1273"/>
                <a:gd name="T19" fmla="*/ 0 h 878"/>
                <a:gd name="T20" fmla="*/ 0 w 1273"/>
                <a:gd name="T21" fmla="*/ 0 h 878"/>
                <a:gd name="T22" fmla="*/ 0 w 1273"/>
                <a:gd name="T23" fmla="*/ 0 h 878"/>
                <a:gd name="T24" fmla="*/ 0 w 1273"/>
                <a:gd name="T25" fmla="*/ 0 h 878"/>
                <a:gd name="T26" fmla="*/ 0 w 1273"/>
                <a:gd name="T27" fmla="*/ 0 h 878"/>
                <a:gd name="T28" fmla="*/ 0 w 1273"/>
                <a:gd name="T29" fmla="*/ 0 h 878"/>
                <a:gd name="T30" fmla="*/ 0 w 1273"/>
                <a:gd name="T31" fmla="*/ 0 h 878"/>
                <a:gd name="T32" fmla="*/ 0 w 1273"/>
                <a:gd name="T33" fmla="*/ 0 h 878"/>
                <a:gd name="T34" fmla="*/ 0 w 1273"/>
                <a:gd name="T35" fmla="*/ 0 h 878"/>
                <a:gd name="T36" fmla="*/ 0 w 1273"/>
                <a:gd name="T37" fmla="*/ 0 h 878"/>
                <a:gd name="T38" fmla="*/ 0 w 1273"/>
                <a:gd name="T39" fmla="*/ 0 h 878"/>
                <a:gd name="T40" fmla="*/ 0 w 1273"/>
                <a:gd name="T41" fmla="*/ 0 h 878"/>
                <a:gd name="T42" fmla="*/ 0 w 1273"/>
                <a:gd name="T43" fmla="*/ 0 h 878"/>
                <a:gd name="T44" fmla="*/ 0 w 1273"/>
                <a:gd name="T45" fmla="*/ 0 h 878"/>
                <a:gd name="T46" fmla="*/ 0 w 1273"/>
                <a:gd name="T47" fmla="*/ 0 h 878"/>
                <a:gd name="T48" fmla="*/ 0 w 1273"/>
                <a:gd name="T49" fmla="*/ 0 h 878"/>
                <a:gd name="T50" fmla="*/ 0 w 1273"/>
                <a:gd name="T51" fmla="*/ 0 h 878"/>
                <a:gd name="T52" fmla="*/ 0 w 1273"/>
                <a:gd name="T53" fmla="*/ 0 h 878"/>
                <a:gd name="T54" fmla="*/ 0 w 1273"/>
                <a:gd name="T55" fmla="*/ 0 h 878"/>
                <a:gd name="T56" fmla="*/ 0 w 1273"/>
                <a:gd name="T57" fmla="*/ 0 h 878"/>
                <a:gd name="T58" fmla="*/ 0 w 1273"/>
                <a:gd name="T59" fmla="*/ 0 h 878"/>
                <a:gd name="T60" fmla="*/ 0 w 1273"/>
                <a:gd name="T61" fmla="*/ 0 h 878"/>
                <a:gd name="T62" fmla="*/ 0 w 1273"/>
                <a:gd name="T63" fmla="*/ 0 h 878"/>
                <a:gd name="T64" fmla="*/ 0 w 1273"/>
                <a:gd name="T65" fmla="*/ 0 h 878"/>
                <a:gd name="T66" fmla="*/ 0 w 1273"/>
                <a:gd name="T67" fmla="*/ 0 h 878"/>
                <a:gd name="T68" fmla="*/ 0 w 1273"/>
                <a:gd name="T69" fmla="*/ 0 h 878"/>
                <a:gd name="T70" fmla="*/ 0 w 1273"/>
                <a:gd name="T71" fmla="*/ 0 h 878"/>
                <a:gd name="T72" fmla="*/ 0 w 1273"/>
                <a:gd name="T73" fmla="*/ 0 h 878"/>
                <a:gd name="T74" fmla="*/ 0 w 1273"/>
                <a:gd name="T75" fmla="*/ 0 h 878"/>
                <a:gd name="T76" fmla="*/ 0 w 1273"/>
                <a:gd name="T77" fmla="*/ 0 h 878"/>
                <a:gd name="T78" fmla="*/ 0 w 1273"/>
                <a:gd name="T79" fmla="*/ 0 h 878"/>
                <a:gd name="T80" fmla="*/ 0 w 1273"/>
                <a:gd name="T81" fmla="*/ 0 h 878"/>
                <a:gd name="T82" fmla="*/ 0 w 1273"/>
                <a:gd name="T83" fmla="*/ 0 h 878"/>
                <a:gd name="T84" fmla="*/ 0 w 1273"/>
                <a:gd name="T85" fmla="*/ 0 h 878"/>
                <a:gd name="T86" fmla="*/ 0 w 1273"/>
                <a:gd name="T87" fmla="*/ 0 h 878"/>
                <a:gd name="T88" fmla="*/ 0 w 1273"/>
                <a:gd name="T89" fmla="*/ 0 h 878"/>
                <a:gd name="T90" fmla="*/ 0 w 1273"/>
                <a:gd name="T91" fmla="*/ 0 h 878"/>
                <a:gd name="T92" fmla="*/ 0 w 1273"/>
                <a:gd name="T93" fmla="*/ 0 h 878"/>
                <a:gd name="T94" fmla="*/ 0 w 1273"/>
                <a:gd name="T95" fmla="*/ 0 h 878"/>
                <a:gd name="T96" fmla="*/ 0 w 1273"/>
                <a:gd name="T97" fmla="*/ 0 h 878"/>
                <a:gd name="T98" fmla="*/ 0 w 1273"/>
                <a:gd name="T99" fmla="*/ 0 h 878"/>
                <a:gd name="T100" fmla="*/ 0 w 1273"/>
                <a:gd name="T101" fmla="*/ 0 h 878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273"/>
                <a:gd name="T154" fmla="*/ 0 h 878"/>
                <a:gd name="T155" fmla="*/ 1273 w 1273"/>
                <a:gd name="T156" fmla="*/ 878 h 878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273" h="878">
                  <a:moveTo>
                    <a:pt x="833" y="727"/>
                  </a:moveTo>
                  <a:cubicBezTo>
                    <a:pt x="861" y="723"/>
                    <a:pt x="881" y="719"/>
                    <a:pt x="905" y="703"/>
                  </a:cubicBezTo>
                  <a:cubicBezTo>
                    <a:pt x="917" y="687"/>
                    <a:pt x="937" y="683"/>
                    <a:pt x="957" y="675"/>
                  </a:cubicBezTo>
                  <a:cubicBezTo>
                    <a:pt x="969" y="668"/>
                    <a:pt x="966" y="674"/>
                    <a:pt x="977" y="659"/>
                  </a:cubicBezTo>
                  <a:cubicBezTo>
                    <a:pt x="993" y="639"/>
                    <a:pt x="997" y="603"/>
                    <a:pt x="1021" y="587"/>
                  </a:cubicBezTo>
                  <a:cubicBezTo>
                    <a:pt x="1025" y="571"/>
                    <a:pt x="1033" y="551"/>
                    <a:pt x="1037" y="535"/>
                  </a:cubicBezTo>
                  <a:cubicBezTo>
                    <a:pt x="1041" y="527"/>
                    <a:pt x="1045" y="511"/>
                    <a:pt x="1045" y="511"/>
                  </a:cubicBezTo>
                  <a:cubicBezTo>
                    <a:pt x="1049" y="483"/>
                    <a:pt x="1053" y="459"/>
                    <a:pt x="1073" y="439"/>
                  </a:cubicBezTo>
                  <a:cubicBezTo>
                    <a:pt x="1077" y="423"/>
                    <a:pt x="1081" y="403"/>
                    <a:pt x="1093" y="387"/>
                  </a:cubicBezTo>
                  <a:cubicBezTo>
                    <a:pt x="1101" y="343"/>
                    <a:pt x="1129" y="215"/>
                    <a:pt x="1169" y="187"/>
                  </a:cubicBezTo>
                  <a:cubicBezTo>
                    <a:pt x="1201" y="172"/>
                    <a:pt x="1207" y="178"/>
                    <a:pt x="1216" y="162"/>
                  </a:cubicBezTo>
                  <a:cubicBezTo>
                    <a:pt x="1249" y="148"/>
                    <a:pt x="1257" y="144"/>
                    <a:pt x="1273" y="131"/>
                  </a:cubicBezTo>
                  <a:cubicBezTo>
                    <a:pt x="1269" y="31"/>
                    <a:pt x="1225" y="59"/>
                    <a:pt x="1145" y="51"/>
                  </a:cubicBezTo>
                  <a:cubicBezTo>
                    <a:pt x="1129" y="35"/>
                    <a:pt x="1136" y="24"/>
                    <a:pt x="1116" y="16"/>
                  </a:cubicBezTo>
                  <a:cubicBezTo>
                    <a:pt x="1101" y="16"/>
                    <a:pt x="1074" y="29"/>
                    <a:pt x="1053" y="27"/>
                  </a:cubicBezTo>
                  <a:cubicBezTo>
                    <a:pt x="1032" y="25"/>
                    <a:pt x="1013" y="4"/>
                    <a:pt x="988" y="1"/>
                  </a:cubicBezTo>
                  <a:cubicBezTo>
                    <a:pt x="954" y="0"/>
                    <a:pt x="931" y="8"/>
                    <a:pt x="903" y="9"/>
                  </a:cubicBezTo>
                  <a:cubicBezTo>
                    <a:pt x="875" y="10"/>
                    <a:pt x="844" y="1"/>
                    <a:pt x="822" y="10"/>
                  </a:cubicBezTo>
                  <a:cubicBezTo>
                    <a:pt x="802" y="22"/>
                    <a:pt x="788" y="47"/>
                    <a:pt x="772" y="63"/>
                  </a:cubicBezTo>
                  <a:cubicBezTo>
                    <a:pt x="768" y="95"/>
                    <a:pt x="771" y="136"/>
                    <a:pt x="732" y="129"/>
                  </a:cubicBezTo>
                  <a:cubicBezTo>
                    <a:pt x="716" y="129"/>
                    <a:pt x="701" y="139"/>
                    <a:pt x="685" y="135"/>
                  </a:cubicBezTo>
                  <a:cubicBezTo>
                    <a:pt x="673" y="131"/>
                    <a:pt x="649" y="123"/>
                    <a:pt x="649" y="123"/>
                  </a:cubicBezTo>
                  <a:cubicBezTo>
                    <a:pt x="610" y="180"/>
                    <a:pt x="615" y="172"/>
                    <a:pt x="529" y="175"/>
                  </a:cubicBezTo>
                  <a:cubicBezTo>
                    <a:pt x="499" y="181"/>
                    <a:pt x="499" y="208"/>
                    <a:pt x="506" y="227"/>
                  </a:cubicBezTo>
                  <a:cubicBezTo>
                    <a:pt x="504" y="333"/>
                    <a:pt x="441" y="282"/>
                    <a:pt x="271" y="309"/>
                  </a:cubicBezTo>
                  <a:cubicBezTo>
                    <a:pt x="264" y="300"/>
                    <a:pt x="254" y="296"/>
                    <a:pt x="246" y="289"/>
                  </a:cubicBezTo>
                  <a:cubicBezTo>
                    <a:pt x="238" y="282"/>
                    <a:pt x="255" y="277"/>
                    <a:pt x="222" y="267"/>
                  </a:cubicBezTo>
                  <a:cubicBezTo>
                    <a:pt x="205" y="252"/>
                    <a:pt x="182" y="251"/>
                    <a:pt x="182" y="251"/>
                  </a:cubicBezTo>
                  <a:cubicBezTo>
                    <a:pt x="171" y="248"/>
                    <a:pt x="145" y="232"/>
                    <a:pt x="135" y="232"/>
                  </a:cubicBezTo>
                  <a:cubicBezTo>
                    <a:pt x="128" y="247"/>
                    <a:pt x="181" y="270"/>
                    <a:pt x="142" y="342"/>
                  </a:cubicBezTo>
                  <a:cubicBezTo>
                    <a:pt x="90" y="346"/>
                    <a:pt x="60" y="346"/>
                    <a:pt x="25" y="348"/>
                  </a:cubicBezTo>
                  <a:cubicBezTo>
                    <a:pt x="0" y="351"/>
                    <a:pt x="40" y="355"/>
                    <a:pt x="48" y="360"/>
                  </a:cubicBezTo>
                  <a:cubicBezTo>
                    <a:pt x="58" y="370"/>
                    <a:pt x="76" y="375"/>
                    <a:pt x="88" y="412"/>
                  </a:cubicBezTo>
                  <a:cubicBezTo>
                    <a:pt x="66" y="418"/>
                    <a:pt x="64" y="454"/>
                    <a:pt x="52" y="462"/>
                  </a:cubicBezTo>
                  <a:cubicBezTo>
                    <a:pt x="70" y="544"/>
                    <a:pt x="58" y="570"/>
                    <a:pt x="7" y="589"/>
                  </a:cubicBezTo>
                  <a:cubicBezTo>
                    <a:pt x="19" y="609"/>
                    <a:pt x="27" y="619"/>
                    <a:pt x="38" y="639"/>
                  </a:cubicBezTo>
                  <a:cubicBezTo>
                    <a:pt x="42" y="651"/>
                    <a:pt x="57" y="672"/>
                    <a:pt x="55" y="687"/>
                  </a:cubicBezTo>
                  <a:cubicBezTo>
                    <a:pt x="70" y="693"/>
                    <a:pt x="78" y="703"/>
                    <a:pt x="78" y="703"/>
                  </a:cubicBezTo>
                  <a:cubicBezTo>
                    <a:pt x="99" y="708"/>
                    <a:pt x="103" y="721"/>
                    <a:pt x="112" y="735"/>
                  </a:cubicBezTo>
                  <a:cubicBezTo>
                    <a:pt x="130" y="742"/>
                    <a:pt x="158" y="751"/>
                    <a:pt x="182" y="759"/>
                  </a:cubicBezTo>
                  <a:cubicBezTo>
                    <a:pt x="203" y="773"/>
                    <a:pt x="235" y="784"/>
                    <a:pt x="237" y="804"/>
                  </a:cubicBezTo>
                  <a:cubicBezTo>
                    <a:pt x="264" y="807"/>
                    <a:pt x="271" y="820"/>
                    <a:pt x="283" y="829"/>
                  </a:cubicBezTo>
                  <a:cubicBezTo>
                    <a:pt x="305" y="845"/>
                    <a:pt x="289" y="853"/>
                    <a:pt x="310" y="859"/>
                  </a:cubicBezTo>
                  <a:cubicBezTo>
                    <a:pt x="331" y="865"/>
                    <a:pt x="384" y="866"/>
                    <a:pt x="411" y="868"/>
                  </a:cubicBezTo>
                  <a:cubicBezTo>
                    <a:pt x="447" y="873"/>
                    <a:pt x="453" y="878"/>
                    <a:pt x="471" y="874"/>
                  </a:cubicBezTo>
                  <a:cubicBezTo>
                    <a:pt x="475" y="870"/>
                    <a:pt x="512" y="856"/>
                    <a:pt x="516" y="852"/>
                  </a:cubicBezTo>
                  <a:cubicBezTo>
                    <a:pt x="524" y="844"/>
                    <a:pt x="529" y="843"/>
                    <a:pt x="542" y="835"/>
                  </a:cubicBezTo>
                  <a:cubicBezTo>
                    <a:pt x="555" y="827"/>
                    <a:pt x="578" y="811"/>
                    <a:pt x="594" y="803"/>
                  </a:cubicBezTo>
                  <a:cubicBezTo>
                    <a:pt x="614" y="775"/>
                    <a:pt x="614" y="783"/>
                    <a:pt x="645" y="779"/>
                  </a:cubicBezTo>
                  <a:cubicBezTo>
                    <a:pt x="665" y="759"/>
                    <a:pt x="681" y="731"/>
                    <a:pt x="709" y="723"/>
                  </a:cubicBezTo>
                  <a:cubicBezTo>
                    <a:pt x="749" y="727"/>
                    <a:pt x="789" y="723"/>
                    <a:pt x="833" y="727"/>
                  </a:cubicBez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  <p:sp>
          <p:nvSpPr>
            <p:cNvPr id="287" name="Freeform 98"/>
            <p:cNvSpPr>
              <a:spLocks noChangeAspect="1"/>
            </p:cNvSpPr>
            <p:nvPr/>
          </p:nvSpPr>
          <p:spPr bwMode="auto">
            <a:xfrm>
              <a:off x="2721" y="2595"/>
              <a:ext cx="473" cy="402"/>
            </a:xfrm>
            <a:custGeom>
              <a:avLst/>
              <a:gdLst>
                <a:gd name="T0" fmla="*/ 0 w 1874"/>
                <a:gd name="T1" fmla="*/ 0 h 1593"/>
                <a:gd name="T2" fmla="*/ 0 w 1874"/>
                <a:gd name="T3" fmla="*/ 0 h 1593"/>
                <a:gd name="T4" fmla="*/ 0 w 1874"/>
                <a:gd name="T5" fmla="*/ 0 h 1593"/>
                <a:gd name="T6" fmla="*/ 0 w 1874"/>
                <a:gd name="T7" fmla="*/ 0 h 1593"/>
                <a:gd name="T8" fmla="*/ 0 w 1874"/>
                <a:gd name="T9" fmla="*/ 0 h 1593"/>
                <a:gd name="T10" fmla="*/ 0 w 1874"/>
                <a:gd name="T11" fmla="*/ 0 h 1593"/>
                <a:gd name="T12" fmla="*/ 0 w 1874"/>
                <a:gd name="T13" fmla="*/ 0 h 1593"/>
                <a:gd name="T14" fmla="*/ 0 w 1874"/>
                <a:gd name="T15" fmla="*/ 0 h 1593"/>
                <a:gd name="T16" fmla="*/ 0 w 1874"/>
                <a:gd name="T17" fmla="*/ 0 h 1593"/>
                <a:gd name="T18" fmla="*/ 0 w 1874"/>
                <a:gd name="T19" fmla="*/ 0 h 1593"/>
                <a:gd name="T20" fmla="*/ 0 w 1874"/>
                <a:gd name="T21" fmla="*/ 0 h 1593"/>
                <a:gd name="T22" fmla="*/ 0 w 1874"/>
                <a:gd name="T23" fmla="*/ 0 h 1593"/>
                <a:gd name="T24" fmla="*/ 0 w 1874"/>
                <a:gd name="T25" fmla="*/ 0 h 1593"/>
                <a:gd name="T26" fmla="*/ 0 w 1874"/>
                <a:gd name="T27" fmla="*/ 0 h 1593"/>
                <a:gd name="T28" fmla="*/ 0 w 1874"/>
                <a:gd name="T29" fmla="*/ 0 h 1593"/>
                <a:gd name="T30" fmla="*/ 0 w 1874"/>
                <a:gd name="T31" fmla="*/ 0 h 1593"/>
                <a:gd name="T32" fmla="*/ 0 w 1874"/>
                <a:gd name="T33" fmla="*/ 0 h 1593"/>
                <a:gd name="T34" fmla="*/ 0 w 1874"/>
                <a:gd name="T35" fmla="*/ 0 h 1593"/>
                <a:gd name="T36" fmla="*/ 0 w 1874"/>
                <a:gd name="T37" fmla="*/ 0 h 1593"/>
                <a:gd name="T38" fmla="*/ 0 w 1874"/>
                <a:gd name="T39" fmla="*/ 0 h 1593"/>
                <a:gd name="T40" fmla="*/ 0 w 1874"/>
                <a:gd name="T41" fmla="*/ 0 h 1593"/>
                <a:gd name="T42" fmla="*/ 0 w 1874"/>
                <a:gd name="T43" fmla="*/ 0 h 1593"/>
                <a:gd name="T44" fmla="*/ 0 w 1874"/>
                <a:gd name="T45" fmla="*/ 0 h 1593"/>
                <a:gd name="T46" fmla="*/ 0 w 1874"/>
                <a:gd name="T47" fmla="*/ 0 h 1593"/>
                <a:gd name="T48" fmla="*/ 0 w 1874"/>
                <a:gd name="T49" fmla="*/ 0 h 1593"/>
                <a:gd name="T50" fmla="*/ 0 w 1874"/>
                <a:gd name="T51" fmla="*/ 0 h 1593"/>
                <a:gd name="T52" fmla="*/ 0 w 1874"/>
                <a:gd name="T53" fmla="*/ 0 h 1593"/>
                <a:gd name="T54" fmla="*/ 0 w 1874"/>
                <a:gd name="T55" fmla="*/ 0 h 1593"/>
                <a:gd name="T56" fmla="*/ 0 w 1874"/>
                <a:gd name="T57" fmla="*/ 0 h 1593"/>
                <a:gd name="T58" fmla="*/ 0 w 1874"/>
                <a:gd name="T59" fmla="*/ 0 h 1593"/>
                <a:gd name="T60" fmla="*/ 0 w 1874"/>
                <a:gd name="T61" fmla="*/ 0 h 1593"/>
                <a:gd name="T62" fmla="*/ 0 w 1874"/>
                <a:gd name="T63" fmla="*/ 0 h 1593"/>
                <a:gd name="T64" fmla="*/ 0 w 1874"/>
                <a:gd name="T65" fmla="*/ 0 h 1593"/>
                <a:gd name="T66" fmla="*/ 0 w 1874"/>
                <a:gd name="T67" fmla="*/ 0 h 1593"/>
                <a:gd name="T68" fmla="*/ 0 w 1874"/>
                <a:gd name="T69" fmla="*/ 0 h 1593"/>
                <a:gd name="T70" fmla="*/ 0 w 1874"/>
                <a:gd name="T71" fmla="*/ 0 h 1593"/>
                <a:gd name="T72" fmla="*/ 0 w 1874"/>
                <a:gd name="T73" fmla="*/ 0 h 1593"/>
                <a:gd name="T74" fmla="*/ 0 w 1874"/>
                <a:gd name="T75" fmla="*/ 0 h 1593"/>
                <a:gd name="T76" fmla="*/ 0 w 1874"/>
                <a:gd name="T77" fmla="*/ 0 h 1593"/>
                <a:gd name="T78" fmla="*/ 0 w 1874"/>
                <a:gd name="T79" fmla="*/ 0 h 1593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874"/>
                <a:gd name="T121" fmla="*/ 0 h 1593"/>
                <a:gd name="T122" fmla="*/ 1874 w 1874"/>
                <a:gd name="T123" fmla="*/ 1593 h 1593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874" h="1593">
                  <a:moveTo>
                    <a:pt x="927" y="76"/>
                  </a:moveTo>
                  <a:cubicBezTo>
                    <a:pt x="911" y="80"/>
                    <a:pt x="911" y="92"/>
                    <a:pt x="891" y="96"/>
                  </a:cubicBezTo>
                  <a:cubicBezTo>
                    <a:pt x="883" y="100"/>
                    <a:pt x="867" y="104"/>
                    <a:pt x="867" y="104"/>
                  </a:cubicBezTo>
                  <a:cubicBezTo>
                    <a:pt x="843" y="140"/>
                    <a:pt x="799" y="112"/>
                    <a:pt x="767" y="100"/>
                  </a:cubicBezTo>
                  <a:cubicBezTo>
                    <a:pt x="759" y="80"/>
                    <a:pt x="751" y="44"/>
                    <a:pt x="735" y="28"/>
                  </a:cubicBezTo>
                  <a:cubicBezTo>
                    <a:pt x="723" y="16"/>
                    <a:pt x="687" y="0"/>
                    <a:pt x="687" y="0"/>
                  </a:cubicBezTo>
                  <a:cubicBezTo>
                    <a:pt x="543" y="0"/>
                    <a:pt x="595" y="16"/>
                    <a:pt x="507" y="44"/>
                  </a:cubicBezTo>
                  <a:cubicBezTo>
                    <a:pt x="499" y="68"/>
                    <a:pt x="451" y="108"/>
                    <a:pt x="423" y="112"/>
                  </a:cubicBezTo>
                  <a:cubicBezTo>
                    <a:pt x="403" y="116"/>
                    <a:pt x="363" y="128"/>
                    <a:pt x="363" y="128"/>
                  </a:cubicBezTo>
                  <a:cubicBezTo>
                    <a:pt x="355" y="144"/>
                    <a:pt x="323" y="168"/>
                    <a:pt x="323" y="168"/>
                  </a:cubicBezTo>
                  <a:cubicBezTo>
                    <a:pt x="307" y="192"/>
                    <a:pt x="295" y="192"/>
                    <a:pt x="267" y="200"/>
                  </a:cubicBezTo>
                  <a:cubicBezTo>
                    <a:pt x="255" y="216"/>
                    <a:pt x="247" y="212"/>
                    <a:pt x="231" y="224"/>
                  </a:cubicBezTo>
                  <a:cubicBezTo>
                    <a:pt x="219" y="260"/>
                    <a:pt x="175" y="260"/>
                    <a:pt x="143" y="264"/>
                  </a:cubicBezTo>
                  <a:cubicBezTo>
                    <a:pt x="115" y="272"/>
                    <a:pt x="123" y="276"/>
                    <a:pt x="99" y="292"/>
                  </a:cubicBezTo>
                  <a:cubicBezTo>
                    <a:pt x="91" y="308"/>
                    <a:pt x="67" y="328"/>
                    <a:pt x="51" y="332"/>
                  </a:cubicBezTo>
                  <a:cubicBezTo>
                    <a:pt x="47" y="348"/>
                    <a:pt x="35" y="380"/>
                    <a:pt x="35" y="380"/>
                  </a:cubicBezTo>
                  <a:cubicBezTo>
                    <a:pt x="43" y="404"/>
                    <a:pt x="56" y="405"/>
                    <a:pt x="60" y="433"/>
                  </a:cubicBezTo>
                  <a:cubicBezTo>
                    <a:pt x="60" y="453"/>
                    <a:pt x="49" y="557"/>
                    <a:pt x="36" y="595"/>
                  </a:cubicBezTo>
                  <a:cubicBezTo>
                    <a:pt x="0" y="608"/>
                    <a:pt x="22" y="637"/>
                    <a:pt x="59" y="648"/>
                  </a:cubicBezTo>
                  <a:cubicBezTo>
                    <a:pt x="75" y="668"/>
                    <a:pt x="108" y="679"/>
                    <a:pt x="123" y="716"/>
                  </a:cubicBezTo>
                  <a:cubicBezTo>
                    <a:pt x="120" y="736"/>
                    <a:pt x="104" y="764"/>
                    <a:pt x="100" y="788"/>
                  </a:cubicBezTo>
                  <a:cubicBezTo>
                    <a:pt x="114" y="815"/>
                    <a:pt x="122" y="825"/>
                    <a:pt x="130" y="853"/>
                  </a:cubicBezTo>
                  <a:cubicBezTo>
                    <a:pt x="126" y="885"/>
                    <a:pt x="131" y="890"/>
                    <a:pt x="123" y="914"/>
                  </a:cubicBezTo>
                  <a:cubicBezTo>
                    <a:pt x="132" y="935"/>
                    <a:pt x="121" y="948"/>
                    <a:pt x="129" y="968"/>
                  </a:cubicBezTo>
                  <a:cubicBezTo>
                    <a:pt x="133" y="1016"/>
                    <a:pt x="143" y="1012"/>
                    <a:pt x="191" y="1016"/>
                  </a:cubicBezTo>
                  <a:cubicBezTo>
                    <a:pt x="199" y="1020"/>
                    <a:pt x="216" y="1011"/>
                    <a:pt x="216" y="1019"/>
                  </a:cubicBezTo>
                  <a:cubicBezTo>
                    <a:pt x="216" y="1027"/>
                    <a:pt x="220" y="1037"/>
                    <a:pt x="207" y="1048"/>
                  </a:cubicBezTo>
                  <a:cubicBezTo>
                    <a:pt x="195" y="1057"/>
                    <a:pt x="190" y="1070"/>
                    <a:pt x="190" y="1070"/>
                  </a:cubicBezTo>
                  <a:cubicBezTo>
                    <a:pt x="194" y="1106"/>
                    <a:pt x="196" y="1100"/>
                    <a:pt x="213" y="1114"/>
                  </a:cubicBezTo>
                  <a:cubicBezTo>
                    <a:pt x="221" y="1126"/>
                    <a:pt x="214" y="1157"/>
                    <a:pt x="220" y="1166"/>
                  </a:cubicBezTo>
                  <a:cubicBezTo>
                    <a:pt x="226" y="1175"/>
                    <a:pt x="231" y="1162"/>
                    <a:pt x="252" y="1171"/>
                  </a:cubicBezTo>
                  <a:cubicBezTo>
                    <a:pt x="273" y="1180"/>
                    <a:pt x="304" y="1216"/>
                    <a:pt x="349" y="1223"/>
                  </a:cubicBezTo>
                  <a:cubicBezTo>
                    <a:pt x="385" y="1233"/>
                    <a:pt x="450" y="1215"/>
                    <a:pt x="471" y="1232"/>
                  </a:cubicBezTo>
                  <a:cubicBezTo>
                    <a:pt x="499" y="1276"/>
                    <a:pt x="431" y="1300"/>
                    <a:pt x="475" y="1328"/>
                  </a:cubicBezTo>
                  <a:cubicBezTo>
                    <a:pt x="489" y="1355"/>
                    <a:pt x="505" y="1352"/>
                    <a:pt x="528" y="1390"/>
                  </a:cubicBezTo>
                  <a:cubicBezTo>
                    <a:pt x="540" y="1396"/>
                    <a:pt x="552" y="1386"/>
                    <a:pt x="558" y="1375"/>
                  </a:cubicBezTo>
                  <a:cubicBezTo>
                    <a:pt x="564" y="1364"/>
                    <a:pt x="594" y="1355"/>
                    <a:pt x="567" y="1324"/>
                  </a:cubicBezTo>
                  <a:cubicBezTo>
                    <a:pt x="589" y="1310"/>
                    <a:pt x="592" y="1313"/>
                    <a:pt x="607" y="1312"/>
                  </a:cubicBezTo>
                  <a:cubicBezTo>
                    <a:pt x="635" y="1316"/>
                    <a:pt x="635" y="1330"/>
                    <a:pt x="663" y="1334"/>
                  </a:cubicBezTo>
                  <a:cubicBezTo>
                    <a:pt x="671" y="1338"/>
                    <a:pt x="689" y="1320"/>
                    <a:pt x="697" y="1324"/>
                  </a:cubicBezTo>
                  <a:cubicBezTo>
                    <a:pt x="709" y="1321"/>
                    <a:pt x="724" y="1336"/>
                    <a:pt x="724" y="1336"/>
                  </a:cubicBezTo>
                  <a:cubicBezTo>
                    <a:pt x="732" y="1344"/>
                    <a:pt x="696" y="1363"/>
                    <a:pt x="718" y="1391"/>
                  </a:cubicBezTo>
                  <a:cubicBezTo>
                    <a:pt x="763" y="1405"/>
                    <a:pt x="828" y="1397"/>
                    <a:pt x="875" y="1408"/>
                  </a:cubicBezTo>
                  <a:cubicBezTo>
                    <a:pt x="903" y="1448"/>
                    <a:pt x="910" y="1469"/>
                    <a:pt x="943" y="1486"/>
                  </a:cubicBezTo>
                  <a:cubicBezTo>
                    <a:pt x="951" y="1502"/>
                    <a:pt x="958" y="1508"/>
                    <a:pt x="974" y="1516"/>
                  </a:cubicBezTo>
                  <a:cubicBezTo>
                    <a:pt x="978" y="1532"/>
                    <a:pt x="1000" y="1540"/>
                    <a:pt x="1014" y="1549"/>
                  </a:cubicBezTo>
                  <a:cubicBezTo>
                    <a:pt x="1048" y="1522"/>
                    <a:pt x="1035" y="1523"/>
                    <a:pt x="1059" y="1487"/>
                  </a:cubicBezTo>
                  <a:cubicBezTo>
                    <a:pt x="1072" y="1487"/>
                    <a:pt x="1080" y="1511"/>
                    <a:pt x="1118" y="1536"/>
                  </a:cubicBezTo>
                  <a:cubicBezTo>
                    <a:pt x="1140" y="1552"/>
                    <a:pt x="1145" y="1569"/>
                    <a:pt x="1165" y="1577"/>
                  </a:cubicBezTo>
                  <a:cubicBezTo>
                    <a:pt x="1181" y="1593"/>
                    <a:pt x="1168" y="1577"/>
                    <a:pt x="1206" y="1580"/>
                  </a:cubicBezTo>
                  <a:cubicBezTo>
                    <a:pt x="1218" y="1547"/>
                    <a:pt x="1215" y="1522"/>
                    <a:pt x="1308" y="1516"/>
                  </a:cubicBezTo>
                  <a:cubicBezTo>
                    <a:pt x="1328" y="1520"/>
                    <a:pt x="1351" y="1535"/>
                    <a:pt x="1351" y="1535"/>
                  </a:cubicBezTo>
                  <a:cubicBezTo>
                    <a:pt x="1366" y="1516"/>
                    <a:pt x="1396" y="1502"/>
                    <a:pt x="1478" y="1480"/>
                  </a:cubicBezTo>
                  <a:cubicBezTo>
                    <a:pt x="1502" y="1484"/>
                    <a:pt x="1519" y="1487"/>
                    <a:pt x="1543" y="1495"/>
                  </a:cubicBezTo>
                  <a:cubicBezTo>
                    <a:pt x="1579" y="1513"/>
                    <a:pt x="1626" y="1519"/>
                    <a:pt x="1682" y="1540"/>
                  </a:cubicBezTo>
                  <a:cubicBezTo>
                    <a:pt x="1694" y="1540"/>
                    <a:pt x="1710" y="1548"/>
                    <a:pt x="1714" y="1536"/>
                  </a:cubicBezTo>
                  <a:cubicBezTo>
                    <a:pt x="1718" y="1520"/>
                    <a:pt x="1694" y="1456"/>
                    <a:pt x="1682" y="1436"/>
                  </a:cubicBezTo>
                  <a:cubicBezTo>
                    <a:pt x="1674" y="1396"/>
                    <a:pt x="1674" y="1380"/>
                    <a:pt x="1706" y="1360"/>
                  </a:cubicBezTo>
                  <a:cubicBezTo>
                    <a:pt x="1714" y="1348"/>
                    <a:pt x="1722" y="1324"/>
                    <a:pt x="1722" y="1324"/>
                  </a:cubicBezTo>
                  <a:cubicBezTo>
                    <a:pt x="1726" y="1284"/>
                    <a:pt x="1726" y="1236"/>
                    <a:pt x="1770" y="1220"/>
                  </a:cubicBezTo>
                  <a:cubicBezTo>
                    <a:pt x="1802" y="1172"/>
                    <a:pt x="1842" y="1144"/>
                    <a:pt x="1874" y="1096"/>
                  </a:cubicBezTo>
                  <a:cubicBezTo>
                    <a:pt x="1874" y="1032"/>
                    <a:pt x="1874" y="1016"/>
                    <a:pt x="1862" y="980"/>
                  </a:cubicBezTo>
                  <a:cubicBezTo>
                    <a:pt x="1870" y="952"/>
                    <a:pt x="1846" y="944"/>
                    <a:pt x="1822" y="940"/>
                  </a:cubicBezTo>
                  <a:cubicBezTo>
                    <a:pt x="1814" y="916"/>
                    <a:pt x="1810" y="912"/>
                    <a:pt x="1790" y="896"/>
                  </a:cubicBezTo>
                  <a:cubicBezTo>
                    <a:pt x="1778" y="888"/>
                    <a:pt x="1754" y="872"/>
                    <a:pt x="1754" y="872"/>
                  </a:cubicBezTo>
                  <a:cubicBezTo>
                    <a:pt x="1742" y="812"/>
                    <a:pt x="1722" y="780"/>
                    <a:pt x="1714" y="744"/>
                  </a:cubicBezTo>
                  <a:cubicBezTo>
                    <a:pt x="1726" y="644"/>
                    <a:pt x="1726" y="632"/>
                    <a:pt x="1630" y="624"/>
                  </a:cubicBezTo>
                  <a:cubicBezTo>
                    <a:pt x="1630" y="600"/>
                    <a:pt x="1610" y="564"/>
                    <a:pt x="1634" y="548"/>
                  </a:cubicBezTo>
                  <a:cubicBezTo>
                    <a:pt x="1654" y="520"/>
                    <a:pt x="1666" y="496"/>
                    <a:pt x="1702" y="484"/>
                  </a:cubicBezTo>
                  <a:cubicBezTo>
                    <a:pt x="1710" y="476"/>
                    <a:pt x="1722" y="448"/>
                    <a:pt x="1722" y="448"/>
                  </a:cubicBezTo>
                  <a:cubicBezTo>
                    <a:pt x="1722" y="440"/>
                    <a:pt x="1722" y="412"/>
                    <a:pt x="1714" y="400"/>
                  </a:cubicBezTo>
                  <a:cubicBezTo>
                    <a:pt x="1710" y="392"/>
                    <a:pt x="1698" y="376"/>
                    <a:pt x="1698" y="376"/>
                  </a:cubicBezTo>
                  <a:cubicBezTo>
                    <a:pt x="1694" y="368"/>
                    <a:pt x="1690" y="356"/>
                    <a:pt x="1674" y="328"/>
                  </a:cubicBezTo>
                  <a:cubicBezTo>
                    <a:pt x="1662" y="300"/>
                    <a:pt x="1634" y="252"/>
                    <a:pt x="1618" y="216"/>
                  </a:cubicBezTo>
                  <a:cubicBezTo>
                    <a:pt x="1602" y="192"/>
                    <a:pt x="1614" y="108"/>
                    <a:pt x="1586" y="100"/>
                  </a:cubicBezTo>
                  <a:cubicBezTo>
                    <a:pt x="1582" y="76"/>
                    <a:pt x="1554" y="52"/>
                    <a:pt x="1530" y="44"/>
                  </a:cubicBezTo>
                  <a:cubicBezTo>
                    <a:pt x="1510" y="20"/>
                    <a:pt x="1502" y="24"/>
                    <a:pt x="1466" y="20"/>
                  </a:cubicBezTo>
                  <a:cubicBezTo>
                    <a:pt x="1446" y="16"/>
                    <a:pt x="1414" y="16"/>
                    <a:pt x="1394" y="20"/>
                  </a:cubicBezTo>
                  <a:cubicBezTo>
                    <a:pt x="1354" y="40"/>
                    <a:pt x="1318" y="52"/>
                    <a:pt x="1286" y="56"/>
                  </a:cubicBezTo>
                  <a:cubicBezTo>
                    <a:pt x="1234" y="64"/>
                    <a:pt x="1150" y="76"/>
                    <a:pt x="1090" y="80"/>
                  </a:cubicBezTo>
                  <a:cubicBezTo>
                    <a:pt x="1030" y="84"/>
                    <a:pt x="994" y="80"/>
                    <a:pt x="927" y="76"/>
                  </a:cubicBez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  <p:sp>
          <p:nvSpPr>
            <p:cNvPr id="288" name="Freeform 99"/>
            <p:cNvSpPr>
              <a:spLocks noChangeAspect="1"/>
            </p:cNvSpPr>
            <p:nvPr/>
          </p:nvSpPr>
          <p:spPr bwMode="auto">
            <a:xfrm>
              <a:off x="2645" y="2889"/>
              <a:ext cx="321" cy="178"/>
            </a:xfrm>
            <a:custGeom>
              <a:avLst/>
              <a:gdLst>
                <a:gd name="T0" fmla="*/ 0 w 1271"/>
                <a:gd name="T1" fmla="*/ 0 h 703"/>
                <a:gd name="T2" fmla="*/ 0 w 1271"/>
                <a:gd name="T3" fmla="*/ 0 h 703"/>
                <a:gd name="T4" fmla="*/ 0 w 1271"/>
                <a:gd name="T5" fmla="*/ 0 h 703"/>
                <a:gd name="T6" fmla="*/ 0 w 1271"/>
                <a:gd name="T7" fmla="*/ 0 h 703"/>
                <a:gd name="T8" fmla="*/ 0 w 1271"/>
                <a:gd name="T9" fmla="*/ 0 h 703"/>
                <a:gd name="T10" fmla="*/ 0 w 1271"/>
                <a:gd name="T11" fmla="*/ 0 h 703"/>
                <a:gd name="T12" fmla="*/ 0 w 1271"/>
                <a:gd name="T13" fmla="*/ 0 h 703"/>
                <a:gd name="T14" fmla="*/ 0 w 1271"/>
                <a:gd name="T15" fmla="*/ 0 h 703"/>
                <a:gd name="T16" fmla="*/ 0 w 1271"/>
                <a:gd name="T17" fmla="*/ 0 h 703"/>
                <a:gd name="T18" fmla="*/ 0 w 1271"/>
                <a:gd name="T19" fmla="*/ 0 h 703"/>
                <a:gd name="T20" fmla="*/ 0 w 1271"/>
                <a:gd name="T21" fmla="*/ 0 h 703"/>
                <a:gd name="T22" fmla="*/ 0 w 1271"/>
                <a:gd name="T23" fmla="*/ 0 h 703"/>
                <a:gd name="T24" fmla="*/ 0 w 1271"/>
                <a:gd name="T25" fmla="*/ 0 h 703"/>
                <a:gd name="T26" fmla="*/ 0 w 1271"/>
                <a:gd name="T27" fmla="*/ 0 h 703"/>
                <a:gd name="T28" fmla="*/ 0 w 1271"/>
                <a:gd name="T29" fmla="*/ 0 h 703"/>
                <a:gd name="T30" fmla="*/ 0 w 1271"/>
                <a:gd name="T31" fmla="*/ 0 h 703"/>
                <a:gd name="T32" fmla="*/ 0 w 1271"/>
                <a:gd name="T33" fmla="*/ 0 h 703"/>
                <a:gd name="T34" fmla="*/ 0 w 1271"/>
                <a:gd name="T35" fmla="*/ 0 h 703"/>
                <a:gd name="T36" fmla="*/ 0 w 1271"/>
                <a:gd name="T37" fmla="*/ 0 h 703"/>
                <a:gd name="T38" fmla="*/ 0 w 1271"/>
                <a:gd name="T39" fmla="*/ 0 h 703"/>
                <a:gd name="T40" fmla="*/ 0 w 1271"/>
                <a:gd name="T41" fmla="*/ 0 h 703"/>
                <a:gd name="T42" fmla="*/ 0 w 1271"/>
                <a:gd name="T43" fmla="*/ 0 h 703"/>
                <a:gd name="T44" fmla="*/ 0 w 1271"/>
                <a:gd name="T45" fmla="*/ 0 h 703"/>
                <a:gd name="T46" fmla="*/ 0 w 1271"/>
                <a:gd name="T47" fmla="*/ 0 h 703"/>
                <a:gd name="T48" fmla="*/ 0 w 1271"/>
                <a:gd name="T49" fmla="*/ 0 h 703"/>
                <a:gd name="T50" fmla="*/ 0 w 1271"/>
                <a:gd name="T51" fmla="*/ 0 h 703"/>
                <a:gd name="T52" fmla="*/ 0 w 1271"/>
                <a:gd name="T53" fmla="*/ 0 h 703"/>
                <a:gd name="T54" fmla="*/ 0 w 1271"/>
                <a:gd name="T55" fmla="*/ 0 h 703"/>
                <a:gd name="T56" fmla="*/ 0 w 1271"/>
                <a:gd name="T57" fmla="*/ 0 h 703"/>
                <a:gd name="T58" fmla="*/ 0 w 1271"/>
                <a:gd name="T59" fmla="*/ 0 h 703"/>
                <a:gd name="T60" fmla="*/ 0 w 1271"/>
                <a:gd name="T61" fmla="*/ 0 h 703"/>
                <a:gd name="T62" fmla="*/ 0 w 1271"/>
                <a:gd name="T63" fmla="*/ 0 h 703"/>
                <a:gd name="T64" fmla="*/ 0 w 1271"/>
                <a:gd name="T65" fmla="*/ 0 h 703"/>
                <a:gd name="T66" fmla="*/ 0 w 1271"/>
                <a:gd name="T67" fmla="*/ 0 h 703"/>
                <a:gd name="T68" fmla="*/ 0 w 1271"/>
                <a:gd name="T69" fmla="*/ 0 h 703"/>
                <a:gd name="T70" fmla="*/ 0 w 1271"/>
                <a:gd name="T71" fmla="*/ 0 h 703"/>
                <a:gd name="T72" fmla="*/ 0 w 1271"/>
                <a:gd name="T73" fmla="*/ 0 h 703"/>
                <a:gd name="T74" fmla="*/ 0 w 1271"/>
                <a:gd name="T75" fmla="*/ 0 h 703"/>
                <a:gd name="T76" fmla="*/ 0 w 1271"/>
                <a:gd name="T77" fmla="*/ 0 h 703"/>
                <a:gd name="T78" fmla="*/ 0 w 1271"/>
                <a:gd name="T79" fmla="*/ 0 h 703"/>
                <a:gd name="T80" fmla="*/ 0 w 1271"/>
                <a:gd name="T81" fmla="*/ 0 h 703"/>
                <a:gd name="T82" fmla="*/ 0 w 1271"/>
                <a:gd name="T83" fmla="*/ 0 h 703"/>
                <a:gd name="T84" fmla="*/ 0 w 1271"/>
                <a:gd name="T85" fmla="*/ 0 h 703"/>
                <a:gd name="T86" fmla="*/ 0 w 1271"/>
                <a:gd name="T87" fmla="*/ 0 h 703"/>
                <a:gd name="T88" fmla="*/ 0 w 1271"/>
                <a:gd name="T89" fmla="*/ 0 h 703"/>
                <a:gd name="T90" fmla="*/ 0 w 1271"/>
                <a:gd name="T91" fmla="*/ 0 h 703"/>
                <a:gd name="T92" fmla="*/ 0 w 1271"/>
                <a:gd name="T93" fmla="*/ 0 h 703"/>
                <a:gd name="T94" fmla="*/ 0 w 1271"/>
                <a:gd name="T95" fmla="*/ 0 h 703"/>
                <a:gd name="T96" fmla="*/ 0 w 1271"/>
                <a:gd name="T97" fmla="*/ 0 h 703"/>
                <a:gd name="T98" fmla="*/ 0 w 1271"/>
                <a:gd name="T99" fmla="*/ 0 h 703"/>
                <a:gd name="T100" fmla="*/ 0 w 1271"/>
                <a:gd name="T101" fmla="*/ 0 h 703"/>
                <a:gd name="T102" fmla="*/ 0 w 1271"/>
                <a:gd name="T103" fmla="*/ 0 h 703"/>
                <a:gd name="T104" fmla="*/ 0 w 1271"/>
                <a:gd name="T105" fmla="*/ 0 h 703"/>
                <a:gd name="T106" fmla="*/ 0 w 1271"/>
                <a:gd name="T107" fmla="*/ 0 h 703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271"/>
                <a:gd name="T163" fmla="*/ 0 h 703"/>
                <a:gd name="T164" fmla="*/ 1271 w 1271"/>
                <a:gd name="T165" fmla="*/ 703 h 703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271" h="703">
                  <a:moveTo>
                    <a:pt x="939" y="620"/>
                  </a:moveTo>
                  <a:cubicBezTo>
                    <a:pt x="947" y="613"/>
                    <a:pt x="939" y="597"/>
                    <a:pt x="954" y="592"/>
                  </a:cubicBezTo>
                  <a:cubicBezTo>
                    <a:pt x="969" y="587"/>
                    <a:pt x="1007" y="598"/>
                    <a:pt x="1032" y="589"/>
                  </a:cubicBezTo>
                  <a:cubicBezTo>
                    <a:pt x="1064" y="581"/>
                    <a:pt x="1084" y="547"/>
                    <a:pt x="1104" y="539"/>
                  </a:cubicBezTo>
                  <a:cubicBezTo>
                    <a:pt x="1111" y="526"/>
                    <a:pt x="1103" y="521"/>
                    <a:pt x="1114" y="503"/>
                  </a:cubicBezTo>
                  <a:cubicBezTo>
                    <a:pt x="1135" y="490"/>
                    <a:pt x="1143" y="452"/>
                    <a:pt x="1171" y="431"/>
                  </a:cubicBezTo>
                  <a:cubicBezTo>
                    <a:pt x="1183" y="391"/>
                    <a:pt x="1206" y="371"/>
                    <a:pt x="1239" y="359"/>
                  </a:cubicBezTo>
                  <a:cubicBezTo>
                    <a:pt x="1270" y="340"/>
                    <a:pt x="1271" y="360"/>
                    <a:pt x="1251" y="340"/>
                  </a:cubicBezTo>
                  <a:cubicBezTo>
                    <a:pt x="1243" y="320"/>
                    <a:pt x="1235" y="312"/>
                    <a:pt x="1215" y="304"/>
                  </a:cubicBezTo>
                  <a:cubicBezTo>
                    <a:pt x="1207" y="288"/>
                    <a:pt x="1191" y="256"/>
                    <a:pt x="1175" y="248"/>
                  </a:cubicBezTo>
                  <a:cubicBezTo>
                    <a:pt x="1135" y="224"/>
                    <a:pt x="1083" y="248"/>
                    <a:pt x="1019" y="228"/>
                  </a:cubicBezTo>
                  <a:cubicBezTo>
                    <a:pt x="1015" y="220"/>
                    <a:pt x="1003" y="208"/>
                    <a:pt x="1007" y="200"/>
                  </a:cubicBezTo>
                  <a:cubicBezTo>
                    <a:pt x="1011" y="192"/>
                    <a:pt x="1023" y="176"/>
                    <a:pt x="1023" y="176"/>
                  </a:cubicBezTo>
                  <a:cubicBezTo>
                    <a:pt x="1015" y="144"/>
                    <a:pt x="987" y="164"/>
                    <a:pt x="963" y="172"/>
                  </a:cubicBezTo>
                  <a:cubicBezTo>
                    <a:pt x="947" y="164"/>
                    <a:pt x="931" y="160"/>
                    <a:pt x="915" y="148"/>
                  </a:cubicBezTo>
                  <a:cubicBezTo>
                    <a:pt x="899" y="148"/>
                    <a:pt x="875" y="152"/>
                    <a:pt x="867" y="160"/>
                  </a:cubicBezTo>
                  <a:cubicBezTo>
                    <a:pt x="887" y="188"/>
                    <a:pt x="875" y="196"/>
                    <a:pt x="855" y="208"/>
                  </a:cubicBezTo>
                  <a:cubicBezTo>
                    <a:pt x="851" y="224"/>
                    <a:pt x="843" y="228"/>
                    <a:pt x="827" y="224"/>
                  </a:cubicBezTo>
                  <a:cubicBezTo>
                    <a:pt x="815" y="208"/>
                    <a:pt x="799" y="188"/>
                    <a:pt x="779" y="176"/>
                  </a:cubicBezTo>
                  <a:cubicBezTo>
                    <a:pt x="775" y="164"/>
                    <a:pt x="759" y="140"/>
                    <a:pt x="759" y="140"/>
                  </a:cubicBezTo>
                  <a:cubicBezTo>
                    <a:pt x="803" y="40"/>
                    <a:pt x="751" y="68"/>
                    <a:pt x="679" y="64"/>
                  </a:cubicBezTo>
                  <a:cubicBezTo>
                    <a:pt x="651" y="56"/>
                    <a:pt x="611" y="52"/>
                    <a:pt x="587" y="32"/>
                  </a:cubicBezTo>
                  <a:cubicBezTo>
                    <a:pt x="575" y="24"/>
                    <a:pt x="551" y="4"/>
                    <a:pt x="551" y="4"/>
                  </a:cubicBezTo>
                  <a:cubicBezTo>
                    <a:pt x="540" y="0"/>
                    <a:pt x="534" y="6"/>
                    <a:pt x="522" y="10"/>
                  </a:cubicBezTo>
                  <a:cubicBezTo>
                    <a:pt x="510" y="14"/>
                    <a:pt x="491" y="25"/>
                    <a:pt x="479" y="28"/>
                  </a:cubicBezTo>
                  <a:cubicBezTo>
                    <a:pt x="475" y="32"/>
                    <a:pt x="447" y="31"/>
                    <a:pt x="447" y="31"/>
                  </a:cubicBezTo>
                  <a:cubicBezTo>
                    <a:pt x="427" y="23"/>
                    <a:pt x="408" y="25"/>
                    <a:pt x="388" y="17"/>
                  </a:cubicBezTo>
                  <a:cubicBezTo>
                    <a:pt x="364" y="43"/>
                    <a:pt x="369" y="29"/>
                    <a:pt x="339" y="76"/>
                  </a:cubicBezTo>
                  <a:cubicBezTo>
                    <a:pt x="285" y="88"/>
                    <a:pt x="301" y="89"/>
                    <a:pt x="289" y="100"/>
                  </a:cubicBezTo>
                  <a:cubicBezTo>
                    <a:pt x="263" y="111"/>
                    <a:pt x="222" y="125"/>
                    <a:pt x="183" y="142"/>
                  </a:cubicBezTo>
                  <a:cubicBezTo>
                    <a:pt x="153" y="158"/>
                    <a:pt x="123" y="182"/>
                    <a:pt x="102" y="193"/>
                  </a:cubicBezTo>
                  <a:cubicBezTo>
                    <a:pt x="81" y="204"/>
                    <a:pt x="70" y="194"/>
                    <a:pt x="58" y="211"/>
                  </a:cubicBezTo>
                  <a:cubicBezTo>
                    <a:pt x="18" y="223"/>
                    <a:pt x="13" y="221"/>
                    <a:pt x="0" y="250"/>
                  </a:cubicBezTo>
                  <a:cubicBezTo>
                    <a:pt x="4" y="286"/>
                    <a:pt x="10" y="283"/>
                    <a:pt x="34" y="299"/>
                  </a:cubicBezTo>
                  <a:cubicBezTo>
                    <a:pt x="60" y="314"/>
                    <a:pt x="55" y="328"/>
                    <a:pt x="63" y="352"/>
                  </a:cubicBezTo>
                  <a:cubicBezTo>
                    <a:pt x="59" y="380"/>
                    <a:pt x="60" y="407"/>
                    <a:pt x="83" y="428"/>
                  </a:cubicBezTo>
                  <a:cubicBezTo>
                    <a:pt x="99" y="454"/>
                    <a:pt x="126" y="473"/>
                    <a:pt x="142" y="485"/>
                  </a:cubicBezTo>
                  <a:cubicBezTo>
                    <a:pt x="162" y="513"/>
                    <a:pt x="178" y="529"/>
                    <a:pt x="207" y="541"/>
                  </a:cubicBezTo>
                  <a:cubicBezTo>
                    <a:pt x="223" y="553"/>
                    <a:pt x="212" y="554"/>
                    <a:pt x="228" y="566"/>
                  </a:cubicBezTo>
                  <a:cubicBezTo>
                    <a:pt x="236" y="573"/>
                    <a:pt x="244" y="580"/>
                    <a:pt x="253" y="593"/>
                  </a:cubicBezTo>
                  <a:cubicBezTo>
                    <a:pt x="265" y="598"/>
                    <a:pt x="285" y="590"/>
                    <a:pt x="301" y="604"/>
                  </a:cubicBezTo>
                  <a:cubicBezTo>
                    <a:pt x="325" y="628"/>
                    <a:pt x="325" y="673"/>
                    <a:pt x="346" y="688"/>
                  </a:cubicBezTo>
                  <a:cubicBezTo>
                    <a:pt x="373" y="680"/>
                    <a:pt x="391" y="696"/>
                    <a:pt x="411" y="700"/>
                  </a:cubicBezTo>
                  <a:cubicBezTo>
                    <a:pt x="439" y="703"/>
                    <a:pt x="453" y="691"/>
                    <a:pt x="486" y="695"/>
                  </a:cubicBezTo>
                  <a:cubicBezTo>
                    <a:pt x="494" y="691"/>
                    <a:pt x="508" y="685"/>
                    <a:pt x="508" y="685"/>
                  </a:cubicBezTo>
                  <a:cubicBezTo>
                    <a:pt x="513" y="659"/>
                    <a:pt x="514" y="619"/>
                    <a:pt x="534" y="599"/>
                  </a:cubicBezTo>
                  <a:cubicBezTo>
                    <a:pt x="534" y="587"/>
                    <a:pt x="552" y="578"/>
                    <a:pt x="564" y="574"/>
                  </a:cubicBezTo>
                  <a:cubicBezTo>
                    <a:pt x="580" y="566"/>
                    <a:pt x="600" y="576"/>
                    <a:pt x="616" y="580"/>
                  </a:cubicBezTo>
                  <a:cubicBezTo>
                    <a:pt x="640" y="584"/>
                    <a:pt x="655" y="588"/>
                    <a:pt x="679" y="588"/>
                  </a:cubicBezTo>
                  <a:cubicBezTo>
                    <a:pt x="708" y="593"/>
                    <a:pt x="735" y="593"/>
                    <a:pt x="731" y="608"/>
                  </a:cubicBezTo>
                  <a:cubicBezTo>
                    <a:pt x="747" y="612"/>
                    <a:pt x="759" y="628"/>
                    <a:pt x="783" y="632"/>
                  </a:cubicBezTo>
                  <a:cubicBezTo>
                    <a:pt x="803" y="636"/>
                    <a:pt x="832" y="635"/>
                    <a:pt x="855" y="636"/>
                  </a:cubicBezTo>
                  <a:cubicBezTo>
                    <a:pt x="880" y="640"/>
                    <a:pt x="891" y="641"/>
                    <a:pt x="919" y="637"/>
                  </a:cubicBezTo>
                  <a:cubicBezTo>
                    <a:pt x="935" y="629"/>
                    <a:pt x="931" y="620"/>
                    <a:pt x="939" y="620"/>
                  </a:cubicBez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  <p:sp>
          <p:nvSpPr>
            <p:cNvPr id="289" name="Freeform 100"/>
            <p:cNvSpPr>
              <a:spLocks noChangeAspect="1"/>
            </p:cNvSpPr>
            <p:nvPr/>
          </p:nvSpPr>
          <p:spPr bwMode="auto">
            <a:xfrm>
              <a:off x="2520" y="3034"/>
              <a:ext cx="373" cy="192"/>
            </a:xfrm>
            <a:custGeom>
              <a:avLst/>
              <a:gdLst>
                <a:gd name="T0" fmla="*/ 0 w 1474"/>
                <a:gd name="T1" fmla="*/ 0 h 764"/>
                <a:gd name="T2" fmla="*/ 0 w 1474"/>
                <a:gd name="T3" fmla="*/ 0 h 764"/>
                <a:gd name="T4" fmla="*/ 0 w 1474"/>
                <a:gd name="T5" fmla="*/ 0 h 764"/>
                <a:gd name="T6" fmla="*/ 0 w 1474"/>
                <a:gd name="T7" fmla="*/ 0 h 764"/>
                <a:gd name="T8" fmla="*/ 0 w 1474"/>
                <a:gd name="T9" fmla="*/ 0 h 764"/>
                <a:gd name="T10" fmla="*/ 0 w 1474"/>
                <a:gd name="T11" fmla="*/ 0 h 764"/>
                <a:gd name="T12" fmla="*/ 0 w 1474"/>
                <a:gd name="T13" fmla="*/ 0 h 764"/>
                <a:gd name="T14" fmla="*/ 0 w 1474"/>
                <a:gd name="T15" fmla="*/ 0 h 764"/>
                <a:gd name="T16" fmla="*/ 0 w 1474"/>
                <a:gd name="T17" fmla="*/ 0 h 764"/>
                <a:gd name="T18" fmla="*/ 0 w 1474"/>
                <a:gd name="T19" fmla="*/ 0 h 764"/>
                <a:gd name="T20" fmla="*/ 0 w 1474"/>
                <a:gd name="T21" fmla="*/ 0 h 764"/>
                <a:gd name="T22" fmla="*/ 0 w 1474"/>
                <a:gd name="T23" fmla="*/ 0 h 764"/>
                <a:gd name="T24" fmla="*/ 0 w 1474"/>
                <a:gd name="T25" fmla="*/ 0 h 764"/>
                <a:gd name="T26" fmla="*/ 0 w 1474"/>
                <a:gd name="T27" fmla="*/ 0 h 764"/>
                <a:gd name="T28" fmla="*/ 0 w 1474"/>
                <a:gd name="T29" fmla="*/ 0 h 764"/>
                <a:gd name="T30" fmla="*/ 0 w 1474"/>
                <a:gd name="T31" fmla="*/ 0 h 764"/>
                <a:gd name="T32" fmla="*/ 0 w 1474"/>
                <a:gd name="T33" fmla="*/ 0 h 764"/>
                <a:gd name="T34" fmla="*/ 0 w 1474"/>
                <a:gd name="T35" fmla="*/ 0 h 764"/>
                <a:gd name="T36" fmla="*/ 0 w 1474"/>
                <a:gd name="T37" fmla="*/ 0 h 764"/>
                <a:gd name="T38" fmla="*/ 0 w 1474"/>
                <a:gd name="T39" fmla="*/ 0 h 764"/>
                <a:gd name="T40" fmla="*/ 0 w 1474"/>
                <a:gd name="T41" fmla="*/ 0 h 764"/>
                <a:gd name="T42" fmla="*/ 0 w 1474"/>
                <a:gd name="T43" fmla="*/ 0 h 764"/>
                <a:gd name="T44" fmla="*/ 0 w 1474"/>
                <a:gd name="T45" fmla="*/ 0 h 764"/>
                <a:gd name="T46" fmla="*/ 0 w 1474"/>
                <a:gd name="T47" fmla="*/ 0 h 764"/>
                <a:gd name="T48" fmla="*/ 0 w 1474"/>
                <a:gd name="T49" fmla="*/ 0 h 764"/>
                <a:gd name="T50" fmla="*/ 0 w 1474"/>
                <a:gd name="T51" fmla="*/ 0 h 764"/>
                <a:gd name="T52" fmla="*/ 0 w 1474"/>
                <a:gd name="T53" fmla="*/ 0 h 764"/>
                <a:gd name="T54" fmla="*/ 0 w 1474"/>
                <a:gd name="T55" fmla="*/ 0 h 764"/>
                <a:gd name="T56" fmla="*/ 0 w 1474"/>
                <a:gd name="T57" fmla="*/ 0 h 764"/>
                <a:gd name="T58" fmla="*/ 0 w 1474"/>
                <a:gd name="T59" fmla="*/ 0 h 764"/>
                <a:gd name="T60" fmla="*/ 0 w 1474"/>
                <a:gd name="T61" fmla="*/ 0 h 764"/>
                <a:gd name="T62" fmla="*/ 0 w 1474"/>
                <a:gd name="T63" fmla="*/ 0 h 764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474"/>
                <a:gd name="T97" fmla="*/ 0 h 764"/>
                <a:gd name="T98" fmla="*/ 1474 w 1474"/>
                <a:gd name="T99" fmla="*/ 764 h 764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474" h="764">
                  <a:moveTo>
                    <a:pt x="26" y="452"/>
                  </a:moveTo>
                  <a:cubicBezTo>
                    <a:pt x="39" y="438"/>
                    <a:pt x="59" y="467"/>
                    <a:pt x="72" y="471"/>
                  </a:cubicBezTo>
                  <a:cubicBezTo>
                    <a:pt x="85" y="475"/>
                    <a:pt x="98" y="472"/>
                    <a:pt x="107" y="477"/>
                  </a:cubicBezTo>
                  <a:cubicBezTo>
                    <a:pt x="115" y="489"/>
                    <a:pt x="125" y="501"/>
                    <a:pt x="125" y="501"/>
                  </a:cubicBezTo>
                  <a:cubicBezTo>
                    <a:pt x="129" y="517"/>
                    <a:pt x="142" y="510"/>
                    <a:pt x="150" y="522"/>
                  </a:cubicBezTo>
                  <a:cubicBezTo>
                    <a:pt x="201" y="522"/>
                    <a:pt x="192" y="498"/>
                    <a:pt x="200" y="474"/>
                  </a:cubicBezTo>
                  <a:cubicBezTo>
                    <a:pt x="212" y="466"/>
                    <a:pt x="214" y="468"/>
                    <a:pt x="230" y="464"/>
                  </a:cubicBezTo>
                  <a:cubicBezTo>
                    <a:pt x="262" y="476"/>
                    <a:pt x="294" y="500"/>
                    <a:pt x="321" y="497"/>
                  </a:cubicBezTo>
                  <a:cubicBezTo>
                    <a:pt x="345" y="489"/>
                    <a:pt x="354" y="483"/>
                    <a:pt x="374" y="479"/>
                  </a:cubicBezTo>
                  <a:cubicBezTo>
                    <a:pt x="383" y="462"/>
                    <a:pt x="396" y="440"/>
                    <a:pt x="420" y="428"/>
                  </a:cubicBezTo>
                  <a:cubicBezTo>
                    <a:pt x="444" y="416"/>
                    <a:pt x="493" y="408"/>
                    <a:pt x="519" y="407"/>
                  </a:cubicBezTo>
                  <a:cubicBezTo>
                    <a:pt x="545" y="406"/>
                    <a:pt x="537" y="402"/>
                    <a:pt x="574" y="420"/>
                  </a:cubicBezTo>
                  <a:cubicBezTo>
                    <a:pt x="594" y="410"/>
                    <a:pt x="591" y="407"/>
                    <a:pt x="602" y="407"/>
                  </a:cubicBezTo>
                  <a:cubicBezTo>
                    <a:pt x="613" y="407"/>
                    <a:pt x="625" y="412"/>
                    <a:pt x="639" y="420"/>
                  </a:cubicBezTo>
                  <a:cubicBezTo>
                    <a:pt x="656" y="425"/>
                    <a:pt x="674" y="450"/>
                    <a:pt x="684" y="455"/>
                  </a:cubicBezTo>
                  <a:cubicBezTo>
                    <a:pt x="694" y="460"/>
                    <a:pt x="696" y="455"/>
                    <a:pt x="699" y="450"/>
                  </a:cubicBezTo>
                  <a:cubicBezTo>
                    <a:pt x="695" y="438"/>
                    <a:pt x="709" y="438"/>
                    <a:pt x="701" y="426"/>
                  </a:cubicBezTo>
                  <a:cubicBezTo>
                    <a:pt x="696" y="408"/>
                    <a:pt x="671" y="401"/>
                    <a:pt x="671" y="401"/>
                  </a:cubicBezTo>
                  <a:cubicBezTo>
                    <a:pt x="678" y="315"/>
                    <a:pt x="647" y="294"/>
                    <a:pt x="623" y="270"/>
                  </a:cubicBezTo>
                  <a:cubicBezTo>
                    <a:pt x="659" y="263"/>
                    <a:pt x="662" y="244"/>
                    <a:pt x="680" y="234"/>
                  </a:cubicBezTo>
                  <a:cubicBezTo>
                    <a:pt x="698" y="224"/>
                    <a:pt x="715" y="223"/>
                    <a:pt x="729" y="209"/>
                  </a:cubicBezTo>
                  <a:cubicBezTo>
                    <a:pt x="743" y="188"/>
                    <a:pt x="740" y="168"/>
                    <a:pt x="761" y="149"/>
                  </a:cubicBezTo>
                  <a:cubicBezTo>
                    <a:pt x="774" y="136"/>
                    <a:pt x="799" y="137"/>
                    <a:pt x="810" y="132"/>
                  </a:cubicBezTo>
                  <a:cubicBezTo>
                    <a:pt x="821" y="127"/>
                    <a:pt x="812" y="117"/>
                    <a:pt x="827" y="116"/>
                  </a:cubicBezTo>
                  <a:cubicBezTo>
                    <a:pt x="843" y="108"/>
                    <a:pt x="874" y="116"/>
                    <a:pt x="898" y="128"/>
                  </a:cubicBezTo>
                  <a:cubicBezTo>
                    <a:pt x="922" y="124"/>
                    <a:pt x="950" y="124"/>
                    <a:pt x="974" y="120"/>
                  </a:cubicBezTo>
                  <a:cubicBezTo>
                    <a:pt x="982" y="120"/>
                    <a:pt x="998" y="112"/>
                    <a:pt x="998" y="112"/>
                  </a:cubicBezTo>
                  <a:cubicBezTo>
                    <a:pt x="1010" y="60"/>
                    <a:pt x="1010" y="28"/>
                    <a:pt x="1054" y="0"/>
                  </a:cubicBezTo>
                  <a:cubicBezTo>
                    <a:pt x="1110" y="8"/>
                    <a:pt x="1162" y="20"/>
                    <a:pt x="1218" y="24"/>
                  </a:cubicBezTo>
                  <a:cubicBezTo>
                    <a:pt x="1258" y="84"/>
                    <a:pt x="1342" y="60"/>
                    <a:pt x="1410" y="64"/>
                  </a:cubicBezTo>
                  <a:cubicBezTo>
                    <a:pt x="1443" y="74"/>
                    <a:pt x="1426" y="35"/>
                    <a:pt x="1433" y="50"/>
                  </a:cubicBezTo>
                  <a:cubicBezTo>
                    <a:pt x="1435" y="59"/>
                    <a:pt x="1419" y="98"/>
                    <a:pt x="1421" y="116"/>
                  </a:cubicBezTo>
                  <a:cubicBezTo>
                    <a:pt x="1423" y="134"/>
                    <a:pt x="1434" y="130"/>
                    <a:pt x="1443" y="158"/>
                  </a:cubicBezTo>
                  <a:cubicBezTo>
                    <a:pt x="1427" y="210"/>
                    <a:pt x="1446" y="240"/>
                    <a:pt x="1474" y="284"/>
                  </a:cubicBezTo>
                  <a:cubicBezTo>
                    <a:pt x="1462" y="356"/>
                    <a:pt x="1470" y="348"/>
                    <a:pt x="1394" y="352"/>
                  </a:cubicBezTo>
                  <a:cubicBezTo>
                    <a:pt x="1374" y="344"/>
                    <a:pt x="1358" y="352"/>
                    <a:pt x="1338" y="356"/>
                  </a:cubicBezTo>
                  <a:cubicBezTo>
                    <a:pt x="1358" y="360"/>
                    <a:pt x="1374" y="372"/>
                    <a:pt x="1390" y="384"/>
                  </a:cubicBezTo>
                  <a:cubicBezTo>
                    <a:pt x="1402" y="424"/>
                    <a:pt x="1414" y="416"/>
                    <a:pt x="1390" y="424"/>
                  </a:cubicBezTo>
                  <a:cubicBezTo>
                    <a:pt x="1386" y="440"/>
                    <a:pt x="1378" y="452"/>
                    <a:pt x="1370" y="468"/>
                  </a:cubicBezTo>
                  <a:cubicBezTo>
                    <a:pt x="1378" y="528"/>
                    <a:pt x="1390" y="572"/>
                    <a:pt x="1322" y="588"/>
                  </a:cubicBezTo>
                  <a:cubicBezTo>
                    <a:pt x="1310" y="620"/>
                    <a:pt x="1322" y="608"/>
                    <a:pt x="1298" y="624"/>
                  </a:cubicBezTo>
                  <a:cubicBezTo>
                    <a:pt x="1286" y="660"/>
                    <a:pt x="1262" y="652"/>
                    <a:pt x="1222" y="660"/>
                  </a:cubicBezTo>
                  <a:cubicBezTo>
                    <a:pt x="1214" y="660"/>
                    <a:pt x="1202" y="664"/>
                    <a:pt x="1202" y="664"/>
                  </a:cubicBezTo>
                  <a:cubicBezTo>
                    <a:pt x="1198" y="684"/>
                    <a:pt x="1194" y="684"/>
                    <a:pt x="1174" y="692"/>
                  </a:cubicBezTo>
                  <a:cubicBezTo>
                    <a:pt x="1146" y="688"/>
                    <a:pt x="1134" y="696"/>
                    <a:pt x="1106" y="704"/>
                  </a:cubicBezTo>
                  <a:cubicBezTo>
                    <a:pt x="1094" y="720"/>
                    <a:pt x="1086" y="712"/>
                    <a:pt x="1066" y="720"/>
                  </a:cubicBezTo>
                  <a:cubicBezTo>
                    <a:pt x="1050" y="736"/>
                    <a:pt x="1018" y="748"/>
                    <a:pt x="998" y="756"/>
                  </a:cubicBezTo>
                  <a:cubicBezTo>
                    <a:pt x="926" y="764"/>
                    <a:pt x="895" y="741"/>
                    <a:pt x="807" y="737"/>
                  </a:cubicBezTo>
                  <a:cubicBezTo>
                    <a:pt x="763" y="721"/>
                    <a:pt x="672" y="723"/>
                    <a:pt x="626" y="712"/>
                  </a:cubicBezTo>
                  <a:cubicBezTo>
                    <a:pt x="606" y="704"/>
                    <a:pt x="598" y="696"/>
                    <a:pt x="578" y="688"/>
                  </a:cubicBezTo>
                  <a:cubicBezTo>
                    <a:pt x="574" y="688"/>
                    <a:pt x="564" y="677"/>
                    <a:pt x="564" y="677"/>
                  </a:cubicBezTo>
                  <a:cubicBezTo>
                    <a:pt x="549" y="657"/>
                    <a:pt x="548" y="632"/>
                    <a:pt x="530" y="620"/>
                  </a:cubicBezTo>
                  <a:cubicBezTo>
                    <a:pt x="519" y="605"/>
                    <a:pt x="522" y="604"/>
                    <a:pt x="500" y="594"/>
                  </a:cubicBezTo>
                  <a:cubicBezTo>
                    <a:pt x="476" y="595"/>
                    <a:pt x="438" y="608"/>
                    <a:pt x="438" y="608"/>
                  </a:cubicBezTo>
                  <a:cubicBezTo>
                    <a:pt x="399" y="614"/>
                    <a:pt x="377" y="620"/>
                    <a:pt x="334" y="616"/>
                  </a:cubicBezTo>
                  <a:cubicBezTo>
                    <a:pt x="326" y="630"/>
                    <a:pt x="333" y="621"/>
                    <a:pt x="310" y="656"/>
                  </a:cubicBezTo>
                  <a:cubicBezTo>
                    <a:pt x="306" y="664"/>
                    <a:pt x="303" y="668"/>
                    <a:pt x="303" y="668"/>
                  </a:cubicBezTo>
                  <a:cubicBezTo>
                    <a:pt x="240" y="663"/>
                    <a:pt x="235" y="654"/>
                    <a:pt x="214" y="650"/>
                  </a:cubicBezTo>
                  <a:cubicBezTo>
                    <a:pt x="193" y="646"/>
                    <a:pt x="190" y="647"/>
                    <a:pt x="178" y="644"/>
                  </a:cubicBezTo>
                  <a:cubicBezTo>
                    <a:pt x="173" y="626"/>
                    <a:pt x="166" y="616"/>
                    <a:pt x="142" y="632"/>
                  </a:cubicBezTo>
                  <a:cubicBezTo>
                    <a:pt x="134" y="648"/>
                    <a:pt x="107" y="650"/>
                    <a:pt x="93" y="659"/>
                  </a:cubicBezTo>
                  <a:cubicBezTo>
                    <a:pt x="81" y="650"/>
                    <a:pt x="79" y="647"/>
                    <a:pt x="71" y="627"/>
                  </a:cubicBezTo>
                  <a:cubicBezTo>
                    <a:pt x="67" y="611"/>
                    <a:pt x="38" y="596"/>
                    <a:pt x="26" y="588"/>
                  </a:cubicBezTo>
                  <a:cubicBezTo>
                    <a:pt x="11" y="582"/>
                    <a:pt x="4" y="568"/>
                    <a:pt x="0" y="552"/>
                  </a:cubicBezTo>
                  <a:cubicBezTo>
                    <a:pt x="16" y="508"/>
                    <a:pt x="38" y="521"/>
                    <a:pt x="26" y="452"/>
                  </a:cubicBez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  <p:sp>
          <p:nvSpPr>
            <p:cNvPr id="290" name="Freeform 101"/>
            <p:cNvSpPr>
              <a:spLocks noChangeAspect="1"/>
            </p:cNvSpPr>
            <p:nvPr/>
          </p:nvSpPr>
          <p:spPr bwMode="auto">
            <a:xfrm>
              <a:off x="2339" y="3127"/>
              <a:ext cx="234" cy="153"/>
            </a:xfrm>
            <a:custGeom>
              <a:avLst/>
              <a:gdLst>
                <a:gd name="T0" fmla="*/ 0 w 925"/>
                <a:gd name="T1" fmla="*/ 0 h 605"/>
                <a:gd name="T2" fmla="*/ 0 w 925"/>
                <a:gd name="T3" fmla="*/ 0 h 605"/>
                <a:gd name="T4" fmla="*/ 0 w 925"/>
                <a:gd name="T5" fmla="*/ 0 h 605"/>
                <a:gd name="T6" fmla="*/ 0 w 925"/>
                <a:gd name="T7" fmla="*/ 0 h 605"/>
                <a:gd name="T8" fmla="*/ 0 w 925"/>
                <a:gd name="T9" fmla="*/ 0 h 605"/>
                <a:gd name="T10" fmla="*/ 0 w 925"/>
                <a:gd name="T11" fmla="*/ 0 h 605"/>
                <a:gd name="T12" fmla="*/ 0 w 925"/>
                <a:gd name="T13" fmla="*/ 0 h 605"/>
                <a:gd name="T14" fmla="*/ 0 w 925"/>
                <a:gd name="T15" fmla="*/ 0 h 605"/>
                <a:gd name="T16" fmla="*/ 0 w 925"/>
                <a:gd name="T17" fmla="*/ 0 h 605"/>
                <a:gd name="T18" fmla="*/ 0 w 925"/>
                <a:gd name="T19" fmla="*/ 0 h 605"/>
                <a:gd name="T20" fmla="*/ 0 w 925"/>
                <a:gd name="T21" fmla="*/ 0 h 605"/>
                <a:gd name="T22" fmla="*/ 0 w 925"/>
                <a:gd name="T23" fmla="*/ 0 h 605"/>
                <a:gd name="T24" fmla="*/ 0 w 925"/>
                <a:gd name="T25" fmla="*/ 0 h 605"/>
                <a:gd name="T26" fmla="*/ 0 w 925"/>
                <a:gd name="T27" fmla="*/ 0 h 605"/>
                <a:gd name="T28" fmla="*/ 0 w 925"/>
                <a:gd name="T29" fmla="*/ 0 h 605"/>
                <a:gd name="T30" fmla="*/ 0 w 925"/>
                <a:gd name="T31" fmla="*/ 0 h 605"/>
                <a:gd name="T32" fmla="*/ 0 w 925"/>
                <a:gd name="T33" fmla="*/ 0 h 605"/>
                <a:gd name="T34" fmla="*/ 0 w 925"/>
                <a:gd name="T35" fmla="*/ 0 h 605"/>
                <a:gd name="T36" fmla="*/ 0 w 925"/>
                <a:gd name="T37" fmla="*/ 0 h 605"/>
                <a:gd name="T38" fmla="*/ 0 w 925"/>
                <a:gd name="T39" fmla="*/ 0 h 605"/>
                <a:gd name="T40" fmla="*/ 0 w 925"/>
                <a:gd name="T41" fmla="*/ 0 h 605"/>
                <a:gd name="T42" fmla="*/ 0 w 925"/>
                <a:gd name="T43" fmla="*/ 0 h 605"/>
                <a:gd name="T44" fmla="*/ 0 w 925"/>
                <a:gd name="T45" fmla="*/ 0 h 605"/>
                <a:gd name="T46" fmla="*/ 0 w 925"/>
                <a:gd name="T47" fmla="*/ 0 h 605"/>
                <a:gd name="T48" fmla="*/ 0 w 925"/>
                <a:gd name="T49" fmla="*/ 0 h 605"/>
                <a:gd name="T50" fmla="*/ 0 w 925"/>
                <a:gd name="T51" fmla="*/ 0 h 605"/>
                <a:gd name="T52" fmla="*/ 0 w 925"/>
                <a:gd name="T53" fmla="*/ 0 h 605"/>
                <a:gd name="T54" fmla="*/ 0 w 925"/>
                <a:gd name="T55" fmla="*/ 0 h 605"/>
                <a:gd name="T56" fmla="*/ 0 w 925"/>
                <a:gd name="T57" fmla="*/ 0 h 605"/>
                <a:gd name="T58" fmla="*/ 0 w 925"/>
                <a:gd name="T59" fmla="*/ 0 h 605"/>
                <a:gd name="T60" fmla="*/ 0 w 925"/>
                <a:gd name="T61" fmla="*/ 0 h 605"/>
                <a:gd name="T62" fmla="*/ 0 w 925"/>
                <a:gd name="T63" fmla="*/ 0 h 605"/>
                <a:gd name="T64" fmla="*/ 0 w 925"/>
                <a:gd name="T65" fmla="*/ 0 h 605"/>
                <a:gd name="T66" fmla="*/ 0 w 925"/>
                <a:gd name="T67" fmla="*/ 0 h 605"/>
                <a:gd name="T68" fmla="*/ 0 w 925"/>
                <a:gd name="T69" fmla="*/ 0 h 605"/>
                <a:gd name="T70" fmla="*/ 0 w 925"/>
                <a:gd name="T71" fmla="*/ 0 h 605"/>
                <a:gd name="T72" fmla="*/ 0 w 925"/>
                <a:gd name="T73" fmla="*/ 0 h 605"/>
                <a:gd name="T74" fmla="*/ 0 w 925"/>
                <a:gd name="T75" fmla="*/ 0 h 605"/>
                <a:gd name="T76" fmla="*/ 0 w 925"/>
                <a:gd name="T77" fmla="*/ 0 h 605"/>
                <a:gd name="T78" fmla="*/ 0 w 925"/>
                <a:gd name="T79" fmla="*/ 0 h 605"/>
                <a:gd name="T80" fmla="*/ 0 w 925"/>
                <a:gd name="T81" fmla="*/ 0 h 605"/>
                <a:gd name="T82" fmla="*/ 0 w 925"/>
                <a:gd name="T83" fmla="*/ 0 h 605"/>
                <a:gd name="T84" fmla="*/ 0 w 925"/>
                <a:gd name="T85" fmla="*/ 0 h 605"/>
                <a:gd name="T86" fmla="*/ 0 w 925"/>
                <a:gd name="T87" fmla="*/ 0 h 605"/>
                <a:gd name="T88" fmla="*/ 0 w 925"/>
                <a:gd name="T89" fmla="*/ 0 h 605"/>
                <a:gd name="T90" fmla="*/ 0 w 925"/>
                <a:gd name="T91" fmla="*/ 0 h 605"/>
                <a:gd name="T92" fmla="*/ 0 w 925"/>
                <a:gd name="T93" fmla="*/ 0 h 605"/>
                <a:gd name="T94" fmla="*/ 0 w 925"/>
                <a:gd name="T95" fmla="*/ 0 h 605"/>
                <a:gd name="T96" fmla="*/ 0 w 925"/>
                <a:gd name="T97" fmla="*/ 0 h 605"/>
                <a:gd name="T98" fmla="*/ 0 w 925"/>
                <a:gd name="T99" fmla="*/ 0 h 605"/>
                <a:gd name="T100" fmla="*/ 0 w 925"/>
                <a:gd name="T101" fmla="*/ 0 h 605"/>
                <a:gd name="T102" fmla="*/ 0 w 925"/>
                <a:gd name="T103" fmla="*/ 0 h 605"/>
                <a:gd name="T104" fmla="*/ 0 w 925"/>
                <a:gd name="T105" fmla="*/ 0 h 605"/>
                <a:gd name="T106" fmla="*/ 0 w 925"/>
                <a:gd name="T107" fmla="*/ 0 h 605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925"/>
                <a:gd name="T163" fmla="*/ 0 h 605"/>
                <a:gd name="T164" fmla="*/ 925 w 925"/>
                <a:gd name="T165" fmla="*/ 605 h 605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925" h="605">
                  <a:moveTo>
                    <a:pt x="328" y="78"/>
                  </a:moveTo>
                  <a:cubicBezTo>
                    <a:pt x="372" y="86"/>
                    <a:pt x="378" y="74"/>
                    <a:pt x="428" y="82"/>
                  </a:cubicBezTo>
                  <a:cubicBezTo>
                    <a:pt x="460" y="74"/>
                    <a:pt x="481" y="81"/>
                    <a:pt x="513" y="69"/>
                  </a:cubicBezTo>
                  <a:cubicBezTo>
                    <a:pt x="517" y="61"/>
                    <a:pt x="543" y="52"/>
                    <a:pt x="535" y="48"/>
                  </a:cubicBezTo>
                  <a:cubicBezTo>
                    <a:pt x="523" y="44"/>
                    <a:pt x="500" y="30"/>
                    <a:pt x="500" y="30"/>
                  </a:cubicBezTo>
                  <a:cubicBezTo>
                    <a:pt x="480" y="2"/>
                    <a:pt x="505" y="0"/>
                    <a:pt x="528" y="10"/>
                  </a:cubicBezTo>
                  <a:cubicBezTo>
                    <a:pt x="544" y="14"/>
                    <a:pt x="555" y="18"/>
                    <a:pt x="567" y="26"/>
                  </a:cubicBezTo>
                  <a:cubicBezTo>
                    <a:pt x="568" y="50"/>
                    <a:pt x="592" y="59"/>
                    <a:pt x="596" y="62"/>
                  </a:cubicBezTo>
                  <a:cubicBezTo>
                    <a:pt x="606" y="66"/>
                    <a:pt x="618" y="44"/>
                    <a:pt x="633" y="42"/>
                  </a:cubicBezTo>
                  <a:cubicBezTo>
                    <a:pt x="648" y="40"/>
                    <a:pt x="655" y="53"/>
                    <a:pt x="685" y="50"/>
                  </a:cubicBezTo>
                  <a:cubicBezTo>
                    <a:pt x="709" y="58"/>
                    <a:pt x="724" y="72"/>
                    <a:pt x="744" y="80"/>
                  </a:cubicBezTo>
                  <a:cubicBezTo>
                    <a:pt x="756" y="113"/>
                    <a:pt x="740" y="154"/>
                    <a:pt x="720" y="182"/>
                  </a:cubicBezTo>
                  <a:cubicBezTo>
                    <a:pt x="728" y="210"/>
                    <a:pt x="724" y="218"/>
                    <a:pt x="752" y="226"/>
                  </a:cubicBezTo>
                  <a:cubicBezTo>
                    <a:pt x="780" y="246"/>
                    <a:pt x="768" y="234"/>
                    <a:pt x="788" y="254"/>
                  </a:cubicBezTo>
                  <a:cubicBezTo>
                    <a:pt x="792" y="270"/>
                    <a:pt x="800" y="282"/>
                    <a:pt x="808" y="294"/>
                  </a:cubicBezTo>
                  <a:cubicBezTo>
                    <a:pt x="828" y="290"/>
                    <a:pt x="860" y="266"/>
                    <a:pt x="880" y="258"/>
                  </a:cubicBezTo>
                  <a:cubicBezTo>
                    <a:pt x="896" y="253"/>
                    <a:pt x="891" y="277"/>
                    <a:pt x="898" y="281"/>
                  </a:cubicBezTo>
                  <a:cubicBezTo>
                    <a:pt x="905" y="285"/>
                    <a:pt x="923" y="279"/>
                    <a:pt x="924" y="282"/>
                  </a:cubicBezTo>
                  <a:cubicBezTo>
                    <a:pt x="925" y="285"/>
                    <a:pt x="909" y="289"/>
                    <a:pt x="903" y="300"/>
                  </a:cubicBezTo>
                  <a:cubicBezTo>
                    <a:pt x="897" y="311"/>
                    <a:pt x="899" y="338"/>
                    <a:pt x="888" y="350"/>
                  </a:cubicBezTo>
                  <a:cubicBezTo>
                    <a:pt x="871" y="384"/>
                    <a:pt x="869" y="373"/>
                    <a:pt x="838" y="374"/>
                  </a:cubicBezTo>
                  <a:cubicBezTo>
                    <a:pt x="837" y="393"/>
                    <a:pt x="834" y="392"/>
                    <a:pt x="823" y="419"/>
                  </a:cubicBezTo>
                  <a:cubicBezTo>
                    <a:pt x="816" y="430"/>
                    <a:pt x="806" y="426"/>
                    <a:pt x="792" y="434"/>
                  </a:cubicBezTo>
                  <a:cubicBezTo>
                    <a:pt x="754" y="450"/>
                    <a:pt x="766" y="447"/>
                    <a:pt x="744" y="470"/>
                  </a:cubicBezTo>
                  <a:cubicBezTo>
                    <a:pt x="739" y="452"/>
                    <a:pt x="747" y="440"/>
                    <a:pt x="709" y="435"/>
                  </a:cubicBezTo>
                  <a:cubicBezTo>
                    <a:pt x="705" y="415"/>
                    <a:pt x="693" y="417"/>
                    <a:pt x="693" y="417"/>
                  </a:cubicBezTo>
                  <a:cubicBezTo>
                    <a:pt x="663" y="422"/>
                    <a:pt x="669" y="433"/>
                    <a:pt x="655" y="453"/>
                  </a:cubicBezTo>
                  <a:cubicBezTo>
                    <a:pt x="641" y="473"/>
                    <a:pt x="622" y="509"/>
                    <a:pt x="610" y="534"/>
                  </a:cubicBezTo>
                  <a:cubicBezTo>
                    <a:pt x="598" y="557"/>
                    <a:pt x="604" y="545"/>
                    <a:pt x="583" y="605"/>
                  </a:cubicBezTo>
                  <a:cubicBezTo>
                    <a:pt x="567" y="576"/>
                    <a:pt x="559" y="543"/>
                    <a:pt x="555" y="515"/>
                  </a:cubicBezTo>
                  <a:cubicBezTo>
                    <a:pt x="543" y="485"/>
                    <a:pt x="538" y="494"/>
                    <a:pt x="528" y="495"/>
                  </a:cubicBezTo>
                  <a:cubicBezTo>
                    <a:pt x="523" y="489"/>
                    <a:pt x="530" y="485"/>
                    <a:pt x="525" y="476"/>
                  </a:cubicBezTo>
                  <a:cubicBezTo>
                    <a:pt x="513" y="456"/>
                    <a:pt x="522" y="453"/>
                    <a:pt x="496" y="438"/>
                  </a:cubicBezTo>
                  <a:cubicBezTo>
                    <a:pt x="488" y="434"/>
                    <a:pt x="472" y="454"/>
                    <a:pt x="464" y="458"/>
                  </a:cubicBezTo>
                  <a:cubicBezTo>
                    <a:pt x="452" y="466"/>
                    <a:pt x="436" y="473"/>
                    <a:pt x="432" y="498"/>
                  </a:cubicBezTo>
                  <a:cubicBezTo>
                    <a:pt x="424" y="510"/>
                    <a:pt x="423" y="536"/>
                    <a:pt x="411" y="540"/>
                  </a:cubicBezTo>
                  <a:cubicBezTo>
                    <a:pt x="403" y="544"/>
                    <a:pt x="360" y="546"/>
                    <a:pt x="360" y="546"/>
                  </a:cubicBezTo>
                  <a:cubicBezTo>
                    <a:pt x="324" y="542"/>
                    <a:pt x="326" y="544"/>
                    <a:pt x="286" y="548"/>
                  </a:cubicBezTo>
                  <a:cubicBezTo>
                    <a:pt x="267" y="557"/>
                    <a:pt x="264" y="562"/>
                    <a:pt x="248" y="566"/>
                  </a:cubicBezTo>
                  <a:cubicBezTo>
                    <a:pt x="235" y="566"/>
                    <a:pt x="208" y="557"/>
                    <a:pt x="198" y="552"/>
                  </a:cubicBezTo>
                  <a:cubicBezTo>
                    <a:pt x="188" y="547"/>
                    <a:pt x="193" y="547"/>
                    <a:pt x="188" y="534"/>
                  </a:cubicBezTo>
                  <a:cubicBezTo>
                    <a:pt x="175" y="494"/>
                    <a:pt x="172" y="506"/>
                    <a:pt x="168" y="473"/>
                  </a:cubicBezTo>
                  <a:cubicBezTo>
                    <a:pt x="157" y="447"/>
                    <a:pt x="178" y="441"/>
                    <a:pt x="128" y="422"/>
                  </a:cubicBezTo>
                  <a:cubicBezTo>
                    <a:pt x="93" y="428"/>
                    <a:pt x="81" y="432"/>
                    <a:pt x="44" y="438"/>
                  </a:cubicBezTo>
                  <a:cubicBezTo>
                    <a:pt x="30" y="450"/>
                    <a:pt x="16" y="468"/>
                    <a:pt x="0" y="494"/>
                  </a:cubicBezTo>
                  <a:cubicBezTo>
                    <a:pt x="1" y="435"/>
                    <a:pt x="15" y="440"/>
                    <a:pt x="24" y="414"/>
                  </a:cubicBezTo>
                  <a:cubicBezTo>
                    <a:pt x="46" y="389"/>
                    <a:pt x="24" y="370"/>
                    <a:pt x="36" y="351"/>
                  </a:cubicBezTo>
                  <a:cubicBezTo>
                    <a:pt x="48" y="332"/>
                    <a:pt x="66" y="313"/>
                    <a:pt x="94" y="299"/>
                  </a:cubicBezTo>
                  <a:cubicBezTo>
                    <a:pt x="111" y="278"/>
                    <a:pt x="116" y="269"/>
                    <a:pt x="136" y="245"/>
                  </a:cubicBezTo>
                  <a:cubicBezTo>
                    <a:pt x="150" y="209"/>
                    <a:pt x="168" y="198"/>
                    <a:pt x="184" y="174"/>
                  </a:cubicBezTo>
                  <a:cubicBezTo>
                    <a:pt x="188" y="162"/>
                    <a:pt x="194" y="146"/>
                    <a:pt x="198" y="134"/>
                  </a:cubicBezTo>
                  <a:cubicBezTo>
                    <a:pt x="217" y="95"/>
                    <a:pt x="196" y="119"/>
                    <a:pt x="225" y="81"/>
                  </a:cubicBezTo>
                  <a:cubicBezTo>
                    <a:pt x="229" y="89"/>
                    <a:pt x="268" y="83"/>
                    <a:pt x="276" y="87"/>
                  </a:cubicBezTo>
                  <a:cubicBezTo>
                    <a:pt x="288" y="87"/>
                    <a:pt x="327" y="101"/>
                    <a:pt x="328" y="78"/>
                  </a:cubicBez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  <p:grpSp>
          <p:nvGrpSpPr>
            <p:cNvPr id="291" name="Group 102"/>
            <p:cNvGrpSpPr>
              <a:grpSpLocks/>
            </p:cNvGrpSpPr>
            <p:nvPr/>
          </p:nvGrpSpPr>
          <p:grpSpPr bwMode="auto">
            <a:xfrm>
              <a:off x="1828" y="2873"/>
              <a:ext cx="695" cy="729"/>
              <a:chOff x="-144" y="5643"/>
              <a:chExt cx="2751" cy="2887"/>
            </a:xfrm>
            <a:grpFill/>
          </p:grpSpPr>
          <p:sp>
            <p:nvSpPr>
              <p:cNvPr id="313" name="Freeform 103"/>
              <p:cNvSpPr>
                <a:spLocks noChangeAspect="1"/>
              </p:cNvSpPr>
              <p:nvPr/>
            </p:nvSpPr>
            <p:spPr bwMode="auto">
              <a:xfrm>
                <a:off x="372" y="6943"/>
                <a:ext cx="68" cy="203"/>
              </a:xfrm>
              <a:custGeom>
                <a:avLst/>
                <a:gdLst>
                  <a:gd name="T0" fmla="*/ 2147483647 w 17"/>
                  <a:gd name="T1" fmla="*/ 2147483647 h 51"/>
                  <a:gd name="T2" fmla="*/ 2147483647 w 17"/>
                  <a:gd name="T3" fmla="*/ 2147483647 h 51"/>
                  <a:gd name="T4" fmla="*/ 2147483647 w 17"/>
                  <a:gd name="T5" fmla="*/ 2147483647 h 51"/>
                  <a:gd name="T6" fmla="*/ 2147483647 w 17"/>
                  <a:gd name="T7" fmla="*/ 2147483647 h 51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7"/>
                  <a:gd name="T13" fmla="*/ 0 h 51"/>
                  <a:gd name="T14" fmla="*/ 17 w 17"/>
                  <a:gd name="T15" fmla="*/ 51 h 51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7" h="51">
                    <a:moveTo>
                      <a:pt x="5" y="11"/>
                    </a:moveTo>
                    <a:cubicBezTo>
                      <a:pt x="8" y="14"/>
                      <a:pt x="9" y="17"/>
                      <a:pt x="11" y="20"/>
                    </a:cubicBezTo>
                    <a:cubicBezTo>
                      <a:pt x="12" y="26"/>
                      <a:pt x="17" y="51"/>
                      <a:pt x="9" y="40"/>
                    </a:cubicBezTo>
                    <a:cubicBezTo>
                      <a:pt x="8" y="35"/>
                      <a:pt x="0" y="0"/>
                      <a:pt x="5" y="11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14" name="Freeform 104"/>
              <p:cNvSpPr>
                <a:spLocks noChangeAspect="1"/>
              </p:cNvSpPr>
              <p:nvPr/>
            </p:nvSpPr>
            <p:spPr bwMode="auto">
              <a:xfrm>
                <a:off x="364" y="6911"/>
                <a:ext cx="76" cy="52"/>
              </a:xfrm>
              <a:custGeom>
                <a:avLst/>
                <a:gdLst>
                  <a:gd name="T0" fmla="*/ 0 w 19"/>
                  <a:gd name="T1" fmla="*/ 0 h 13"/>
                  <a:gd name="T2" fmla="*/ 2147483647 w 19"/>
                  <a:gd name="T3" fmla="*/ 2147483647 h 13"/>
                  <a:gd name="T4" fmla="*/ 0 w 19"/>
                  <a:gd name="T5" fmla="*/ 0 h 13"/>
                  <a:gd name="T6" fmla="*/ 0 60000 65536"/>
                  <a:gd name="T7" fmla="*/ 0 60000 65536"/>
                  <a:gd name="T8" fmla="*/ 0 60000 65536"/>
                  <a:gd name="T9" fmla="*/ 0 w 19"/>
                  <a:gd name="T10" fmla="*/ 0 h 13"/>
                  <a:gd name="T11" fmla="*/ 19 w 19"/>
                  <a:gd name="T12" fmla="*/ 13 h 13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9" h="13">
                    <a:moveTo>
                      <a:pt x="0" y="0"/>
                    </a:moveTo>
                    <a:cubicBezTo>
                      <a:pt x="7" y="3"/>
                      <a:pt x="10" y="11"/>
                      <a:pt x="16" y="13"/>
                    </a:cubicBezTo>
                    <a:cubicBezTo>
                      <a:pt x="19" y="2"/>
                      <a:pt x="9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15" name="Freeform 105"/>
              <p:cNvSpPr>
                <a:spLocks noChangeAspect="1"/>
              </p:cNvSpPr>
              <p:nvPr/>
            </p:nvSpPr>
            <p:spPr bwMode="auto">
              <a:xfrm>
                <a:off x="2347" y="8050"/>
                <a:ext cx="260" cy="480"/>
              </a:xfrm>
              <a:custGeom>
                <a:avLst/>
                <a:gdLst>
                  <a:gd name="T0" fmla="*/ 2147483647 w 65"/>
                  <a:gd name="T1" fmla="*/ 2147483647 h 120"/>
                  <a:gd name="T2" fmla="*/ 2147483647 w 65"/>
                  <a:gd name="T3" fmla="*/ 0 h 120"/>
                  <a:gd name="T4" fmla="*/ 2147483647 w 65"/>
                  <a:gd name="T5" fmla="*/ 2147483647 h 120"/>
                  <a:gd name="T6" fmla="*/ 2147483647 w 65"/>
                  <a:gd name="T7" fmla="*/ 2147483647 h 120"/>
                  <a:gd name="T8" fmla="*/ 2147483647 w 65"/>
                  <a:gd name="T9" fmla="*/ 2147483647 h 120"/>
                  <a:gd name="T10" fmla="*/ 2147483647 w 65"/>
                  <a:gd name="T11" fmla="*/ 2147483647 h 120"/>
                  <a:gd name="T12" fmla="*/ 2147483647 w 65"/>
                  <a:gd name="T13" fmla="*/ 2147483647 h 120"/>
                  <a:gd name="T14" fmla="*/ 2147483647 w 65"/>
                  <a:gd name="T15" fmla="*/ 2147483647 h 120"/>
                  <a:gd name="T16" fmla="*/ 2147483647 w 65"/>
                  <a:gd name="T17" fmla="*/ 2147483647 h 120"/>
                  <a:gd name="T18" fmla="*/ 2147483647 w 65"/>
                  <a:gd name="T19" fmla="*/ 2147483647 h 120"/>
                  <a:gd name="T20" fmla="*/ 2147483647 w 65"/>
                  <a:gd name="T21" fmla="*/ 2147483647 h 120"/>
                  <a:gd name="T22" fmla="*/ 2147483647 w 65"/>
                  <a:gd name="T23" fmla="*/ 2147483647 h 120"/>
                  <a:gd name="T24" fmla="*/ 2147483647 w 65"/>
                  <a:gd name="T25" fmla="*/ 2147483647 h 120"/>
                  <a:gd name="T26" fmla="*/ 2147483647 w 65"/>
                  <a:gd name="T27" fmla="*/ 2147483647 h 120"/>
                  <a:gd name="T28" fmla="*/ 2147483647 w 65"/>
                  <a:gd name="T29" fmla="*/ 2147483647 h 120"/>
                  <a:gd name="T30" fmla="*/ 2147483647 w 65"/>
                  <a:gd name="T31" fmla="*/ 2147483647 h 120"/>
                  <a:gd name="T32" fmla="*/ 2147483647 w 65"/>
                  <a:gd name="T33" fmla="*/ 2147483647 h 120"/>
                  <a:gd name="T34" fmla="*/ 2147483647 w 65"/>
                  <a:gd name="T35" fmla="*/ 2147483647 h 120"/>
                  <a:gd name="T36" fmla="*/ 2147483647 w 65"/>
                  <a:gd name="T37" fmla="*/ 2147483647 h 120"/>
                  <a:gd name="T38" fmla="*/ 2147483647 w 65"/>
                  <a:gd name="T39" fmla="*/ 2147483647 h 120"/>
                  <a:gd name="T40" fmla="*/ 2147483647 w 65"/>
                  <a:gd name="T41" fmla="*/ 2147483647 h 120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65"/>
                  <a:gd name="T64" fmla="*/ 0 h 120"/>
                  <a:gd name="T65" fmla="*/ 65 w 65"/>
                  <a:gd name="T66" fmla="*/ 120 h 120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65" h="120">
                    <a:moveTo>
                      <a:pt x="49" y="27"/>
                    </a:moveTo>
                    <a:cubicBezTo>
                      <a:pt x="53" y="16"/>
                      <a:pt x="45" y="4"/>
                      <a:pt x="57" y="0"/>
                    </a:cubicBezTo>
                    <a:cubicBezTo>
                      <a:pt x="59" y="6"/>
                      <a:pt x="56" y="19"/>
                      <a:pt x="56" y="25"/>
                    </a:cubicBezTo>
                    <a:cubicBezTo>
                      <a:pt x="57" y="31"/>
                      <a:pt x="56" y="33"/>
                      <a:pt x="61" y="36"/>
                    </a:cubicBezTo>
                    <a:cubicBezTo>
                      <a:pt x="63" y="48"/>
                      <a:pt x="65" y="61"/>
                      <a:pt x="60" y="72"/>
                    </a:cubicBezTo>
                    <a:cubicBezTo>
                      <a:pt x="58" y="76"/>
                      <a:pt x="56" y="81"/>
                      <a:pt x="55" y="85"/>
                    </a:cubicBezTo>
                    <a:cubicBezTo>
                      <a:pt x="55" y="86"/>
                      <a:pt x="54" y="88"/>
                      <a:pt x="54" y="88"/>
                    </a:cubicBezTo>
                    <a:cubicBezTo>
                      <a:pt x="55" y="94"/>
                      <a:pt x="56" y="98"/>
                      <a:pt x="51" y="103"/>
                    </a:cubicBezTo>
                    <a:cubicBezTo>
                      <a:pt x="49" y="109"/>
                      <a:pt x="47" y="115"/>
                      <a:pt x="44" y="120"/>
                    </a:cubicBezTo>
                    <a:cubicBezTo>
                      <a:pt x="36" y="119"/>
                      <a:pt x="32" y="111"/>
                      <a:pt x="24" y="106"/>
                    </a:cubicBezTo>
                    <a:cubicBezTo>
                      <a:pt x="23" y="105"/>
                      <a:pt x="22" y="104"/>
                      <a:pt x="22" y="103"/>
                    </a:cubicBezTo>
                    <a:cubicBezTo>
                      <a:pt x="22" y="102"/>
                      <a:pt x="23" y="100"/>
                      <a:pt x="24" y="99"/>
                    </a:cubicBezTo>
                    <a:cubicBezTo>
                      <a:pt x="27" y="91"/>
                      <a:pt x="27" y="93"/>
                      <a:pt x="19" y="94"/>
                    </a:cubicBezTo>
                    <a:cubicBezTo>
                      <a:pt x="9" y="92"/>
                      <a:pt x="17" y="84"/>
                      <a:pt x="19" y="78"/>
                    </a:cubicBezTo>
                    <a:cubicBezTo>
                      <a:pt x="17" y="77"/>
                      <a:pt x="14" y="81"/>
                      <a:pt x="13" y="79"/>
                    </a:cubicBezTo>
                    <a:cubicBezTo>
                      <a:pt x="11" y="75"/>
                      <a:pt x="18" y="67"/>
                      <a:pt x="18" y="67"/>
                    </a:cubicBezTo>
                    <a:cubicBezTo>
                      <a:pt x="6" y="63"/>
                      <a:pt x="0" y="66"/>
                      <a:pt x="10" y="52"/>
                    </a:cubicBezTo>
                    <a:cubicBezTo>
                      <a:pt x="8" y="42"/>
                      <a:pt x="9" y="40"/>
                      <a:pt x="18" y="34"/>
                    </a:cubicBezTo>
                    <a:cubicBezTo>
                      <a:pt x="20" y="31"/>
                      <a:pt x="33" y="24"/>
                      <a:pt x="37" y="23"/>
                    </a:cubicBezTo>
                    <a:cubicBezTo>
                      <a:pt x="41" y="23"/>
                      <a:pt x="45" y="23"/>
                      <a:pt x="49" y="24"/>
                    </a:cubicBezTo>
                    <a:cubicBezTo>
                      <a:pt x="50" y="24"/>
                      <a:pt x="50" y="27"/>
                      <a:pt x="49" y="27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16" name="Freeform 106"/>
              <p:cNvSpPr>
                <a:spLocks noChangeAspect="1"/>
              </p:cNvSpPr>
              <p:nvPr/>
            </p:nvSpPr>
            <p:spPr bwMode="auto">
              <a:xfrm>
                <a:off x="-144" y="5643"/>
                <a:ext cx="2501" cy="2523"/>
              </a:xfrm>
              <a:custGeom>
                <a:avLst/>
                <a:gdLst>
                  <a:gd name="T0" fmla="*/ 1303 w 2501"/>
                  <a:gd name="T1" fmla="*/ 28 h 2523"/>
                  <a:gd name="T2" fmla="*/ 1044 w 2501"/>
                  <a:gd name="T3" fmla="*/ 308 h 2523"/>
                  <a:gd name="T4" fmla="*/ 920 w 2501"/>
                  <a:gd name="T5" fmla="*/ 436 h 2523"/>
                  <a:gd name="T6" fmla="*/ 728 w 2501"/>
                  <a:gd name="T7" fmla="*/ 380 h 2523"/>
                  <a:gd name="T8" fmla="*/ 588 w 2501"/>
                  <a:gd name="T9" fmla="*/ 344 h 2523"/>
                  <a:gd name="T10" fmla="*/ 560 w 2501"/>
                  <a:gd name="T11" fmla="*/ 584 h 2523"/>
                  <a:gd name="T12" fmla="*/ 164 w 2501"/>
                  <a:gd name="T13" fmla="*/ 508 h 2523"/>
                  <a:gd name="T14" fmla="*/ 60 w 2501"/>
                  <a:gd name="T15" fmla="*/ 584 h 2523"/>
                  <a:gd name="T16" fmla="*/ 12 w 2501"/>
                  <a:gd name="T17" fmla="*/ 680 h 2523"/>
                  <a:gd name="T18" fmla="*/ 100 w 2501"/>
                  <a:gd name="T19" fmla="*/ 720 h 2523"/>
                  <a:gd name="T20" fmla="*/ 284 w 2501"/>
                  <a:gd name="T21" fmla="*/ 872 h 2523"/>
                  <a:gd name="T22" fmla="*/ 404 w 2501"/>
                  <a:gd name="T23" fmla="*/ 948 h 2523"/>
                  <a:gd name="T24" fmla="*/ 412 w 2501"/>
                  <a:gd name="T25" fmla="*/ 1032 h 2523"/>
                  <a:gd name="T26" fmla="*/ 500 w 2501"/>
                  <a:gd name="T27" fmla="*/ 1204 h 2523"/>
                  <a:gd name="T28" fmla="*/ 608 w 2501"/>
                  <a:gd name="T29" fmla="*/ 1315 h 2523"/>
                  <a:gd name="T30" fmla="*/ 644 w 2501"/>
                  <a:gd name="T31" fmla="*/ 1559 h 2523"/>
                  <a:gd name="T32" fmla="*/ 620 w 2501"/>
                  <a:gd name="T33" fmla="*/ 1607 h 2523"/>
                  <a:gd name="T34" fmla="*/ 504 w 2501"/>
                  <a:gd name="T35" fmla="*/ 1651 h 2523"/>
                  <a:gd name="T36" fmla="*/ 444 w 2501"/>
                  <a:gd name="T37" fmla="*/ 1919 h 2523"/>
                  <a:gd name="T38" fmla="*/ 381 w 2501"/>
                  <a:gd name="T39" fmla="*/ 2100 h 2523"/>
                  <a:gd name="T40" fmla="*/ 528 w 2501"/>
                  <a:gd name="T41" fmla="*/ 2251 h 2523"/>
                  <a:gd name="T42" fmla="*/ 788 w 2501"/>
                  <a:gd name="T43" fmla="*/ 2383 h 2523"/>
                  <a:gd name="T44" fmla="*/ 988 w 2501"/>
                  <a:gd name="T45" fmla="*/ 2407 h 2523"/>
                  <a:gd name="T46" fmla="*/ 1196 w 2501"/>
                  <a:gd name="T47" fmla="*/ 2502 h 2523"/>
                  <a:gd name="T48" fmla="*/ 1347 w 2501"/>
                  <a:gd name="T49" fmla="*/ 2335 h 2523"/>
                  <a:gd name="T50" fmla="*/ 1779 w 2501"/>
                  <a:gd name="T51" fmla="*/ 2283 h 2523"/>
                  <a:gd name="T52" fmla="*/ 2155 w 2501"/>
                  <a:gd name="T53" fmla="*/ 2299 h 2523"/>
                  <a:gd name="T54" fmla="*/ 2311 w 2501"/>
                  <a:gd name="T55" fmla="*/ 2183 h 2523"/>
                  <a:gd name="T56" fmla="*/ 2243 w 2501"/>
                  <a:gd name="T57" fmla="*/ 2071 h 2523"/>
                  <a:gd name="T58" fmla="*/ 2167 w 2501"/>
                  <a:gd name="T59" fmla="*/ 1855 h 2523"/>
                  <a:gd name="T60" fmla="*/ 2243 w 2501"/>
                  <a:gd name="T61" fmla="*/ 1733 h 2523"/>
                  <a:gd name="T62" fmla="*/ 2211 w 2501"/>
                  <a:gd name="T63" fmla="*/ 1581 h 2523"/>
                  <a:gd name="T64" fmla="*/ 2215 w 2501"/>
                  <a:gd name="T65" fmla="*/ 1543 h 2523"/>
                  <a:gd name="T66" fmla="*/ 2075 w 2501"/>
                  <a:gd name="T67" fmla="*/ 1439 h 2523"/>
                  <a:gd name="T68" fmla="*/ 2071 w 2501"/>
                  <a:gd name="T69" fmla="*/ 1339 h 2523"/>
                  <a:gd name="T70" fmla="*/ 2219 w 2501"/>
                  <a:gd name="T71" fmla="*/ 1156 h 2523"/>
                  <a:gd name="T72" fmla="*/ 2363 w 2501"/>
                  <a:gd name="T73" fmla="*/ 1082 h 2523"/>
                  <a:gd name="T74" fmla="*/ 2418 w 2501"/>
                  <a:gd name="T75" fmla="*/ 758 h 2523"/>
                  <a:gd name="T76" fmla="*/ 2307 w 2501"/>
                  <a:gd name="T77" fmla="*/ 608 h 2523"/>
                  <a:gd name="T78" fmla="*/ 2123 w 2501"/>
                  <a:gd name="T79" fmla="*/ 512 h 2523"/>
                  <a:gd name="T80" fmla="*/ 1947 w 2501"/>
                  <a:gd name="T81" fmla="*/ 452 h 2523"/>
                  <a:gd name="T82" fmla="*/ 1862 w 2501"/>
                  <a:gd name="T83" fmla="*/ 299 h 2523"/>
                  <a:gd name="T84" fmla="*/ 1665 w 2501"/>
                  <a:gd name="T85" fmla="*/ 234 h 2523"/>
                  <a:gd name="T86" fmla="*/ 1519 w 2501"/>
                  <a:gd name="T87" fmla="*/ 100 h 2523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2501"/>
                  <a:gd name="T133" fmla="*/ 0 h 2523"/>
                  <a:gd name="T134" fmla="*/ 2501 w 2501"/>
                  <a:gd name="T135" fmla="*/ 2523 h 2523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2501" h="2523">
                    <a:moveTo>
                      <a:pt x="1484" y="0"/>
                    </a:moveTo>
                    <a:cubicBezTo>
                      <a:pt x="1448" y="4"/>
                      <a:pt x="1407" y="8"/>
                      <a:pt x="1371" y="12"/>
                    </a:cubicBezTo>
                    <a:cubicBezTo>
                      <a:pt x="1347" y="16"/>
                      <a:pt x="1303" y="28"/>
                      <a:pt x="1303" y="28"/>
                    </a:cubicBezTo>
                    <a:cubicBezTo>
                      <a:pt x="1299" y="68"/>
                      <a:pt x="1307" y="108"/>
                      <a:pt x="1283" y="140"/>
                    </a:cubicBezTo>
                    <a:cubicBezTo>
                      <a:pt x="1275" y="168"/>
                      <a:pt x="1275" y="200"/>
                      <a:pt x="1259" y="224"/>
                    </a:cubicBezTo>
                    <a:cubicBezTo>
                      <a:pt x="1244" y="296"/>
                      <a:pt x="1100" y="300"/>
                      <a:pt x="1044" y="308"/>
                    </a:cubicBezTo>
                    <a:cubicBezTo>
                      <a:pt x="1016" y="320"/>
                      <a:pt x="980" y="340"/>
                      <a:pt x="968" y="372"/>
                    </a:cubicBezTo>
                    <a:cubicBezTo>
                      <a:pt x="972" y="392"/>
                      <a:pt x="976" y="400"/>
                      <a:pt x="992" y="416"/>
                    </a:cubicBezTo>
                    <a:cubicBezTo>
                      <a:pt x="988" y="436"/>
                      <a:pt x="944" y="432"/>
                      <a:pt x="920" y="436"/>
                    </a:cubicBezTo>
                    <a:cubicBezTo>
                      <a:pt x="792" y="428"/>
                      <a:pt x="880" y="448"/>
                      <a:pt x="816" y="428"/>
                    </a:cubicBezTo>
                    <a:cubicBezTo>
                      <a:pt x="796" y="424"/>
                      <a:pt x="756" y="412"/>
                      <a:pt x="756" y="412"/>
                    </a:cubicBezTo>
                    <a:cubicBezTo>
                      <a:pt x="740" y="404"/>
                      <a:pt x="740" y="392"/>
                      <a:pt x="728" y="380"/>
                    </a:cubicBezTo>
                    <a:cubicBezTo>
                      <a:pt x="720" y="348"/>
                      <a:pt x="716" y="292"/>
                      <a:pt x="680" y="284"/>
                    </a:cubicBezTo>
                    <a:cubicBezTo>
                      <a:pt x="664" y="284"/>
                      <a:pt x="644" y="280"/>
                      <a:pt x="628" y="288"/>
                    </a:cubicBezTo>
                    <a:cubicBezTo>
                      <a:pt x="612" y="296"/>
                      <a:pt x="604" y="332"/>
                      <a:pt x="588" y="344"/>
                    </a:cubicBezTo>
                    <a:cubicBezTo>
                      <a:pt x="584" y="360"/>
                      <a:pt x="584" y="368"/>
                      <a:pt x="600" y="372"/>
                    </a:cubicBezTo>
                    <a:cubicBezTo>
                      <a:pt x="608" y="428"/>
                      <a:pt x="624" y="484"/>
                      <a:pt x="632" y="540"/>
                    </a:cubicBezTo>
                    <a:cubicBezTo>
                      <a:pt x="652" y="620"/>
                      <a:pt x="624" y="604"/>
                      <a:pt x="560" y="584"/>
                    </a:cubicBezTo>
                    <a:cubicBezTo>
                      <a:pt x="508" y="588"/>
                      <a:pt x="460" y="588"/>
                      <a:pt x="412" y="576"/>
                    </a:cubicBezTo>
                    <a:cubicBezTo>
                      <a:pt x="404" y="564"/>
                      <a:pt x="352" y="492"/>
                      <a:pt x="344" y="488"/>
                    </a:cubicBezTo>
                    <a:cubicBezTo>
                      <a:pt x="300" y="444"/>
                      <a:pt x="220" y="504"/>
                      <a:pt x="164" y="508"/>
                    </a:cubicBezTo>
                    <a:cubicBezTo>
                      <a:pt x="112" y="512"/>
                      <a:pt x="60" y="512"/>
                      <a:pt x="8" y="512"/>
                    </a:cubicBezTo>
                    <a:cubicBezTo>
                      <a:pt x="12" y="528"/>
                      <a:pt x="20" y="568"/>
                      <a:pt x="36" y="576"/>
                    </a:cubicBezTo>
                    <a:cubicBezTo>
                      <a:pt x="44" y="580"/>
                      <a:pt x="60" y="584"/>
                      <a:pt x="60" y="584"/>
                    </a:cubicBezTo>
                    <a:cubicBezTo>
                      <a:pt x="68" y="592"/>
                      <a:pt x="68" y="612"/>
                      <a:pt x="56" y="620"/>
                    </a:cubicBezTo>
                    <a:cubicBezTo>
                      <a:pt x="48" y="624"/>
                      <a:pt x="32" y="628"/>
                      <a:pt x="32" y="628"/>
                    </a:cubicBezTo>
                    <a:cubicBezTo>
                      <a:pt x="20" y="656"/>
                      <a:pt x="24" y="640"/>
                      <a:pt x="12" y="680"/>
                    </a:cubicBezTo>
                    <a:cubicBezTo>
                      <a:pt x="8" y="688"/>
                      <a:pt x="4" y="704"/>
                      <a:pt x="4" y="704"/>
                    </a:cubicBezTo>
                    <a:cubicBezTo>
                      <a:pt x="8" y="716"/>
                      <a:pt x="0" y="732"/>
                      <a:pt x="20" y="732"/>
                    </a:cubicBezTo>
                    <a:cubicBezTo>
                      <a:pt x="36" y="732"/>
                      <a:pt x="100" y="720"/>
                      <a:pt x="100" y="720"/>
                    </a:cubicBezTo>
                    <a:cubicBezTo>
                      <a:pt x="136" y="728"/>
                      <a:pt x="124" y="760"/>
                      <a:pt x="164" y="768"/>
                    </a:cubicBezTo>
                    <a:cubicBezTo>
                      <a:pt x="188" y="784"/>
                      <a:pt x="192" y="792"/>
                      <a:pt x="224" y="800"/>
                    </a:cubicBezTo>
                    <a:cubicBezTo>
                      <a:pt x="292" y="788"/>
                      <a:pt x="252" y="844"/>
                      <a:pt x="284" y="872"/>
                    </a:cubicBezTo>
                    <a:cubicBezTo>
                      <a:pt x="304" y="888"/>
                      <a:pt x="320" y="908"/>
                      <a:pt x="344" y="912"/>
                    </a:cubicBezTo>
                    <a:cubicBezTo>
                      <a:pt x="356" y="920"/>
                      <a:pt x="368" y="912"/>
                      <a:pt x="380" y="920"/>
                    </a:cubicBezTo>
                    <a:cubicBezTo>
                      <a:pt x="384" y="936"/>
                      <a:pt x="388" y="944"/>
                      <a:pt x="404" y="948"/>
                    </a:cubicBezTo>
                    <a:cubicBezTo>
                      <a:pt x="412" y="976"/>
                      <a:pt x="452" y="980"/>
                      <a:pt x="476" y="984"/>
                    </a:cubicBezTo>
                    <a:cubicBezTo>
                      <a:pt x="508" y="1000"/>
                      <a:pt x="508" y="996"/>
                      <a:pt x="548" y="992"/>
                    </a:cubicBezTo>
                    <a:cubicBezTo>
                      <a:pt x="536" y="996"/>
                      <a:pt x="432" y="1012"/>
                      <a:pt x="412" y="1032"/>
                    </a:cubicBezTo>
                    <a:cubicBezTo>
                      <a:pt x="420" y="1064"/>
                      <a:pt x="412" y="1076"/>
                      <a:pt x="428" y="1104"/>
                    </a:cubicBezTo>
                    <a:cubicBezTo>
                      <a:pt x="432" y="1128"/>
                      <a:pt x="432" y="1144"/>
                      <a:pt x="452" y="1156"/>
                    </a:cubicBezTo>
                    <a:cubicBezTo>
                      <a:pt x="460" y="1172"/>
                      <a:pt x="484" y="1200"/>
                      <a:pt x="500" y="1204"/>
                    </a:cubicBezTo>
                    <a:cubicBezTo>
                      <a:pt x="516" y="1236"/>
                      <a:pt x="536" y="1240"/>
                      <a:pt x="560" y="1260"/>
                    </a:cubicBezTo>
                    <a:cubicBezTo>
                      <a:pt x="568" y="1267"/>
                      <a:pt x="584" y="1283"/>
                      <a:pt x="584" y="1283"/>
                    </a:cubicBezTo>
                    <a:cubicBezTo>
                      <a:pt x="588" y="1299"/>
                      <a:pt x="600" y="1295"/>
                      <a:pt x="608" y="1315"/>
                    </a:cubicBezTo>
                    <a:cubicBezTo>
                      <a:pt x="612" y="1371"/>
                      <a:pt x="600" y="1399"/>
                      <a:pt x="584" y="1447"/>
                    </a:cubicBezTo>
                    <a:cubicBezTo>
                      <a:pt x="588" y="1475"/>
                      <a:pt x="588" y="1511"/>
                      <a:pt x="620" y="1523"/>
                    </a:cubicBezTo>
                    <a:cubicBezTo>
                      <a:pt x="624" y="1539"/>
                      <a:pt x="632" y="1547"/>
                      <a:pt x="644" y="1559"/>
                    </a:cubicBezTo>
                    <a:cubicBezTo>
                      <a:pt x="652" y="1587"/>
                      <a:pt x="656" y="1611"/>
                      <a:pt x="660" y="1643"/>
                    </a:cubicBezTo>
                    <a:cubicBezTo>
                      <a:pt x="660" y="1655"/>
                      <a:pt x="668" y="1691"/>
                      <a:pt x="668" y="1679"/>
                    </a:cubicBezTo>
                    <a:cubicBezTo>
                      <a:pt x="668" y="1627"/>
                      <a:pt x="652" y="1627"/>
                      <a:pt x="620" y="1607"/>
                    </a:cubicBezTo>
                    <a:cubicBezTo>
                      <a:pt x="604" y="1583"/>
                      <a:pt x="604" y="1559"/>
                      <a:pt x="588" y="1535"/>
                    </a:cubicBezTo>
                    <a:cubicBezTo>
                      <a:pt x="556" y="1547"/>
                      <a:pt x="560" y="1575"/>
                      <a:pt x="536" y="1591"/>
                    </a:cubicBezTo>
                    <a:cubicBezTo>
                      <a:pt x="528" y="1611"/>
                      <a:pt x="512" y="1627"/>
                      <a:pt x="504" y="1651"/>
                    </a:cubicBezTo>
                    <a:cubicBezTo>
                      <a:pt x="500" y="1659"/>
                      <a:pt x="496" y="1711"/>
                      <a:pt x="504" y="1703"/>
                    </a:cubicBezTo>
                    <a:cubicBezTo>
                      <a:pt x="500" y="1727"/>
                      <a:pt x="492" y="1767"/>
                      <a:pt x="484" y="1807"/>
                    </a:cubicBezTo>
                    <a:cubicBezTo>
                      <a:pt x="464" y="1839"/>
                      <a:pt x="460" y="1883"/>
                      <a:pt x="444" y="1919"/>
                    </a:cubicBezTo>
                    <a:cubicBezTo>
                      <a:pt x="440" y="1947"/>
                      <a:pt x="440" y="2047"/>
                      <a:pt x="412" y="2059"/>
                    </a:cubicBezTo>
                    <a:cubicBezTo>
                      <a:pt x="396" y="2067"/>
                      <a:pt x="396" y="2076"/>
                      <a:pt x="384" y="2088"/>
                    </a:cubicBezTo>
                    <a:cubicBezTo>
                      <a:pt x="380" y="2097"/>
                      <a:pt x="383" y="2088"/>
                      <a:pt x="381" y="2100"/>
                    </a:cubicBezTo>
                    <a:cubicBezTo>
                      <a:pt x="389" y="2112"/>
                      <a:pt x="386" y="2127"/>
                      <a:pt x="389" y="2168"/>
                    </a:cubicBezTo>
                    <a:cubicBezTo>
                      <a:pt x="401" y="2192"/>
                      <a:pt x="438" y="2226"/>
                      <a:pt x="456" y="2252"/>
                    </a:cubicBezTo>
                    <a:cubicBezTo>
                      <a:pt x="510" y="2255"/>
                      <a:pt x="488" y="2247"/>
                      <a:pt x="528" y="2251"/>
                    </a:cubicBezTo>
                    <a:cubicBezTo>
                      <a:pt x="564" y="2291"/>
                      <a:pt x="611" y="2325"/>
                      <a:pt x="659" y="2349"/>
                    </a:cubicBezTo>
                    <a:cubicBezTo>
                      <a:pt x="693" y="2363"/>
                      <a:pt x="696" y="2355"/>
                      <a:pt x="720" y="2363"/>
                    </a:cubicBezTo>
                    <a:cubicBezTo>
                      <a:pt x="736" y="2367"/>
                      <a:pt x="768" y="2383"/>
                      <a:pt x="788" y="2383"/>
                    </a:cubicBezTo>
                    <a:cubicBezTo>
                      <a:pt x="808" y="2383"/>
                      <a:pt x="822" y="2382"/>
                      <a:pt x="836" y="2375"/>
                    </a:cubicBezTo>
                    <a:cubicBezTo>
                      <a:pt x="854" y="2354"/>
                      <a:pt x="851" y="2369"/>
                      <a:pt x="869" y="2343"/>
                    </a:cubicBezTo>
                    <a:cubicBezTo>
                      <a:pt x="901" y="2351"/>
                      <a:pt x="956" y="2391"/>
                      <a:pt x="988" y="2407"/>
                    </a:cubicBezTo>
                    <a:cubicBezTo>
                      <a:pt x="1004" y="2415"/>
                      <a:pt x="1067" y="2437"/>
                      <a:pt x="1083" y="2441"/>
                    </a:cubicBezTo>
                    <a:cubicBezTo>
                      <a:pt x="1095" y="2481"/>
                      <a:pt x="1097" y="2481"/>
                      <a:pt x="1101" y="2499"/>
                    </a:cubicBezTo>
                    <a:cubicBezTo>
                      <a:pt x="1133" y="2501"/>
                      <a:pt x="1172" y="2504"/>
                      <a:pt x="1196" y="2502"/>
                    </a:cubicBezTo>
                    <a:cubicBezTo>
                      <a:pt x="1224" y="2502"/>
                      <a:pt x="1247" y="2496"/>
                      <a:pt x="1274" y="2496"/>
                    </a:cubicBezTo>
                    <a:cubicBezTo>
                      <a:pt x="1294" y="2496"/>
                      <a:pt x="1346" y="2493"/>
                      <a:pt x="1346" y="2493"/>
                    </a:cubicBezTo>
                    <a:cubicBezTo>
                      <a:pt x="1362" y="2425"/>
                      <a:pt x="1335" y="2523"/>
                      <a:pt x="1347" y="2335"/>
                    </a:cubicBezTo>
                    <a:cubicBezTo>
                      <a:pt x="1351" y="2271"/>
                      <a:pt x="1459" y="2259"/>
                      <a:pt x="1507" y="2251"/>
                    </a:cubicBezTo>
                    <a:cubicBezTo>
                      <a:pt x="1575" y="2255"/>
                      <a:pt x="1611" y="2223"/>
                      <a:pt x="1679" y="2239"/>
                    </a:cubicBezTo>
                    <a:cubicBezTo>
                      <a:pt x="1699" y="2251"/>
                      <a:pt x="1755" y="2279"/>
                      <a:pt x="1779" y="2283"/>
                    </a:cubicBezTo>
                    <a:cubicBezTo>
                      <a:pt x="1851" y="2311"/>
                      <a:pt x="1919" y="2339"/>
                      <a:pt x="1999" y="2351"/>
                    </a:cubicBezTo>
                    <a:cubicBezTo>
                      <a:pt x="2039" y="2351"/>
                      <a:pt x="2079" y="2355"/>
                      <a:pt x="2115" y="2347"/>
                    </a:cubicBezTo>
                    <a:cubicBezTo>
                      <a:pt x="2119" y="2347"/>
                      <a:pt x="2139" y="2303"/>
                      <a:pt x="2155" y="2299"/>
                    </a:cubicBezTo>
                    <a:cubicBezTo>
                      <a:pt x="2171" y="2283"/>
                      <a:pt x="2171" y="2271"/>
                      <a:pt x="2191" y="2259"/>
                    </a:cubicBezTo>
                    <a:cubicBezTo>
                      <a:pt x="2207" y="2247"/>
                      <a:pt x="2219" y="2215"/>
                      <a:pt x="2239" y="2203"/>
                    </a:cubicBezTo>
                    <a:cubicBezTo>
                      <a:pt x="2259" y="2191"/>
                      <a:pt x="2295" y="2195"/>
                      <a:pt x="2311" y="2183"/>
                    </a:cubicBezTo>
                    <a:cubicBezTo>
                      <a:pt x="2318" y="2150"/>
                      <a:pt x="2333" y="2154"/>
                      <a:pt x="2347" y="2135"/>
                    </a:cubicBezTo>
                    <a:cubicBezTo>
                      <a:pt x="2357" y="2088"/>
                      <a:pt x="2354" y="2100"/>
                      <a:pt x="2345" y="2078"/>
                    </a:cubicBezTo>
                    <a:cubicBezTo>
                      <a:pt x="2304" y="2069"/>
                      <a:pt x="2295" y="2072"/>
                      <a:pt x="2243" y="2071"/>
                    </a:cubicBezTo>
                    <a:cubicBezTo>
                      <a:pt x="2231" y="2067"/>
                      <a:pt x="2198" y="2064"/>
                      <a:pt x="2183" y="1979"/>
                    </a:cubicBezTo>
                    <a:cubicBezTo>
                      <a:pt x="2187" y="1956"/>
                      <a:pt x="2201" y="1937"/>
                      <a:pt x="2220" y="1892"/>
                    </a:cubicBezTo>
                    <a:cubicBezTo>
                      <a:pt x="2219" y="1854"/>
                      <a:pt x="2223" y="1859"/>
                      <a:pt x="2167" y="1855"/>
                    </a:cubicBezTo>
                    <a:cubicBezTo>
                      <a:pt x="2127" y="1859"/>
                      <a:pt x="2142" y="1817"/>
                      <a:pt x="2121" y="1823"/>
                    </a:cubicBezTo>
                    <a:cubicBezTo>
                      <a:pt x="2117" y="1815"/>
                      <a:pt x="2116" y="1798"/>
                      <a:pt x="2124" y="1790"/>
                    </a:cubicBezTo>
                    <a:cubicBezTo>
                      <a:pt x="2186" y="1788"/>
                      <a:pt x="2222" y="1743"/>
                      <a:pt x="2243" y="1733"/>
                    </a:cubicBezTo>
                    <a:cubicBezTo>
                      <a:pt x="2229" y="1704"/>
                      <a:pt x="2225" y="1695"/>
                      <a:pt x="2213" y="1659"/>
                    </a:cubicBezTo>
                    <a:cubicBezTo>
                      <a:pt x="2209" y="1647"/>
                      <a:pt x="2203" y="1619"/>
                      <a:pt x="2203" y="1619"/>
                    </a:cubicBezTo>
                    <a:cubicBezTo>
                      <a:pt x="2201" y="1590"/>
                      <a:pt x="2210" y="1589"/>
                      <a:pt x="2211" y="1581"/>
                    </a:cubicBezTo>
                    <a:cubicBezTo>
                      <a:pt x="2212" y="1573"/>
                      <a:pt x="2205" y="1571"/>
                      <a:pt x="2207" y="1568"/>
                    </a:cubicBezTo>
                    <a:cubicBezTo>
                      <a:pt x="2209" y="1565"/>
                      <a:pt x="2225" y="1564"/>
                      <a:pt x="2226" y="1560"/>
                    </a:cubicBezTo>
                    <a:cubicBezTo>
                      <a:pt x="2227" y="1556"/>
                      <a:pt x="2220" y="1555"/>
                      <a:pt x="2215" y="1543"/>
                    </a:cubicBezTo>
                    <a:cubicBezTo>
                      <a:pt x="2211" y="1519"/>
                      <a:pt x="2207" y="1507"/>
                      <a:pt x="2195" y="1487"/>
                    </a:cubicBezTo>
                    <a:cubicBezTo>
                      <a:pt x="2191" y="1455"/>
                      <a:pt x="2195" y="1431"/>
                      <a:pt x="2159" y="1423"/>
                    </a:cubicBezTo>
                    <a:cubicBezTo>
                      <a:pt x="2127" y="1423"/>
                      <a:pt x="2107" y="1435"/>
                      <a:pt x="2075" y="1439"/>
                    </a:cubicBezTo>
                    <a:cubicBezTo>
                      <a:pt x="2055" y="1443"/>
                      <a:pt x="2043" y="1483"/>
                      <a:pt x="2023" y="1495"/>
                    </a:cubicBezTo>
                    <a:cubicBezTo>
                      <a:pt x="2027" y="1467"/>
                      <a:pt x="2043" y="1423"/>
                      <a:pt x="2059" y="1399"/>
                    </a:cubicBezTo>
                    <a:cubicBezTo>
                      <a:pt x="2071" y="1379"/>
                      <a:pt x="2051" y="1367"/>
                      <a:pt x="2071" y="1339"/>
                    </a:cubicBezTo>
                    <a:cubicBezTo>
                      <a:pt x="2083" y="1323"/>
                      <a:pt x="2107" y="1311"/>
                      <a:pt x="2123" y="1295"/>
                    </a:cubicBezTo>
                    <a:cubicBezTo>
                      <a:pt x="2139" y="1279"/>
                      <a:pt x="2155" y="1256"/>
                      <a:pt x="2171" y="1232"/>
                    </a:cubicBezTo>
                    <a:cubicBezTo>
                      <a:pt x="2187" y="1208"/>
                      <a:pt x="2207" y="1180"/>
                      <a:pt x="2219" y="1156"/>
                    </a:cubicBezTo>
                    <a:cubicBezTo>
                      <a:pt x="2231" y="1132"/>
                      <a:pt x="2231" y="1096"/>
                      <a:pt x="2251" y="1084"/>
                    </a:cubicBezTo>
                    <a:cubicBezTo>
                      <a:pt x="2303" y="1088"/>
                      <a:pt x="2311" y="1096"/>
                      <a:pt x="2347" y="1092"/>
                    </a:cubicBezTo>
                    <a:cubicBezTo>
                      <a:pt x="2358" y="1082"/>
                      <a:pt x="2357" y="1088"/>
                      <a:pt x="2363" y="1082"/>
                    </a:cubicBezTo>
                    <a:cubicBezTo>
                      <a:pt x="2358" y="1073"/>
                      <a:pt x="2343" y="1034"/>
                      <a:pt x="2351" y="993"/>
                    </a:cubicBezTo>
                    <a:cubicBezTo>
                      <a:pt x="2355" y="941"/>
                      <a:pt x="2390" y="899"/>
                      <a:pt x="2414" y="833"/>
                    </a:cubicBezTo>
                    <a:cubicBezTo>
                      <a:pt x="2422" y="805"/>
                      <a:pt x="2394" y="771"/>
                      <a:pt x="2418" y="758"/>
                    </a:cubicBezTo>
                    <a:cubicBezTo>
                      <a:pt x="2469" y="747"/>
                      <a:pt x="2472" y="734"/>
                      <a:pt x="2493" y="705"/>
                    </a:cubicBezTo>
                    <a:cubicBezTo>
                      <a:pt x="2501" y="673"/>
                      <a:pt x="2489" y="680"/>
                      <a:pt x="2431" y="656"/>
                    </a:cubicBezTo>
                    <a:cubicBezTo>
                      <a:pt x="2387" y="626"/>
                      <a:pt x="2346" y="599"/>
                      <a:pt x="2307" y="608"/>
                    </a:cubicBezTo>
                    <a:cubicBezTo>
                      <a:pt x="2275" y="600"/>
                      <a:pt x="2275" y="604"/>
                      <a:pt x="2239" y="600"/>
                    </a:cubicBezTo>
                    <a:cubicBezTo>
                      <a:pt x="2219" y="580"/>
                      <a:pt x="2208" y="567"/>
                      <a:pt x="2183" y="552"/>
                    </a:cubicBezTo>
                    <a:cubicBezTo>
                      <a:pt x="2160" y="509"/>
                      <a:pt x="2162" y="504"/>
                      <a:pt x="2123" y="512"/>
                    </a:cubicBezTo>
                    <a:cubicBezTo>
                      <a:pt x="2109" y="521"/>
                      <a:pt x="2082" y="528"/>
                      <a:pt x="2061" y="513"/>
                    </a:cubicBezTo>
                    <a:cubicBezTo>
                      <a:pt x="2037" y="513"/>
                      <a:pt x="2033" y="492"/>
                      <a:pt x="2010" y="510"/>
                    </a:cubicBezTo>
                    <a:cubicBezTo>
                      <a:pt x="1964" y="497"/>
                      <a:pt x="1970" y="459"/>
                      <a:pt x="1947" y="452"/>
                    </a:cubicBezTo>
                    <a:cubicBezTo>
                      <a:pt x="1932" y="425"/>
                      <a:pt x="1903" y="414"/>
                      <a:pt x="1875" y="408"/>
                    </a:cubicBezTo>
                    <a:cubicBezTo>
                      <a:pt x="1877" y="360"/>
                      <a:pt x="1878" y="360"/>
                      <a:pt x="1860" y="345"/>
                    </a:cubicBezTo>
                    <a:cubicBezTo>
                      <a:pt x="1875" y="315"/>
                      <a:pt x="1869" y="296"/>
                      <a:pt x="1862" y="299"/>
                    </a:cubicBezTo>
                    <a:cubicBezTo>
                      <a:pt x="1836" y="302"/>
                      <a:pt x="1839" y="344"/>
                      <a:pt x="1823" y="360"/>
                    </a:cubicBezTo>
                    <a:cubicBezTo>
                      <a:pt x="1748" y="371"/>
                      <a:pt x="1761" y="356"/>
                      <a:pt x="1747" y="308"/>
                    </a:cubicBezTo>
                    <a:cubicBezTo>
                      <a:pt x="1723" y="204"/>
                      <a:pt x="1715" y="252"/>
                      <a:pt x="1665" y="234"/>
                    </a:cubicBezTo>
                    <a:cubicBezTo>
                      <a:pt x="1645" y="202"/>
                      <a:pt x="1665" y="179"/>
                      <a:pt x="1596" y="173"/>
                    </a:cubicBezTo>
                    <a:cubicBezTo>
                      <a:pt x="1589" y="159"/>
                      <a:pt x="1591" y="136"/>
                      <a:pt x="1575" y="116"/>
                    </a:cubicBezTo>
                    <a:cubicBezTo>
                      <a:pt x="1567" y="96"/>
                      <a:pt x="1557" y="95"/>
                      <a:pt x="1519" y="100"/>
                    </a:cubicBezTo>
                    <a:cubicBezTo>
                      <a:pt x="1484" y="96"/>
                      <a:pt x="1484" y="40"/>
                      <a:pt x="1484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</p:grpSp>
        <p:sp>
          <p:nvSpPr>
            <p:cNvPr id="292" name="Freeform 107"/>
            <p:cNvSpPr>
              <a:spLocks noChangeAspect="1"/>
            </p:cNvSpPr>
            <p:nvPr/>
          </p:nvSpPr>
          <p:spPr bwMode="auto">
            <a:xfrm>
              <a:off x="2200" y="2848"/>
              <a:ext cx="174" cy="154"/>
            </a:xfrm>
            <a:custGeom>
              <a:avLst/>
              <a:gdLst>
                <a:gd name="T0" fmla="*/ 0 w 691"/>
                <a:gd name="T1" fmla="*/ 0 h 607"/>
                <a:gd name="T2" fmla="*/ 0 w 691"/>
                <a:gd name="T3" fmla="*/ 0 h 607"/>
                <a:gd name="T4" fmla="*/ 0 w 691"/>
                <a:gd name="T5" fmla="*/ 0 h 607"/>
                <a:gd name="T6" fmla="*/ 0 w 691"/>
                <a:gd name="T7" fmla="*/ 0 h 607"/>
                <a:gd name="T8" fmla="*/ 0 w 691"/>
                <a:gd name="T9" fmla="*/ 0 h 607"/>
                <a:gd name="T10" fmla="*/ 0 w 691"/>
                <a:gd name="T11" fmla="*/ 0 h 607"/>
                <a:gd name="T12" fmla="*/ 0 w 691"/>
                <a:gd name="T13" fmla="*/ 0 h 607"/>
                <a:gd name="T14" fmla="*/ 0 w 691"/>
                <a:gd name="T15" fmla="*/ 0 h 607"/>
                <a:gd name="T16" fmla="*/ 0 w 691"/>
                <a:gd name="T17" fmla="*/ 0 h 607"/>
                <a:gd name="T18" fmla="*/ 0 w 691"/>
                <a:gd name="T19" fmla="*/ 0 h 607"/>
                <a:gd name="T20" fmla="*/ 0 w 691"/>
                <a:gd name="T21" fmla="*/ 0 h 607"/>
                <a:gd name="T22" fmla="*/ 0 w 691"/>
                <a:gd name="T23" fmla="*/ 0 h 607"/>
                <a:gd name="T24" fmla="*/ 0 w 691"/>
                <a:gd name="T25" fmla="*/ 0 h 607"/>
                <a:gd name="T26" fmla="*/ 0 w 691"/>
                <a:gd name="T27" fmla="*/ 0 h 607"/>
                <a:gd name="T28" fmla="*/ 0 w 691"/>
                <a:gd name="T29" fmla="*/ 0 h 607"/>
                <a:gd name="T30" fmla="*/ 0 w 691"/>
                <a:gd name="T31" fmla="*/ 0 h 607"/>
                <a:gd name="T32" fmla="*/ 0 w 691"/>
                <a:gd name="T33" fmla="*/ 0 h 607"/>
                <a:gd name="T34" fmla="*/ 0 w 691"/>
                <a:gd name="T35" fmla="*/ 0 h 607"/>
                <a:gd name="T36" fmla="*/ 0 w 691"/>
                <a:gd name="T37" fmla="*/ 0 h 607"/>
                <a:gd name="T38" fmla="*/ 0 w 691"/>
                <a:gd name="T39" fmla="*/ 0 h 607"/>
                <a:gd name="T40" fmla="*/ 0 w 691"/>
                <a:gd name="T41" fmla="*/ 0 h 607"/>
                <a:gd name="T42" fmla="*/ 0 w 691"/>
                <a:gd name="T43" fmla="*/ 0 h 607"/>
                <a:gd name="T44" fmla="*/ 0 w 691"/>
                <a:gd name="T45" fmla="*/ 0 h 607"/>
                <a:gd name="T46" fmla="*/ 0 w 691"/>
                <a:gd name="T47" fmla="*/ 0 h 607"/>
                <a:gd name="T48" fmla="*/ 0 w 691"/>
                <a:gd name="T49" fmla="*/ 0 h 607"/>
                <a:gd name="T50" fmla="*/ 0 w 691"/>
                <a:gd name="T51" fmla="*/ 0 h 607"/>
                <a:gd name="T52" fmla="*/ 0 w 691"/>
                <a:gd name="T53" fmla="*/ 0 h 607"/>
                <a:gd name="T54" fmla="*/ 0 w 691"/>
                <a:gd name="T55" fmla="*/ 0 h 607"/>
                <a:gd name="T56" fmla="*/ 0 w 691"/>
                <a:gd name="T57" fmla="*/ 0 h 607"/>
                <a:gd name="T58" fmla="*/ 0 w 691"/>
                <a:gd name="T59" fmla="*/ 0 h 607"/>
                <a:gd name="T60" fmla="*/ 0 w 691"/>
                <a:gd name="T61" fmla="*/ 0 h 607"/>
                <a:gd name="T62" fmla="*/ 0 w 691"/>
                <a:gd name="T63" fmla="*/ 0 h 607"/>
                <a:gd name="T64" fmla="*/ 0 w 691"/>
                <a:gd name="T65" fmla="*/ 0 h 607"/>
                <a:gd name="T66" fmla="*/ 0 w 691"/>
                <a:gd name="T67" fmla="*/ 0 h 607"/>
                <a:gd name="T68" fmla="*/ 0 w 691"/>
                <a:gd name="T69" fmla="*/ 0 h 607"/>
                <a:gd name="T70" fmla="*/ 0 w 691"/>
                <a:gd name="T71" fmla="*/ 0 h 607"/>
                <a:gd name="T72" fmla="*/ 0 w 691"/>
                <a:gd name="T73" fmla="*/ 0 h 607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691"/>
                <a:gd name="T112" fmla="*/ 0 h 607"/>
                <a:gd name="T113" fmla="*/ 691 w 691"/>
                <a:gd name="T114" fmla="*/ 607 h 607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691" h="607">
                  <a:moveTo>
                    <a:pt x="181" y="0"/>
                  </a:moveTo>
                  <a:cubicBezTo>
                    <a:pt x="188" y="1"/>
                    <a:pt x="178" y="11"/>
                    <a:pt x="187" y="20"/>
                  </a:cubicBezTo>
                  <a:cubicBezTo>
                    <a:pt x="192" y="25"/>
                    <a:pt x="206" y="28"/>
                    <a:pt x="214" y="33"/>
                  </a:cubicBezTo>
                  <a:cubicBezTo>
                    <a:pt x="222" y="38"/>
                    <a:pt x="213" y="54"/>
                    <a:pt x="237" y="53"/>
                  </a:cubicBezTo>
                  <a:cubicBezTo>
                    <a:pt x="273" y="60"/>
                    <a:pt x="284" y="39"/>
                    <a:pt x="312" y="31"/>
                  </a:cubicBezTo>
                  <a:cubicBezTo>
                    <a:pt x="324" y="27"/>
                    <a:pt x="358" y="11"/>
                    <a:pt x="358" y="11"/>
                  </a:cubicBezTo>
                  <a:cubicBezTo>
                    <a:pt x="374" y="10"/>
                    <a:pt x="356" y="9"/>
                    <a:pt x="375" y="14"/>
                  </a:cubicBezTo>
                  <a:cubicBezTo>
                    <a:pt x="394" y="19"/>
                    <a:pt x="450" y="27"/>
                    <a:pt x="474" y="39"/>
                  </a:cubicBezTo>
                  <a:cubicBezTo>
                    <a:pt x="484" y="74"/>
                    <a:pt x="500" y="71"/>
                    <a:pt x="521" y="84"/>
                  </a:cubicBezTo>
                  <a:cubicBezTo>
                    <a:pt x="535" y="87"/>
                    <a:pt x="590" y="99"/>
                    <a:pt x="597" y="119"/>
                  </a:cubicBezTo>
                  <a:cubicBezTo>
                    <a:pt x="603" y="144"/>
                    <a:pt x="561" y="176"/>
                    <a:pt x="558" y="209"/>
                  </a:cubicBezTo>
                  <a:cubicBezTo>
                    <a:pt x="574" y="236"/>
                    <a:pt x="576" y="239"/>
                    <a:pt x="627" y="224"/>
                  </a:cubicBezTo>
                  <a:cubicBezTo>
                    <a:pt x="622" y="236"/>
                    <a:pt x="625" y="263"/>
                    <a:pt x="649" y="287"/>
                  </a:cubicBezTo>
                  <a:cubicBezTo>
                    <a:pt x="661" y="295"/>
                    <a:pt x="691" y="338"/>
                    <a:pt x="688" y="353"/>
                  </a:cubicBezTo>
                  <a:cubicBezTo>
                    <a:pt x="684" y="373"/>
                    <a:pt x="673" y="363"/>
                    <a:pt x="661" y="374"/>
                  </a:cubicBezTo>
                  <a:cubicBezTo>
                    <a:pt x="653" y="386"/>
                    <a:pt x="642" y="431"/>
                    <a:pt x="642" y="431"/>
                  </a:cubicBezTo>
                  <a:cubicBezTo>
                    <a:pt x="627" y="434"/>
                    <a:pt x="603" y="432"/>
                    <a:pt x="591" y="441"/>
                  </a:cubicBezTo>
                  <a:cubicBezTo>
                    <a:pt x="593" y="487"/>
                    <a:pt x="576" y="475"/>
                    <a:pt x="572" y="491"/>
                  </a:cubicBezTo>
                  <a:cubicBezTo>
                    <a:pt x="566" y="516"/>
                    <a:pt x="558" y="581"/>
                    <a:pt x="561" y="602"/>
                  </a:cubicBezTo>
                  <a:cubicBezTo>
                    <a:pt x="552" y="605"/>
                    <a:pt x="561" y="602"/>
                    <a:pt x="540" y="607"/>
                  </a:cubicBezTo>
                  <a:cubicBezTo>
                    <a:pt x="484" y="595"/>
                    <a:pt x="508" y="575"/>
                    <a:pt x="476" y="551"/>
                  </a:cubicBezTo>
                  <a:cubicBezTo>
                    <a:pt x="452" y="531"/>
                    <a:pt x="436" y="511"/>
                    <a:pt x="404" y="507"/>
                  </a:cubicBezTo>
                  <a:cubicBezTo>
                    <a:pt x="396" y="483"/>
                    <a:pt x="412" y="451"/>
                    <a:pt x="384" y="443"/>
                  </a:cubicBezTo>
                  <a:cubicBezTo>
                    <a:pt x="392" y="431"/>
                    <a:pt x="388" y="423"/>
                    <a:pt x="396" y="411"/>
                  </a:cubicBezTo>
                  <a:cubicBezTo>
                    <a:pt x="384" y="375"/>
                    <a:pt x="368" y="419"/>
                    <a:pt x="360" y="431"/>
                  </a:cubicBezTo>
                  <a:cubicBezTo>
                    <a:pt x="348" y="463"/>
                    <a:pt x="352" y="455"/>
                    <a:pt x="324" y="463"/>
                  </a:cubicBezTo>
                  <a:cubicBezTo>
                    <a:pt x="312" y="459"/>
                    <a:pt x="296" y="467"/>
                    <a:pt x="288" y="455"/>
                  </a:cubicBezTo>
                  <a:cubicBezTo>
                    <a:pt x="284" y="447"/>
                    <a:pt x="272" y="407"/>
                    <a:pt x="272" y="407"/>
                  </a:cubicBezTo>
                  <a:cubicBezTo>
                    <a:pt x="248" y="327"/>
                    <a:pt x="268" y="343"/>
                    <a:pt x="192" y="335"/>
                  </a:cubicBezTo>
                  <a:cubicBezTo>
                    <a:pt x="176" y="287"/>
                    <a:pt x="172" y="279"/>
                    <a:pt x="120" y="271"/>
                  </a:cubicBezTo>
                  <a:cubicBezTo>
                    <a:pt x="104" y="235"/>
                    <a:pt x="116" y="207"/>
                    <a:pt x="72" y="195"/>
                  </a:cubicBezTo>
                  <a:cubicBezTo>
                    <a:pt x="44" y="203"/>
                    <a:pt x="48" y="207"/>
                    <a:pt x="24" y="191"/>
                  </a:cubicBezTo>
                  <a:cubicBezTo>
                    <a:pt x="20" y="179"/>
                    <a:pt x="12" y="155"/>
                    <a:pt x="12" y="155"/>
                  </a:cubicBezTo>
                  <a:cubicBezTo>
                    <a:pt x="8" y="127"/>
                    <a:pt x="0" y="95"/>
                    <a:pt x="32" y="83"/>
                  </a:cubicBezTo>
                  <a:cubicBezTo>
                    <a:pt x="48" y="55"/>
                    <a:pt x="56" y="55"/>
                    <a:pt x="88" y="47"/>
                  </a:cubicBezTo>
                  <a:cubicBezTo>
                    <a:pt x="136" y="11"/>
                    <a:pt x="12" y="43"/>
                    <a:pt x="152" y="15"/>
                  </a:cubicBezTo>
                  <a:cubicBezTo>
                    <a:pt x="160" y="15"/>
                    <a:pt x="189" y="0"/>
                    <a:pt x="181" y="0"/>
                  </a:cubicBez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  <p:sp>
          <p:nvSpPr>
            <p:cNvPr id="293" name="Freeform 108"/>
            <p:cNvSpPr>
              <a:spLocks noChangeAspect="1"/>
            </p:cNvSpPr>
            <p:nvPr/>
          </p:nvSpPr>
          <p:spPr bwMode="auto">
            <a:xfrm>
              <a:off x="2339" y="2957"/>
              <a:ext cx="38" cy="50"/>
            </a:xfrm>
            <a:custGeom>
              <a:avLst/>
              <a:gdLst>
                <a:gd name="T0" fmla="*/ 0 w 153"/>
                <a:gd name="T1" fmla="*/ 0 h 200"/>
                <a:gd name="T2" fmla="*/ 0 w 153"/>
                <a:gd name="T3" fmla="*/ 0 h 200"/>
                <a:gd name="T4" fmla="*/ 0 w 153"/>
                <a:gd name="T5" fmla="*/ 0 h 200"/>
                <a:gd name="T6" fmla="*/ 0 w 153"/>
                <a:gd name="T7" fmla="*/ 0 h 200"/>
                <a:gd name="T8" fmla="*/ 0 w 153"/>
                <a:gd name="T9" fmla="*/ 0 h 200"/>
                <a:gd name="T10" fmla="*/ 0 w 153"/>
                <a:gd name="T11" fmla="*/ 0 h 200"/>
                <a:gd name="T12" fmla="*/ 0 w 153"/>
                <a:gd name="T13" fmla="*/ 0 h 200"/>
                <a:gd name="T14" fmla="*/ 0 w 153"/>
                <a:gd name="T15" fmla="*/ 0 h 200"/>
                <a:gd name="T16" fmla="*/ 0 w 153"/>
                <a:gd name="T17" fmla="*/ 0 h 20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53"/>
                <a:gd name="T28" fmla="*/ 0 h 200"/>
                <a:gd name="T29" fmla="*/ 153 w 153"/>
                <a:gd name="T30" fmla="*/ 200 h 20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53" h="200">
                  <a:moveTo>
                    <a:pt x="95" y="0"/>
                  </a:moveTo>
                  <a:cubicBezTo>
                    <a:pt x="0" y="3"/>
                    <a:pt x="71" y="24"/>
                    <a:pt x="23" y="56"/>
                  </a:cubicBezTo>
                  <a:cubicBezTo>
                    <a:pt x="15" y="96"/>
                    <a:pt x="15" y="116"/>
                    <a:pt x="11" y="168"/>
                  </a:cubicBezTo>
                  <a:cubicBezTo>
                    <a:pt x="22" y="186"/>
                    <a:pt x="33" y="181"/>
                    <a:pt x="51" y="184"/>
                  </a:cubicBezTo>
                  <a:cubicBezTo>
                    <a:pt x="63" y="200"/>
                    <a:pt x="111" y="171"/>
                    <a:pt x="130" y="178"/>
                  </a:cubicBezTo>
                  <a:cubicBezTo>
                    <a:pt x="125" y="160"/>
                    <a:pt x="132" y="150"/>
                    <a:pt x="147" y="120"/>
                  </a:cubicBezTo>
                  <a:cubicBezTo>
                    <a:pt x="153" y="88"/>
                    <a:pt x="151" y="79"/>
                    <a:pt x="127" y="63"/>
                  </a:cubicBezTo>
                  <a:cubicBezTo>
                    <a:pt x="105" y="42"/>
                    <a:pt x="115" y="48"/>
                    <a:pt x="95" y="28"/>
                  </a:cubicBezTo>
                  <a:cubicBezTo>
                    <a:pt x="91" y="8"/>
                    <a:pt x="91" y="16"/>
                    <a:pt x="95" y="0"/>
                  </a:cubicBez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  <p:grpSp>
          <p:nvGrpSpPr>
            <p:cNvPr id="294" name="Group 109"/>
            <p:cNvGrpSpPr>
              <a:grpSpLocks/>
            </p:cNvGrpSpPr>
            <p:nvPr/>
          </p:nvGrpSpPr>
          <p:grpSpPr bwMode="auto">
            <a:xfrm>
              <a:off x="2245" y="2705"/>
              <a:ext cx="177" cy="201"/>
              <a:chOff x="1507" y="4979"/>
              <a:chExt cx="706" cy="796"/>
            </a:xfrm>
            <a:grpFill/>
          </p:grpSpPr>
          <p:sp>
            <p:nvSpPr>
              <p:cNvPr id="308" name="Freeform 110"/>
              <p:cNvSpPr>
                <a:spLocks noChangeAspect="1"/>
              </p:cNvSpPr>
              <p:nvPr/>
            </p:nvSpPr>
            <p:spPr bwMode="auto">
              <a:xfrm>
                <a:off x="1759" y="5075"/>
                <a:ext cx="56" cy="44"/>
              </a:xfrm>
              <a:custGeom>
                <a:avLst/>
                <a:gdLst>
                  <a:gd name="T0" fmla="*/ 2147483647 w 14"/>
                  <a:gd name="T1" fmla="*/ 0 h 11"/>
                  <a:gd name="T2" fmla="*/ 2147483647 w 14"/>
                  <a:gd name="T3" fmla="*/ 2147483647 h 11"/>
                  <a:gd name="T4" fmla="*/ 2147483647 w 14"/>
                  <a:gd name="T5" fmla="*/ 2147483647 h 11"/>
                  <a:gd name="T6" fmla="*/ 2147483647 w 14"/>
                  <a:gd name="T7" fmla="*/ 0 h 11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4"/>
                  <a:gd name="T13" fmla="*/ 0 h 11"/>
                  <a:gd name="T14" fmla="*/ 14 w 14"/>
                  <a:gd name="T15" fmla="*/ 11 h 11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4" h="11">
                    <a:moveTo>
                      <a:pt x="5" y="0"/>
                    </a:moveTo>
                    <a:cubicBezTo>
                      <a:pt x="9" y="1"/>
                      <a:pt x="14" y="0"/>
                      <a:pt x="9" y="7"/>
                    </a:cubicBezTo>
                    <a:cubicBezTo>
                      <a:pt x="8" y="9"/>
                      <a:pt x="3" y="11"/>
                      <a:pt x="3" y="11"/>
                    </a:cubicBezTo>
                    <a:cubicBezTo>
                      <a:pt x="0" y="7"/>
                      <a:pt x="1" y="4"/>
                      <a:pt x="5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09" name="Freeform 111"/>
              <p:cNvSpPr>
                <a:spLocks noChangeAspect="1"/>
              </p:cNvSpPr>
              <p:nvPr/>
            </p:nvSpPr>
            <p:spPr bwMode="auto">
              <a:xfrm>
                <a:off x="1803" y="5019"/>
                <a:ext cx="32" cy="68"/>
              </a:xfrm>
              <a:custGeom>
                <a:avLst/>
                <a:gdLst>
                  <a:gd name="T0" fmla="*/ 0 w 8"/>
                  <a:gd name="T1" fmla="*/ 2147483647 h 17"/>
                  <a:gd name="T2" fmla="*/ 2147483647 w 8"/>
                  <a:gd name="T3" fmla="*/ 0 h 17"/>
                  <a:gd name="T4" fmla="*/ 0 w 8"/>
                  <a:gd name="T5" fmla="*/ 2147483647 h 17"/>
                  <a:gd name="T6" fmla="*/ 0 60000 65536"/>
                  <a:gd name="T7" fmla="*/ 0 60000 65536"/>
                  <a:gd name="T8" fmla="*/ 0 60000 65536"/>
                  <a:gd name="T9" fmla="*/ 0 w 8"/>
                  <a:gd name="T10" fmla="*/ 0 h 17"/>
                  <a:gd name="T11" fmla="*/ 8 w 8"/>
                  <a:gd name="T12" fmla="*/ 17 h 17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8" h="17">
                    <a:moveTo>
                      <a:pt x="0" y="8"/>
                    </a:moveTo>
                    <a:cubicBezTo>
                      <a:pt x="5" y="6"/>
                      <a:pt x="4" y="4"/>
                      <a:pt x="8" y="0"/>
                    </a:cubicBezTo>
                    <a:cubicBezTo>
                      <a:pt x="8" y="2"/>
                      <a:pt x="0" y="17"/>
                      <a:pt x="0" y="8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10" name="Freeform 112"/>
              <p:cNvSpPr>
                <a:spLocks noChangeAspect="1"/>
              </p:cNvSpPr>
              <p:nvPr/>
            </p:nvSpPr>
            <p:spPr bwMode="auto">
              <a:xfrm>
                <a:off x="1859" y="4991"/>
                <a:ext cx="48" cy="40"/>
              </a:xfrm>
              <a:custGeom>
                <a:avLst/>
                <a:gdLst>
                  <a:gd name="T0" fmla="*/ 0 w 12"/>
                  <a:gd name="T1" fmla="*/ 2147483647 h 10"/>
                  <a:gd name="T2" fmla="*/ 2147483647 w 12"/>
                  <a:gd name="T3" fmla="*/ 2147483647 h 10"/>
                  <a:gd name="T4" fmla="*/ 0 w 12"/>
                  <a:gd name="T5" fmla="*/ 2147483647 h 10"/>
                  <a:gd name="T6" fmla="*/ 0 60000 65536"/>
                  <a:gd name="T7" fmla="*/ 0 60000 65536"/>
                  <a:gd name="T8" fmla="*/ 0 60000 65536"/>
                  <a:gd name="T9" fmla="*/ 0 w 12"/>
                  <a:gd name="T10" fmla="*/ 0 h 10"/>
                  <a:gd name="T11" fmla="*/ 12 w 12"/>
                  <a:gd name="T12" fmla="*/ 10 h 10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2" h="10">
                    <a:moveTo>
                      <a:pt x="0" y="3"/>
                    </a:moveTo>
                    <a:cubicBezTo>
                      <a:pt x="8" y="0"/>
                      <a:pt x="4" y="1"/>
                      <a:pt x="12" y="2"/>
                    </a:cubicBezTo>
                    <a:cubicBezTo>
                      <a:pt x="10" y="9"/>
                      <a:pt x="0" y="10"/>
                      <a:pt x="0" y="3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11" name="Freeform 113"/>
              <p:cNvSpPr>
                <a:spLocks noChangeAspect="1"/>
              </p:cNvSpPr>
              <p:nvPr/>
            </p:nvSpPr>
            <p:spPr bwMode="auto">
              <a:xfrm>
                <a:off x="1919" y="4979"/>
                <a:ext cx="96" cy="28"/>
              </a:xfrm>
              <a:custGeom>
                <a:avLst/>
                <a:gdLst>
                  <a:gd name="T0" fmla="*/ 2147483647 w 24"/>
                  <a:gd name="T1" fmla="*/ 2147483647 h 7"/>
                  <a:gd name="T2" fmla="*/ 2147483647 w 24"/>
                  <a:gd name="T3" fmla="*/ 2147483647 h 7"/>
                  <a:gd name="T4" fmla="*/ 2147483647 w 24"/>
                  <a:gd name="T5" fmla="*/ 2147483647 h 7"/>
                  <a:gd name="T6" fmla="*/ 0 60000 65536"/>
                  <a:gd name="T7" fmla="*/ 0 60000 65536"/>
                  <a:gd name="T8" fmla="*/ 0 60000 65536"/>
                  <a:gd name="T9" fmla="*/ 0 w 24"/>
                  <a:gd name="T10" fmla="*/ 0 h 7"/>
                  <a:gd name="T11" fmla="*/ 24 w 24"/>
                  <a:gd name="T12" fmla="*/ 7 h 7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4" h="7">
                    <a:moveTo>
                      <a:pt x="1" y="4"/>
                    </a:moveTo>
                    <a:cubicBezTo>
                      <a:pt x="22" y="3"/>
                      <a:pt x="24" y="3"/>
                      <a:pt x="12" y="7"/>
                    </a:cubicBezTo>
                    <a:cubicBezTo>
                      <a:pt x="6" y="6"/>
                      <a:pt x="0" y="0"/>
                      <a:pt x="1" y="4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12" name="Freeform 114"/>
              <p:cNvSpPr>
                <a:spLocks noChangeAspect="1"/>
              </p:cNvSpPr>
              <p:nvPr/>
            </p:nvSpPr>
            <p:spPr bwMode="auto">
              <a:xfrm>
                <a:off x="1507" y="5019"/>
                <a:ext cx="706" cy="756"/>
              </a:xfrm>
              <a:custGeom>
                <a:avLst/>
                <a:gdLst>
                  <a:gd name="T0" fmla="*/ 694 w 706"/>
                  <a:gd name="T1" fmla="*/ 39 h 756"/>
                  <a:gd name="T2" fmla="*/ 624 w 706"/>
                  <a:gd name="T3" fmla="*/ 0 h 756"/>
                  <a:gd name="T4" fmla="*/ 508 w 706"/>
                  <a:gd name="T5" fmla="*/ 12 h 756"/>
                  <a:gd name="T6" fmla="*/ 432 w 706"/>
                  <a:gd name="T7" fmla="*/ 28 h 756"/>
                  <a:gd name="T8" fmla="*/ 376 w 706"/>
                  <a:gd name="T9" fmla="*/ 60 h 756"/>
                  <a:gd name="T10" fmla="*/ 328 w 706"/>
                  <a:gd name="T11" fmla="*/ 92 h 756"/>
                  <a:gd name="T12" fmla="*/ 304 w 706"/>
                  <a:gd name="T13" fmla="*/ 100 h 756"/>
                  <a:gd name="T14" fmla="*/ 244 w 706"/>
                  <a:gd name="T15" fmla="*/ 156 h 756"/>
                  <a:gd name="T16" fmla="*/ 364 w 706"/>
                  <a:gd name="T17" fmla="*/ 240 h 756"/>
                  <a:gd name="T18" fmla="*/ 324 w 706"/>
                  <a:gd name="T19" fmla="*/ 272 h 756"/>
                  <a:gd name="T20" fmla="*/ 220 w 706"/>
                  <a:gd name="T21" fmla="*/ 268 h 756"/>
                  <a:gd name="T22" fmla="*/ 168 w 706"/>
                  <a:gd name="T23" fmla="*/ 316 h 756"/>
                  <a:gd name="T24" fmla="*/ 112 w 706"/>
                  <a:gd name="T25" fmla="*/ 392 h 756"/>
                  <a:gd name="T26" fmla="*/ 76 w 706"/>
                  <a:gd name="T27" fmla="*/ 420 h 756"/>
                  <a:gd name="T28" fmla="*/ 12 w 706"/>
                  <a:gd name="T29" fmla="*/ 504 h 756"/>
                  <a:gd name="T30" fmla="*/ 36 w 706"/>
                  <a:gd name="T31" fmla="*/ 560 h 756"/>
                  <a:gd name="T32" fmla="*/ 76 w 706"/>
                  <a:gd name="T33" fmla="*/ 580 h 756"/>
                  <a:gd name="T34" fmla="*/ 196 w 706"/>
                  <a:gd name="T35" fmla="*/ 536 h 756"/>
                  <a:gd name="T36" fmla="*/ 300 w 706"/>
                  <a:gd name="T37" fmla="*/ 564 h 756"/>
                  <a:gd name="T38" fmla="*/ 364 w 706"/>
                  <a:gd name="T39" fmla="*/ 612 h 756"/>
                  <a:gd name="T40" fmla="*/ 400 w 706"/>
                  <a:gd name="T41" fmla="*/ 628 h 756"/>
                  <a:gd name="T42" fmla="*/ 424 w 706"/>
                  <a:gd name="T43" fmla="*/ 644 h 756"/>
                  <a:gd name="T44" fmla="*/ 392 w 706"/>
                  <a:gd name="T45" fmla="*/ 704 h 756"/>
                  <a:gd name="T46" fmla="*/ 408 w 706"/>
                  <a:gd name="T47" fmla="*/ 756 h 756"/>
                  <a:gd name="T48" fmla="*/ 464 w 706"/>
                  <a:gd name="T49" fmla="*/ 732 h 756"/>
                  <a:gd name="T50" fmla="*/ 460 w 706"/>
                  <a:gd name="T51" fmla="*/ 720 h 756"/>
                  <a:gd name="T52" fmla="*/ 440 w 706"/>
                  <a:gd name="T53" fmla="*/ 692 h 756"/>
                  <a:gd name="T54" fmla="*/ 466 w 706"/>
                  <a:gd name="T55" fmla="*/ 669 h 756"/>
                  <a:gd name="T56" fmla="*/ 484 w 706"/>
                  <a:gd name="T57" fmla="*/ 624 h 756"/>
                  <a:gd name="T58" fmla="*/ 496 w 706"/>
                  <a:gd name="T59" fmla="*/ 588 h 756"/>
                  <a:gd name="T60" fmla="*/ 484 w 706"/>
                  <a:gd name="T61" fmla="*/ 524 h 756"/>
                  <a:gd name="T62" fmla="*/ 482 w 706"/>
                  <a:gd name="T63" fmla="*/ 471 h 756"/>
                  <a:gd name="T64" fmla="*/ 464 w 706"/>
                  <a:gd name="T65" fmla="*/ 474 h 756"/>
                  <a:gd name="T66" fmla="*/ 529 w 706"/>
                  <a:gd name="T67" fmla="*/ 452 h 756"/>
                  <a:gd name="T68" fmla="*/ 610 w 706"/>
                  <a:gd name="T69" fmla="*/ 431 h 756"/>
                  <a:gd name="T70" fmla="*/ 616 w 706"/>
                  <a:gd name="T71" fmla="*/ 371 h 756"/>
                  <a:gd name="T72" fmla="*/ 652 w 706"/>
                  <a:gd name="T73" fmla="*/ 356 h 756"/>
                  <a:gd name="T74" fmla="*/ 625 w 706"/>
                  <a:gd name="T75" fmla="*/ 273 h 756"/>
                  <a:gd name="T76" fmla="*/ 593 w 706"/>
                  <a:gd name="T77" fmla="*/ 231 h 756"/>
                  <a:gd name="T78" fmla="*/ 628 w 706"/>
                  <a:gd name="T79" fmla="*/ 215 h 756"/>
                  <a:gd name="T80" fmla="*/ 646 w 706"/>
                  <a:gd name="T81" fmla="*/ 242 h 756"/>
                  <a:gd name="T82" fmla="*/ 665 w 706"/>
                  <a:gd name="T83" fmla="*/ 197 h 756"/>
                  <a:gd name="T84" fmla="*/ 694 w 706"/>
                  <a:gd name="T85" fmla="*/ 39 h 75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706"/>
                  <a:gd name="T130" fmla="*/ 0 h 756"/>
                  <a:gd name="T131" fmla="*/ 706 w 706"/>
                  <a:gd name="T132" fmla="*/ 756 h 756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706" h="756">
                    <a:moveTo>
                      <a:pt x="694" y="39"/>
                    </a:moveTo>
                    <a:cubicBezTo>
                      <a:pt x="682" y="7"/>
                      <a:pt x="652" y="20"/>
                      <a:pt x="624" y="0"/>
                    </a:cubicBezTo>
                    <a:cubicBezTo>
                      <a:pt x="584" y="4"/>
                      <a:pt x="548" y="8"/>
                      <a:pt x="508" y="12"/>
                    </a:cubicBezTo>
                    <a:cubicBezTo>
                      <a:pt x="480" y="20"/>
                      <a:pt x="460" y="24"/>
                      <a:pt x="432" y="28"/>
                    </a:cubicBezTo>
                    <a:cubicBezTo>
                      <a:pt x="412" y="36"/>
                      <a:pt x="376" y="60"/>
                      <a:pt x="376" y="60"/>
                    </a:cubicBezTo>
                    <a:cubicBezTo>
                      <a:pt x="364" y="76"/>
                      <a:pt x="344" y="80"/>
                      <a:pt x="328" y="92"/>
                    </a:cubicBezTo>
                    <a:cubicBezTo>
                      <a:pt x="320" y="96"/>
                      <a:pt x="304" y="100"/>
                      <a:pt x="304" y="100"/>
                    </a:cubicBezTo>
                    <a:cubicBezTo>
                      <a:pt x="284" y="124"/>
                      <a:pt x="268" y="140"/>
                      <a:pt x="244" y="156"/>
                    </a:cubicBezTo>
                    <a:cubicBezTo>
                      <a:pt x="252" y="228"/>
                      <a:pt x="300" y="228"/>
                      <a:pt x="364" y="240"/>
                    </a:cubicBezTo>
                    <a:cubicBezTo>
                      <a:pt x="356" y="260"/>
                      <a:pt x="340" y="268"/>
                      <a:pt x="324" y="272"/>
                    </a:cubicBezTo>
                    <a:cubicBezTo>
                      <a:pt x="280" y="268"/>
                      <a:pt x="264" y="264"/>
                      <a:pt x="220" y="268"/>
                    </a:cubicBezTo>
                    <a:cubicBezTo>
                      <a:pt x="200" y="276"/>
                      <a:pt x="176" y="296"/>
                      <a:pt x="168" y="316"/>
                    </a:cubicBezTo>
                    <a:cubicBezTo>
                      <a:pt x="164" y="332"/>
                      <a:pt x="132" y="384"/>
                      <a:pt x="112" y="392"/>
                    </a:cubicBezTo>
                    <a:cubicBezTo>
                      <a:pt x="104" y="408"/>
                      <a:pt x="92" y="412"/>
                      <a:pt x="76" y="420"/>
                    </a:cubicBezTo>
                    <a:cubicBezTo>
                      <a:pt x="68" y="440"/>
                      <a:pt x="32" y="496"/>
                      <a:pt x="12" y="504"/>
                    </a:cubicBezTo>
                    <a:cubicBezTo>
                      <a:pt x="0" y="540"/>
                      <a:pt x="12" y="544"/>
                      <a:pt x="36" y="560"/>
                    </a:cubicBezTo>
                    <a:cubicBezTo>
                      <a:pt x="44" y="580"/>
                      <a:pt x="56" y="576"/>
                      <a:pt x="76" y="580"/>
                    </a:cubicBezTo>
                    <a:cubicBezTo>
                      <a:pt x="128" y="572"/>
                      <a:pt x="148" y="540"/>
                      <a:pt x="196" y="536"/>
                    </a:cubicBezTo>
                    <a:cubicBezTo>
                      <a:pt x="228" y="548"/>
                      <a:pt x="264" y="556"/>
                      <a:pt x="300" y="564"/>
                    </a:cubicBezTo>
                    <a:cubicBezTo>
                      <a:pt x="312" y="600"/>
                      <a:pt x="324" y="608"/>
                      <a:pt x="364" y="612"/>
                    </a:cubicBezTo>
                    <a:cubicBezTo>
                      <a:pt x="376" y="620"/>
                      <a:pt x="388" y="620"/>
                      <a:pt x="400" y="628"/>
                    </a:cubicBezTo>
                    <a:cubicBezTo>
                      <a:pt x="408" y="632"/>
                      <a:pt x="424" y="644"/>
                      <a:pt x="424" y="644"/>
                    </a:cubicBezTo>
                    <a:cubicBezTo>
                      <a:pt x="416" y="668"/>
                      <a:pt x="412" y="688"/>
                      <a:pt x="392" y="704"/>
                    </a:cubicBezTo>
                    <a:cubicBezTo>
                      <a:pt x="384" y="728"/>
                      <a:pt x="380" y="748"/>
                      <a:pt x="408" y="756"/>
                    </a:cubicBezTo>
                    <a:cubicBezTo>
                      <a:pt x="436" y="752"/>
                      <a:pt x="452" y="756"/>
                      <a:pt x="464" y="732"/>
                    </a:cubicBezTo>
                    <a:cubicBezTo>
                      <a:pt x="464" y="728"/>
                      <a:pt x="464" y="724"/>
                      <a:pt x="460" y="720"/>
                    </a:cubicBezTo>
                    <a:cubicBezTo>
                      <a:pt x="456" y="713"/>
                      <a:pt x="439" y="700"/>
                      <a:pt x="440" y="692"/>
                    </a:cubicBezTo>
                    <a:cubicBezTo>
                      <a:pt x="452" y="683"/>
                      <a:pt x="454" y="681"/>
                      <a:pt x="466" y="669"/>
                    </a:cubicBezTo>
                    <a:cubicBezTo>
                      <a:pt x="470" y="653"/>
                      <a:pt x="481" y="645"/>
                      <a:pt x="484" y="624"/>
                    </a:cubicBezTo>
                    <a:cubicBezTo>
                      <a:pt x="488" y="612"/>
                      <a:pt x="490" y="597"/>
                      <a:pt x="496" y="588"/>
                    </a:cubicBezTo>
                    <a:cubicBezTo>
                      <a:pt x="497" y="570"/>
                      <a:pt x="486" y="543"/>
                      <a:pt x="484" y="524"/>
                    </a:cubicBezTo>
                    <a:cubicBezTo>
                      <a:pt x="482" y="505"/>
                      <a:pt x="485" y="479"/>
                      <a:pt x="482" y="471"/>
                    </a:cubicBezTo>
                    <a:cubicBezTo>
                      <a:pt x="479" y="463"/>
                      <a:pt x="456" y="477"/>
                      <a:pt x="464" y="474"/>
                    </a:cubicBezTo>
                    <a:cubicBezTo>
                      <a:pt x="473" y="440"/>
                      <a:pt x="485" y="453"/>
                      <a:pt x="529" y="452"/>
                    </a:cubicBezTo>
                    <a:cubicBezTo>
                      <a:pt x="569" y="446"/>
                      <a:pt x="583" y="443"/>
                      <a:pt x="610" y="431"/>
                    </a:cubicBezTo>
                    <a:cubicBezTo>
                      <a:pt x="622" y="395"/>
                      <a:pt x="577" y="395"/>
                      <a:pt x="616" y="371"/>
                    </a:cubicBezTo>
                    <a:cubicBezTo>
                      <a:pt x="628" y="363"/>
                      <a:pt x="640" y="368"/>
                      <a:pt x="652" y="356"/>
                    </a:cubicBezTo>
                    <a:cubicBezTo>
                      <a:pt x="685" y="318"/>
                      <a:pt x="654" y="255"/>
                      <a:pt x="625" y="273"/>
                    </a:cubicBezTo>
                    <a:cubicBezTo>
                      <a:pt x="603" y="263"/>
                      <a:pt x="593" y="241"/>
                      <a:pt x="593" y="231"/>
                    </a:cubicBezTo>
                    <a:cubicBezTo>
                      <a:pt x="593" y="221"/>
                      <a:pt x="619" y="213"/>
                      <a:pt x="628" y="215"/>
                    </a:cubicBezTo>
                    <a:cubicBezTo>
                      <a:pt x="638" y="230"/>
                      <a:pt x="634" y="230"/>
                      <a:pt x="646" y="242"/>
                    </a:cubicBezTo>
                    <a:cubicBezTo>
                      <a:pt x="653" y="239"/>
                      <a:pt x="657" y="231"/>
                      <a:pt x="665" y="197"/>
                    </a:cubicBezTo>
                    <a:cubicBezTo>
                      <a:pt x="673" y="163"/>
                      <a:pt x="706" y="167"/>
                      <a:pt x="694" y="39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</p:grpSp>
        <p:grpSp>
          <p:nvGrpSpPr>
            <p:cNvPr id="295" name="Group 115"/>
            <p:cNvGrpSpPr>
              <a:grpSpLocks/>
            </p:cNvGrpSpPr>
            <p:nvPr/>
          </p:nvGrpSpPr>
          <p:grpSpPr bwMode="auto">
            <a:xfrm>
              <a:off x="1776" y="2141"/>
              <a:ext cx="402" cy="752"/>
              <a:chOff x="-347" y="2747"/>
              <a:chExt cx="1590" cy="2976"/>
            </a:xfrm>
            <a:grpFill/>
          </p:grpSpPr>
          <p:sp>
            <p:nvSpPr>
              <p:cNvPr id="297" name="Freeform 116"/>
              <p:cNvSpPr>
                <a:spLocks noChangeAspect="1"/>
              </p:cNvSpPr>
              <p:nvPr/>
            </p:nvSpPr>
            <p:spPr bwMode="auto">
              <a:xfrm>
                <a:off x="1007" y="2747"/>
                <a:ext cx="144" cy="288"/>
              </a:xfrm>
              <a:custGeom>
                <a:avLst/>
                <a:gdLst>
                  <a:gd name="T0" fmla="*/ 2147483647 w 36"/>
                  <a:gd name="T1" fmla="*/ 2147483647 h 72"/>
                  <a:gd name="T2" fmla="*/ 2147483647 w 36"/>
                  <a:gd name="T3" fmla="*/ 2147483647 h 72"/>
                  <a:gd name="T4" fmla="*/ 2147483647 w 36"/>
                  <a:gd name="T5" fmla="*/ 2147483647 h 72"/>
                  <a:gd name="T6" fmla="*/ 2147483647 w 36"/>
                  <a:gd name="T7" fmla="*/ 2147483647 h 72"/>
                  <a:gd name="T8" fmla="*/ 0 w 36"/>
                  <a:gd name="T9" fmla="*/ 2147483647 h 72"/>
                  <a:gd name="T10" fmla="*/ 2147483647 w 36"/>
                  <a:gd name="T11" fmla="*/ 2147483647 h 72"/>
                  <a:gd name="T12" fmla="*/ 2147483647 w 36"/>
                  <a:gd name="T13" fmla="*/ 2147483647 h 72"/>
                  <a:gd name="T14" fmla="*/ 2147483647 w 36"/>
                  <a:gd name="T15" fmla="*/ 2147483647 h 72"/>
                  <a:gd name="T16" fmla="*/ 2147483647 w 36"/>
                  <a:gd name="T17" fmla="*/ 2147483647 h 72"/>
                  <a:gd name="T18" fmla="*/ 2147483647 w 36"/>
                  <a:gd name="T19" fmla="*/ 2147483647 h 72"/>
                  <a:gd name="T20" fmla="*/ 2147483647 w 36"/>
                  <a:gd name="T21" fmla="*/ 2147483647 h 72"/>
                  <a:gd name="T22" fmla="*/ 2147483647 w 36"/>
                  <a:gd name="T23" fmla="*/ 2147483647 h 72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36"/>
                  <a:gd name="T37" fmla="*/ 0 h 72"/>
                  <a:gd name="T38" fmla="*/ 36 w 36"/>
                  <a:gd name="T39" fmla="*/ 72 h 72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36" h="72">
                    <a:moveTo>
                      <a:pt x="32" y="4"/>
                    </a:moveTo>
                    <a:cubicBezTo>
                      <a:pt x="24" y="5"/>
                      <a:pt x="26" y="8"/>
                      <a:pt x="20" y="11"/>
                    </a:cubicBezTo>
                    <a:cubicBezTo>
                      <a:pt x="16" y="16"/>
                      <a:pt x="11" y="17"/>
                      <a:pt x="7" y="22"/>
                    </a:cubicBezTo>
                    <a:cubicBezTo>
                      <a:pt x="5" y="24"/>
                      <a:pt x="3" y="28"/>
                      <a:pt x="3" y="28"/>
                    </a:cubicBezTo>
                    <a:cubicBezTo>
                      <a:pt x="2" y="33"/>
                      <a:pt x="2" y="38"/>
                      <a:pt x="0" y="43"/>
                    </a:cubicBezTo>
                    <a:cubicBezTo>
                      <a:pt x="2" y="53"/>
                      <a:pt x="1" y="63"/>
                      <a:pt x="7" y="72"/>
                    </a:cubicBezTo>
                    <a:cubicBezTo>
                      <a:pt x="10" y="68"/>
                      <a:pt x="12" y="66"/>
                      <a:pt x="17" y="63"/>
                    </a:cubicBezTo>
                    <a:cubicBezTo>
                      <a:pt x="18" y="60"/>
                      <a:pt x="20" y="57"/>
                      <a:pt x="21" y="54"/>
                    </a:cubicBezTo>
                    <a:cubicBezTo>
                      <a:pt x="22" y="42"/>
                      <a:pt x="20" y="30"/>
                      <a:pt x="30" y="23"/>
                    </a:cubicBezTo>
                    <a:cubicBezTo>
                      <a:pt x="32" y="19"/>
                      <a:pt x="34" y="14"/>
                      <a:pt x="36" y="9"/>
                    </a:cubicBezTo>
                    <a:cubicBezTo>
                      <a:pt x="33" y="0"/>
                      <a:pt x="30" y="7"/>
                      <a:pt x="26" y="11"/>
                    </a:cubicBezTo>
                    <a:lnTo>
                      <a:pt x="32" y="4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298" name="Freeform 117"/>
              <p:cNvSpPr>
                <a:spLocks noChangeAspect="1"/>
              </p:cNvSpPr>
              <p:nvPr/>
            </p:nvSpPr>
            <p:spPr bwMode="auto">
              <a:xfrm>
                <a:off x="715" y="3135"/>
                <a:ext cx="120" cy="132"/>
              </a:xfrm>
              <a:custGeom>
                <a:avLst/>
                <a:gdLst>
                  <a:gd name="T0" fmla="*/ 2147483647 w 30"/>
                  <a:gd name="T1" fmla="*/ 0 h 33"/>
                  <a:gd name="T2" fmla="*/ 2147483647 w 30"/>
                  <a:gd name="T3" fmla="*/ 2147483647 h 33"/>
                  <a:gd name="T4" fmla="*/ 0 w 30"/>
                  <a:gd name="T5" fmla="*/ 2147483647 h 33"/>
                  <a:gd name="T6" fmla="*/ 2147483647 w 30"/>
                  <a:gd name="T7" fmla="*/ 2147483647 h 33"/>
                  <a:gd name="T8" fmla="*/ 2147483647 w 30"/>
                  <a:gd name="T9" fmla="*/ 2147483647 h 33"/>
                  <a:gd name="T10" fmla="*/ 2147483647 w 30"/>
                  <a:gd name="T11" fmla="*/ 2147483647 h 33"/>
                  <a:gd name="T12" fmla="*/ 2147483647 w 30"/>
                  <a:gd name="T13" fmla="*/ 0 h 3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0"/>
                  <a:gd name="T22" fmla="*/ 0 h 33"/>
                  <a:gd name="T23" fmla="*/ 30 w 30"/>
                  <a:gd name="T24" fmla="*/ 33 h 3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0" h="33">
                    <a:moveTo>
                      <a:pt x="16" y="0"/>
                    </a:moveTo>
                    <a:cubicBezTo>
                      <a:pt x="7" y="3"/>
                      <a:pt x="9" y="3"/>
                      <a:pt x="3" y="9"/>
                    </a:cubicBezTo>
                    <a:cubicBezTo>
                      <a:pt x="0" y="17"/>
                      <a:pt x="1" y="13"/>
                      <a:pt x="0" y="21"/>
                    </a:cubicBezTo>
                    <a:cubicBezTo>
                      <a:pt x="1" y="29"/>
                      <a:pt x="3" y="31"/>
                      <a:pt x="10" y="33"/>
                    </a:cubicBezTo>
                    <a:cubicBezTo>
                      <a:pt x="25" y="32"/>
                      <a:pt x="18" y="33"/>
                      <a:pt x="25" y="26"/>
                    </a:cubicBezTo>
                    <a:cubicBezTo>
                      <a:pt x="26" y="20"/>
                      <a:pt x="27" y="17"/>
                      <a:pt x="30" y="12"/>
                    </a:cubicBezTo>
                    <a:cubicBezTo>
                      <a:pt x="27" y="0"/>
                      <a:pt x="24" y="5"/>
                      <a:pt x="16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299" name="Freeform 118"/>
              <p:cNvSpPr>
                <a:spLocks noChangeAspect="1"/>
              </p:cNvSpPr>
              <p:nvPr/>
            </p:nvSpPr>
            <p:spPr bwMode="auto">
              <a:xfrm>
                <a:off x="-88" y="3271"/>
                <a:ext cx="340" cy="432"/>
              </a:xfrm>
              <a:custGeom>
                <a:avLst/>
                <a:gdLst>
                  <a:gd name="T0" fmla="*/ 2147483647 w 85"/>
                  <a:gd name="T1" fmla="*/ 0 h 108"/>
                  <a:gd name="T2" fmla="*/ 2147483647 w 85"/>
                  <a:gd name="T3" fmla="*/ 2147483647 h 108"/>
                  <a:gd name="T4" fmla="*/ 2147483647 w 85"/>
                  <a:gd name="T5" fmla="*/ 2147483647 h 108"/>
                  <a:gd name="T6" fmla="*/ 2147483647 w 85"/>
                  <a:gd name="T7" fmla="*/ 2147483647 h 108"/>
                  <a:gd name="T8" fmla="*/ 2147483647 w 85"/>
                  <a:gd name="T9" fmla="*/ 2147483647 h 108"/>
                  <a:gd name="T10" fmla="*/ 0 w 85"/>
                  <a:gd name="T11" fmla="*/ 2147483647 h 108"/>
                  <a:gd name="T12" fmla="*/ 2147483647 w 85"/>
                  <a:gd name="T13" fmla="*/ 2147483647 h 108"/>
                  <a:gd name="T14" fmla="*/ 2147483647 w 85"/>
                  <a:gd name="T15" fmla="*/ 2147483647 h 108"/>
                  <a:gd name="T16" fmla="*/ 2147483647 w 85"/>
                  <a:gd name="T17" fmla="*/ 2147483647 h 108"/>
                  <a:gd name="T18" fmla="*/ 2147483647 w 85"/>
                  <a:gd name="T19" fmla="*/ 2147483647 h 108"/>
                  <a:gd name="T20" fmla="*/ 2147483647 w 85"/>
                  <a:gd name="T21" fmla="*/ 2147483647 h 108"/>
                  <a:gd name="T22" fmla="*/ 2147483647 w 85"/>
                  <a:gd name="T23" fmla="*/ 2147483647 h 108"/>
                  <a:gd name="T24" fmla="*/ 2147483647 w 85"/>
                  <a:gd name="T25" fmla="*/ 2147483647 h 108"/>
                  <a:gd name="T26" fmla="*/ 2147483647 w 85"/>
                  <a:gd name="T27" fmla="*/ 2147483647 h 108"/>
                  <a:gd name="T28" fmla="*/ 2147483647 w 85"/>
                  <a:gd name="T29" fmla="*/ 0 h 108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85"/>
                  <a:gd name="T46" fmla="*/ 0 h 108"/>
                  <a:gd name="T47" fmla="*/ 85 w 85"/>
                  <a:gd name="T48" fmla="*/ 108 h 108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85" h="108">
                    <a:moveTo>
                      <a:pt x="81" y="0"/>
                    </a:moveTo>
                    <a:cubicBezTo>
                      <a:pt x="69" y="1"/>
                      <a:pt x="55" y="0"/>
                      <a:pt x="45" y="7"/>
                    </a:cubicBezTo>
                    <a:cubicBezTo>
                      <a:pt x="38" y="18"/>
                      <a:pt x="41" y="31"/>
                      <a:pt x="36" y="42"/>
                    </a:cubicBezTo>
                    <a:cubicBezTo>
                      <a:pt x="33" y="48"/>
                      <a:pt x="26" y="52"/>
                      <a:pt x="21" y="55"/>
                    </a:cubicBezTo>
                    <a:cubicBezTo>
                      <a:pt x="14" y="65"/>
                      <a:pt x="17" y="83"/>
                      <a:pt x="6" y="90"/>
                    </a:cubicBezTo>
                    <a:cubicBezTo>
                      <a:pt x="5" y="96"/>
                      <a:pt x="4" y="99"/>
                      <a:pt x="0" y="103"/>
                    </a:cubicBezTo>
                    <a:cubicBezTo>
                      <a:pt x="1" y="106"/>
                      <a:pt x="7" y="108"/>
                      <a:pt x="7" y="108"/>
                    </a:cubicBezTo>
                    <a:cubicBezTo>
                      <a:pt x="12" y="99"/>
                      <a:pt x="15" y="88"/>
                      <a:pt x="23" y="82"/>
                    </a:cubicBezTo>
                    <a:cubicBezTo>
                      <a:pt x="25" y="77"/>
                      <a:pt x="30" y="68"/>
                      <a:pt x="34" y="64"/>
                    </a:cubicBezTo>
                    <a:cubicBezTo>
                      <a:pt x="35" y="60"/>
                      <a:pt x="35" y="57"/>
                      <a:pt x="40" y="55"/>
                    </a:cubicBezTo>
                    <a:cubicBezTo>
                      <a:pt x="45" y="50"/>
                      <a:pt x="51" y="49"/>
                      <a:pt x="58" y="48"/>
                    </a:cubicBezTo>
                    <a:cubicBezTo>
                      <a:pt x="61" y="46"/>
                      <a:pt x="66" y="41"/>
                      <a:pt x="69" y="40"/>
                    </a:cubicBezTo>
                    <a:cubicBezTo>
                      <a:pt x="72" y="34"/>
                      <a:pt x="77" y="26"/>
                      <a:pt x="81" y="22"/>
                    </a:cubicBezTo>
                    <a:cubicBezTo>
                      <a:pt x="82" y="18"/>
                      <a:pt x="83" y="14"/>
                      <a:pt x="84" y="10"/>
                    </a:cubicBezTo>
                    <a:cubicBezTo>
                      <a:pt x="83" y="1"/>
                      <a:pt x="85" y="4"/>
                      <a:pt x="81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00" name="Freeform 119"/>
              <p:cNvSpPr>
                <a:spLocks noChangeAspect="1"/>
              </p:cNvSpPr>
              <p:nvPr/>
            </p:nvSpPr>
            <p:spPr bwMode="auto">
              <a:xfrm>
                <a:off x="76" y="3503"/>
                <a:ext cx="176" cy="200"/>
              </a:xfrm>
              <a:custGeom>
                <a:avLst/>
                <a:gdLst>
                  <a:gd name="T0" fmla="*/ 2147483647 w 44"/>
                  <a:gd name="T1" fmla="*/ 0 h 50"/>
                  <a:gd name="T2" fmla="*/ 2147483647 w 44"/>
                  <a:gd name="T3" fmla="*/ 2147483647 h 50"/>
                  <a:gd name="T4" fmla="*/ 2147483647 w 44"/>
                  <a:gd name="T5" fmla="*/ 2147483647 h 50"/>
                  <a:gd name="T6" fmla="*/ 2147483647 w 44"/>
                  <a:gd name="T7" fmla="*/ 2147483647 h 50"/>
                  <a:gd name="T8" fmla="*/ 2147483647 w 44"/>
                  <a:gd name="T9" fmla="*/ 2147483647 h 50"/>
                  <a:gd name="T10" fmla="*/ 2147483647 w 44"/>
                  <a:gd name="T11" fmla="*/ 2147483647 h 50"/>
                  <a:gd name="T12" fmla="*/ 2147483647 w 44"/>
                  <a:gd name="T13" fmla="*/ 2147483647 h 50"/>
                  <a:gd name="T14" fmla="*/ 2147483647 w 44"/>
                  <a:gd name="T15" fmla="*/ 2147483647 h 50"/>
                  <a:gd name="T16" fmla="*/ 2147483647 w 44"/>
                  <a:gd name="T17" fmla="*/ 2147483647 h 50"/>
                  <a:gd name="T18" fmla="*/ 2147483647 w 44"/>
                  <a:gd name="T19" fmla="*/ 0 h 50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44"/>
                  <a:gd name="T31" fmla="*/ 0 h 50"/>
                  <a:gd name="T32" fmla="*/ 44 w 44"/>
                  <a:gd name="T33" fmla="*/ 50 h 50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44" h="50">
                    <a:moveTo>
                      <a:pt x="23" y="0"/>
                    </a:moveTo>
                    <a:cubicBezTo>
                      <a:pt x="38" y="10"/>
                      <a:pt x="20" y="24"/>
                      <a:pt x="41" y="31"/>
                    </a:cubicBezTo>
                    <a:cubicBezTo>
                      <a:pt x="44" y="39"/>
                      <a:pt x="38" y="45"/>
                      <a:pt x="31" y="46"/>
                    </a:cubicBezTo>
                    <a:cubicBezTo>
                      <a:pt x="30" y="46"/>
                      <a:pt x="26" y="50"/>
                      <a:pt x="25" y="49"/>
                    </a:cubicBezTo>
                    <a:cubicBezTo>
                      <a:pt x="18" y="46"/>
                      <a:pt x="19" y="35"/>
                      <a:pt x="16" y="30"/>
                    </a:cubicBezTo>
                    <a:cubicBezTo>
                      <a:pt x="11" y="22"/>
                      <a:pt x="11" y="22"/>
                      <a:pt x="4" y="18"/>
                    </a:cubicBezTo>
                    <a:cubicBezTo>
                      <a:pt x="0" y="10"/>
                      <a:pt x="4" y="9"/>
                      <a:pt x="12" y="7"/>
                    </a:cubicBezTo>
                    <a:cubicBezTo>
                      <a:pt x="14" y="7"/>
                      <a:pt x="16" y="7"/>
                      <a:pt x="17" y="8"/>
                    </a:cubicBezTo>
                    <a:cubicBezTo>
                      <a:pt x="18" y="9"/>
                      <a:pt x="19" y="12"/>
                      <a:pt x="19" y="12"/>
                    </a:cubicBezTo>
                    <a:lnTo>
                      <a:pt x="23" y="0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01" name="Freeform 120"/>
              <p:cNvSpPr>
                <a:spLocks noChangeAspect="1"/>
              </p:cNvSpPr>
              <p:nvPr/>
            </p:nvSpPr>
            <p:spPr bwMode="auto">
              <a:xfrm>
                <a:off x="12" y="3987"/>
                <a:ext cx="108" cy="128"/>
              </a:xfrm>
              <a:custGeom>
                <a:avLst/>
                <a:gdLst>
                  <a:gd name="T0" fmla="*/ 2147483647 w 27"/>
                  <a:gd name="T1" fmla="*/ 2147483647 h 32"/>
                  <a:gd name="T2" fmla="*/ 2147483647 w 27"/>
                  <a:gd name="T3" fmla="*/ 2147483647 h 32"/>
                  <a:gd name="T4" fmla="*/ 2147483647 w 27"/>
                  <a:gd name="T5" fmla="*/ 2147483647 h 32"/>
                  <a:gd name="T6" fmla="*/ 2147483647 w 27"/>
                  <a:gd name="T7" fmla="*/ 2147483647 h 32"/>
                  <a:gd name="T8" fmla="*/ 2147483647 w 27"/>
                  <a:gd name="T9" fmla="*/ 2147483647 h 32"/>
                  <a:gd name="T10" fmla="*/ 2147483647 w 27"/>
                  <a:gd name="T11" fmla="*/ 2147483647 h 32"/>
                  <a:gd name="T12" fmla="*/ 2147483647 w 27"/>
                  <a:gd name="T13" fmla="*/ 2147483647 h 32"/>
                  <a:gd name="T14" fmla="*/ 2147483647 w 27"/>
                  <a:gd name="T15" fmla="*/ 2147483647 h 3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7"/>
                  <a:gd name="T25" fmla="*/ 0 h 32"/>
                  <a:gd name="T26" fmla="*/ 27 w 27"/>
                  <a:gd name="T27" fmla="*/ 32 h 3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7" h="32">
                    <a:moveTo>
                      <a:pt x="8" y="7"/>
                    </a:moveTo>
                    <a:cubicBezTo>
                      <a:pt x="0" y="11"/>
                      <a:pt x="1" y="18"/>
                      <a:pt x="8" y="23"/>
                    </a:cubicBezTo>
                    <a:cubicBezTo>
                      <a:pt x="9" y="24"/>
                      <a:pt x="10" y="25"/>
                      <a:pt x="10" y="26"/>
                    </a:cubicBezTo>
                    <a:cubicBezTo>
                      <a:pt x="10" y="27"/>
                      <a:pt x="10" y="29"/>
                      <a:pt x="9" y="30"/>
                    </a:cubicBezTo>
                    <a:cubicBezTo>
                      <a:pt x="8" y="31"/>
                      <a:pt x="5" y="32"/>
                      <a:pt x="6" y="32"/>
                    </a:cubicBezTo>
                    <a:cubicBezTo>
                      <a:pt x="10" y="32"/>
                      <a:pt x="13" y="31"/>
                      <a:pt x="17" y="31"/>
                    </a:cubicBezTo>
                    <a:cubicBezTo>
                      <a:pt x="25" y="25"/>
                      <a:pt x="16" y="19"/>
                      <a:pt x="27" y="12"/>
                    </a:cubicBezTo>
                    <a:cubicBezTo>
                      <a:pt x="24" y="0"/>
                      <a:pt x="0" y="18"/>
                      <a:pt x="8" y="7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02" name="Freeform 121"/>
              <p:cNvSpPr>
                <a:spLocks noChangeAspect="1"/>
              </p:cNvSpPr>
              <p:nvPr/>
            </p:nvSpPr>
            <p:spPr bwMode="auto">
              <a:xfrm>
                <a:off x="172" y="4495"/>
                <a:ext cx="128" cy="100"/>
              </a:xfrm>
              <a:custGeom>
                <a:avLst/>
                <a:gdLst>
                  <a:gd name="T0" fmla="*/ 2147483647 w 32"/>
                  <a:gd name="T1" fmla="*/ 0 h 25"/>
                  <a:gd name="T2" fmla="*/ 2147483647 w 32"/>
                  <a:gd name="T3" fmla="*/ 2147483647 h 25"/>
                  <a:gd name="T4" fmla="*/ 2147483647 w 32"/>
                  <a:gd name="T5" fmla="*/ 2147483647 h 25"/>
                  <a:gd name="T6" fmla="*/ 0 w 32"/>
                  <a:gd name="T7" fmla="*/ 2147483647 h 25"/>
                  <a:gd name="T8" fmla="*/ 2147483647 w 32"/>
                  <a:gd name="T9" fmla="*/ 2147483647 h 25"/>
                  <a:gd name="T10" fmla="*/ 2147483647 w 32"/>
                  <a:gd name="T11" fmla="*/ 2147483647 h 25"/>
                  <a:gd name="T12" fmla="*/ 2147483647 w 32"/>
                  <a:gd name="T13" fmla="*/ 2147483647 h 25"/>
                  <a:gd name="T14" fmla="*/ 2147483647 w 32"/>
                  <a:gd name="T15" fmla="*/ 0 h 25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2"/>
                  <a:gd name="T25" fmla="*/ 0 h 25"/>
                  <a:gd name="T26" fmla="*/ 32 w 32"/>
                  <a:gd name="T27" fmla="*/ 25 h 25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2" h="25">
                    <a:moveTo>
                      <a:pt x="19" y="0"/>
                    </a:moveTo>
                    <a:cubicBezTo>
                      <a:pt x="18" y="3"/>
                      <a:pt x="15" y="8"/>
                      <a:pt x="13" y="10"/>
                    </a:cubicBezTo>
                    <a:cubicBezTo>
                      <a:pt x="11" y="12"/>
                      <a:pt x="7" y="14"/>
                      <a:pt x="7" y="14"/>
                    </a:cubicBezTo>
                    <a:cubicBezTo>
                      <a:pt x="5" y="17"/>
                      <a:pt x="2" y="20"/>
                      <a:pt x="0" y="23"/>
                    </a:cubicBezTo>
                    <a:cubicBezTo>
                      <a:pt x="7" y="25"/>
                      <a:pt x="12" y="25"/>
                      <a:pt x="19" y="24"/>
                    </a:cubicBezTo>
                    <a:cubicBezTo>
                      <a:pt x="22" y="22"/>
                      <a:pt x="24" y="19"/>
                      <a:pt x="28" y="18"/>
                    </a:cubicBezTo>
                    <a:cubicBezTo>
                      <a:pt x="30" y="10"/>
                      <a:pt x="32" y="4"/>
                      <a:pt x="23" y="1"/>
                    </a:cubicBezTo>
                    <a:cubicBezTo>
                      <a:pt x="17" y="2"/>
                      <a:pt x="14" y="9"/>
                      <a:pt x="19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03" name="Freeform 122"/>
              <p:cNvSpPr>
                <a:spLocks noChangeAspect="1"/>
              </p:cNvSpPr>
              <p:nvPr/>
            </p:nvSpPr>
            <p:spPr bwMode="auto">
              <a:xfrm>
                <a:off x="152" y="4783"/>
                <a:ext cx="112" cy="100"/>
              </a:xfrm>
              <a:custGeom>
                <a:avLst/>
                <a:gdLst>
                  <a:gd name="T0" fmla="*/ 2147483647 w 28"/>
                  <a:gd name="T1" fmla="*/ 0 h 25"/>
                  <a:gd name="T2" fmla="*/ 2147483647 w 28"/>
                  <a:gd name="T3" fmla="*/ 2147483647 h 25"/>
                  <a:gd name="T4" fmla="*/ 2147483647 w 28"/>
                  <a:gd name="T5" fmla="*/ 2147483647 h 25"/>
                  <a:gd name="T6" fmla="*/ 2147483647 w 28"/>
                  <a:gd name="T7" fmla="*/ 2147483647 h 25"/>
                  <a:gd name="T8" fmla="*/ 2147483647 w 28"/>
                  <a:gd name="T9" fmla="*/ 2147483647 h 25"/>
                  <a:gd name="T10" fmla="*/ 2147483647 w 28"/>
                  <a:gd name="T11" fmla="*/ 0 h 2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8"/>
                  <a:gd name="T19" fmla="*/ 0 h 25"/>
                  <a:gd name="T20" fmla="*/ 28 w 28"/>
                  <a:gd name="T21" fmla="*/ 25 h 2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8" h="25">
                    <a:moveTo>
                      <a:pt x="11" y="0"/>
                    </a:moveTo>
                    <a:cubicBezTo>
                      <a:pt x="19" y="2"/>
                      <a:pt x="23" y="4"/>
                      <a:pt x="28" y="10"/>
                    </a:cubicBezTo>
                    <a:cubicBezTo>
                      <a:pt x="26" y="15"/>
                      <a:pt x="21" y="15"/>
                      <a:pt x="16" y="17"/>
                    </a:cubicBezTo>
                    <a:cubicBezTo>
                      <a:pt x="8" y="25"/>
                      <a:pt x="9" y="14"/>
                      <a:pt x="3" y="12"/>
                    </a:cubicBezTo>
                    <a:cubicBezTo>
                      <a:pt x="0" y="5"/>
                      <a:pt x="2" y="5"/>
                      <a:pt x="9" y="4"/>
                    </a:cubicBezTo>
                    <a:cubicBezTo>
                      <a:pt x="13" y="2"/>
                      <a:pt x="18" y="2"/>
                      <a:pt x="11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04" name="Freeform 123"/>
              <p:cNvSpPr>
                <a:spLocks noChangeAspect="1"/>
              </p:cNvSpPr>
              <p:nvPr/>
            </p:nvSpPr>
            <p:spPr bwMode="auto">
              <a:xfrm>
                <a:off x="-236" y="3311"/>
                <a:ext cx="1479" cy="2412"/>
              </a:xfrm>
              <a:custGeom>
                <a:avLst/>
                <a:gdLst>
                  <a:gd name="T0" fmla="*/ 2147483647 w 370"/>
                  <a:gd name="T1" fmla="*/ 2147483647 h 603"/>
                  <a:gd name="T2" fmla="*/ 2147483647 w 370"/>
                  <a:gd name="T3" fmla="*/ 2147483647 h 603"/>
                  <a:gd name="T4" fmla="*/ 2147483647 w 370"/>
                  <a:gd name="T5" fmla="*/ 2147483647 h 603"/>
                  <a:gd name="T6" fmla="*/ 2147483647 w 370"/>
                  <a:gd name="T7" fmla="*/ 2147483647 h 603"/>
                  <a:gd name="T8" fmla="*/ 2147483647 w 370"/>
                  <a:gd name="T9" fmla="*/ 2147483647 h 603"/>
                  <a:gd name="T10" fmla="*/ 2147483647 w 370"/>
                  <a:gd name="T11" fmla="*/ 2147483647 h 603"/>
                  <a:gd name="T12" fmla="*/ 2147483647 w 370"/>
                  <a:gd name="T13" fmla="*/ 2147483647 h 603"/>
                  <a:gd name="T14" fmla="*/ 2147483647 w 370"/>
                  <a:gd name="T15" fmla="*/ 2147483647 h 603"/>
                  <a:gd name="T16" fmla="*/ 2147483647 w 370"/>
                  <a:gd name="T17" fmla="*/ 2147483647 h 603"/>
                  <a:gd name="T18" fmla="*/ 2147483647 w 370"/>
                  <a:gd name="T19" fmla="*/ 2147483647 h 603"/>
                  <a:gd name="T20" fmla="*/ 2147483647 w 370"/>
                  <a:gd name="T21" fmla="*/ 2147483647 h 603"/>
                  <a:gd name="T22" fmla="*/ 2147483647 w 370"/>
                  <a:gd name="T23" fmla="*/ 2147483647 h 603"/>
                  <a:gd name="T24" fmla="*/ 2147483647 w 370"/>
                  <a:gd name="T25" fmla="*/ 2147483647 h 603"/>
                  <a:gd name="T26" fmla="*/ 2147483647 w 370"/>
                  <a:gd name="T27" fmla="*/ 2147483647 h 603"/>
                  <a:gd name="T28" fmla="*/ 2147483647 w 370"/>
                  <a:gd name="T29" fmla="*/ 2147483647 h 603"/>
                  <a:gd name="T30" fmla="*/ 2147483647 w 370"/>
                  <a:gd name="T31" fmla="*/ 2147483647 h 603"/>
                  <a:gd name="T32" fmla="*/ 2147483647 w 370"/>
                  <a:gd name="T33" fmla="*/ 2147483647 h 603"/>
                  <a:gd name="T34" fmla="*/ 2147483647 w 370"/>
                  <a:gd name="T35" fmla="*/ 2147483647 h 603"/>
                  <a:gd name="T36" fmla="*/ 2147483647 w 370"/>
                  <a:gd name="T37" fmla="*/ 2147483647 h 603"/>
                  <a:gd name="T38" fmla="*/ 2147483647 w 370"/>
                  <a:gd name="T39" fmla="*/ 2147483647 h 603"/>
                  <a:gd name="T40" fmla="*/ 2147483647 w 370"/>
                  <a:gd name="T41" fmla="*/ 2147483647 h 603"/>
                  <a:gd name="T42" fmla="*/ 2147483647 w 370"/>
                  <a:gd name="T43" fmla="*/ 2147483647 h 603"/>
                  <a:gd name="T44" fmla="*/ 2147483647 w 370"/>
                  <a:gd name="T45" fmla="*/ 2147483647 h 603"/>
                  <a:gd name="T46" fmla="*/ 2147483647 w 370"/>
                  <a:gd name="T47" fmla="*/ 2147483647 h 603"/>
                  <a:gd name="T48" fmla="*/ 2147483647 w 370"/>
                  <a:gd name="T49" fmla="*/ 2147483647 h 603"/>
                  <a:gd name="T50" fmla="*/ 2147483647 w 370"/>
                  <a:gd name="T51" fmla="*/ 2147483647 h 603"/>
                  <a:gd name="T52" fmla="*/ 2147483647 w 370"/>
                  <a:gd name="T53" fmla="*/ 2147483647 h 603"/>
                  <a:gd name="T54" fmla="*/ 2147483647 w 370"/>
                  <a:gd name="T55" fmla="*/ 2147483647 h 603"/>
                  <a:gd name="T56" fmla="*/ 2147483647 w 370"/>
                  <a:gd name="T57" fmla="*/ 2147483647 h 603"/>
                  <a:gd name="T58" fmla="*/ 2147483647 w 370"/>
                  <a:gd name="T59" fmla="*/ 2147483647 h 603"/>
                  <a:gd name="T60" fmla="*/ 2147483647 w 370"/>
                  <a:gd name="T61" fmla="*/ 2147483647 h 603"/>
                  <a:gd name="T62" fmla="*/ 2147483647 w 370"/>
                  <a:gd name="T63" fmla="*/ 2147483647 h 603"/>
                  <a:gd name="T64" fmla="*/ 2147483647 w 370"/>
                  <a:gd name="T65" fmla="*/ 2147483647 h 603"/>
                  <a:gd name="T66" fmla="*/ 2147483647 w 370"/>
                  <a:gd name="T67" fmla="*/ 2147483647 h 603"/>
                  <a:gd name="T68" fmla="*/ 2147483647 w 370"/>
                  <a:gd name="T69" fmla="*/ 2147483647 h 603"/>
                  <a:gd name="T70" fmla="*/ 2147483647 w 370"/>
                  <a:gd name="T71" fmla="*/ 2147483647 h 603"/>
                  <a:gd name="T72" fmla="*/ 2147483647 w 370"/>
                  <a:gd name="T73" fmla="*/ 2147483647 h 603"/>
                  <a:gd name="T74" fmla="*/ 2147483647 w 370"/>
                  <a:gd name="T75" fmla="*/ 2147483647 h 603"/>
                  <a:gd name="T76" fmla="*/ 2147483647 w 370"/>
                  <a:gd name="T77" fmla="*/ 2147483647 h 603"/>
                  <a:gd name="T78" fmla="*/ 2147483647 w 370"/>
                  <a:gd name="T79" fmla="*/ 2147483647 h 603"/>
                  <a:gd name="T80" fmla="*/ 2147483647 w 370"/>
                  <a:gd name="T81" fmla="*/ 2147483647 h 603"/>
                  <a:gd name="T82" fmla="*/ 2147483647 w 370"/>
                  <a:gd name="T83" fmla="*/ 2147483647 h 603"/>
                  <a:gd name="T84" fmla="*/ 2147483647 w 370"/>
                  <a:gd name="T85" fmla="*/ 2147483647 h 603"/>
                  <a:gd name="T86" fmla="*/ 2147483647 w 370"/>
                  <a:gd name="T87" fmla="*/ 2147483647 h 603"/>
                  <a:gd name="T88" fmla="*/ 2147483647 w 370"/>
                  <a:gd name="T89" fmla="*/ 2147483647 h 603"/>
                  <a:gd name="T90" fmla="*/ 2147483647 w 370"/>
                  <a:gd name="T91" fmla="*/ 2147483647 h 603"/>
                  <a:gd name="T92" fmla="*/ 2147483647 w 370"/>
                  <a:gd name="T93" fmla="*/ 2147483647 h 603"/>
                  <a:gd name="T94" fmla="*/ 2147483647 w 370"/>
                  <a:gd name="T95" fmla="*/ 2147483647 h 603"/>
                  <a:gd name="T96" fmla="*/ 2147483647 w 370"/>
                  <a:gd name="T97" fmla="*/ 2147483647 h 603"/>
                  <a:gd name="T98" fmla="*/ 2147483647 w 370"/>
                  <a:gd name="T99" fmla="*/ 2147483647 h 603"/>
                  <a:gd name="T100" fmla="*/ 2147483647 w 370"/>
                  <a:gd name="T101" fmla="*/ 2147483647 h 603"/>
                  <a:gd name="T102" fmla="*/ 2147483647 w 370"/>
                  <a:gd name="T103" fmla="*/ 2147483647 h 603"/>
                  <a:gd name="T104" fmla="*/ 2147483647 w 370"/>
                  <a:gd name="T105" fmla="*/ 2147483647 h 603"/>
                  <a:gd name="T106" fmla="*/ 2147483647 w 370"/>
                  <a:gd name="T107" fmla="*/ 2147483647 h 603"/>
                  <a:gd name="T108" fmla="*/ 2147483647 w 370"/>
                  <a:gd name="T109" fmla="*/ 2147483647 h 603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370"/>
                  <a:gd name="T166" fmla="*/ 0 h 603"/>
                  <a:gd name="T167" fmla="*/ 370 w 370"/>
                  <a:gd name="T168" fmla="*/ 603 h 603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370" h="603">
                    <a:moveTo>
                      <a:pt x="174" y="3"/>
                    </a:moveTo>
                    <a:cubicBezTo>
                      <a:pt x="184" y="2"/>
                      <a:pt x="190" y="6"/>
                      <a:pt x="199" y="7"/>
                    </a:cubicBezTo>
                    <a:cubicBezTo>
                      <a:pt x="217" y="6"/>
                      <a:pt x="224" y="4"/>
                      <a:pt x="240" y="6"/>
                    </a:cubicBezTo>
                    <a:cubicBezTo>
                      <a:pt x="237" y="29"/>
                      <a:pt x="221" y="37"/>
                      <a:pt x="199" y="40"/>
                    </a:cubicBezTo>
                    <a:cubicBezTo>
                      <a:pt x="193" y="44"/>
                      <a:pt x="192" y="44"/>
                      <a:pt x="190" y="51"/>
                    </a:cubicBezTo>
                    <a:cubicBezTo>
                      <a:pt x="192" y="60"/>
                      <a:pt x="193" y="64"/>
                      <a:pt x="185" y="69"/>
                    </a:cubicBezTo>
                    <a:cubicBezTo>
                      <a:pt x="183" y="75"/>
                      <a:pt x="182" y="78"/>
                      <a:pt x="176" y="79"/>
                    </a:cubicBezTo>
                    <a:cubicBezTo>
                      <a:pt x="173" y="80"/>
                      <a:pt x="165" y="82"/>
                      <a:pt x="168" y="81"/>
                    </a:cubicBezTo>
                    <a:cubicBezTo>
                      <a:pt x="172" y="80"/>
                      <a:pt x="177" y="79"/>
                      <a:pt x="181" y="78"/>
                    </a:cubicBezTo>
                    <a:cubicBezTo>
                      <a:pt x="188" y="73"/>
                      <a:pt x="195" y="75"/>
                      <a:pt x="204" y="74"/>
                    </a:cubicBezTo>
                    <a:cubicBezTo>
                      <a:pt x="224" y="70"/>
                      <a:pt x="243" y="79"/>
                      <a:pt x="263" y="82"/>
                    </a:cubicBezTo>
                    <a:cubicBezTo>
                      <a:pt x="268" y="85"/>
                      <a:pt x="269" y="83"/>
                      <a:pt x="270" y="90"/>
                    </a:cubicBezTo>
                    <a:cubicBezTo>
                      <a:pt x="269" y="97"/>
                      <a:pt x="272" y="104"/>
                      <a:pt x="265" y="106"/>
                    </a:cubicBezTo>
                    <a:cubicBezTo>
                      <a:pt x="260" y="114"/>
                      <a:pt x="254" y="126"/>
                      <a:pt x="248" y="132"/>
                    </a:cubicBezTo>
                    <a:cubicBezTo>
                      <a:pt x="245" y="141"/>
                      <a:pt x="243" y="146"/>
                      <a:pt x="235" y="152"/>
                    </a:cubicBezTo>
                    <a:cubicBezTo>
                      <a:pt x="233" y="157"/>
                      <a:pt x="230" y="161"/>
                      <a:pt x="227" y="165"/>
                    </a:cubicBezTo>
                    <a:cubicBezTo>
                      <a:pt x="222" y="164"/>
                      <a:pt x="217" y="163"/>
                      <a:pt x="212" y="160"/>
                    </a:cubicBezTo>
                    <a:cubicBezTo>
                      <a:pt x="209" y="161"/>
                      <a:pt x="205" y="160"/>
                      <a:pt x="202" y="162"/>
                    </a:cubicBezTo>
                    <a:cubicBezTo>
                      <a:pt x="202" y="162"/>
                      <a:pt x="208" y="165"/>
                      <a:pt x="212" y="166"/>
                    </a:cubicBezTo>
                    <a:cubicBezTo>
                      <a:pt x="217" y="168"/>
                      <a:pt x="222" y="169"/>
                      <a:pt x="226" y="172"/>
                    </a:cubicBezTo>
                    <a:cubicBezTo>
                      <a:pt x="223" y="175"/>
                      <a:pt x="221" y="177"/>
                      <a:pt x="217" y="178"/>
                    </a:cubicBezTo>
                    <a:cubicBezTo>
                      <a:pt x="212" y="185"/>
                      <a:pt x="201" y="183"/>
                      <a:pt x="194" y="184"/>
                    </a:cubicBezTo>
                    <a:cubicBezTo>
                      <a:pt x="191" y="186"/>
                      <a:pt x="188" y="187"/>
                      <a:pt x="184" y="188"/>
                    </a:cubicBezTo>
                    <a:cubicBezTo>
                      <a:pt x="180" y="195"/>
                      <a:pt x="187" y="194"/>
                      <a:pt x="193" y="196"/>
                    </a:cubicBezTo>
                    <a:cubicBezTo>
                      <a:pt x="205" y="195"/>
                      <a:pt x="206" y="189"/>
                      <a:pt x="216" y="192"/>
                    </a:cubicBezTo>
                    <a:cubicBezTo>
                      <a:pt x="219" y="194"/>
                      <a:pt x="230" y="198"/>
                      <a:pt x="233" y="200"/>
                    </a:cubicBezTo>
                    <a:cubicBezTo>
                      <a:pt x="236" y="204"/>
                      <a:pt x="238" y="209"/>
                      <a:pt x="242" y="212"/>
                    </a:cubicBezTo>
                    <a:cubicBezTo>
                      <a:pt x="243" y="216"/>
                      <a:pt x="241" y="221"/>
                      <a:pt x="245" y="224"/>
                    </a:cubicBezTo>
                    <a:cubicBezTo>
                      <a:pt x="248" y="235"/>
                      <a:pt x="243" y="233"/>
                      <a:pt x="254" y="237"/>
                    </a:cubicBezTo>
                    <a:cubicBezTo>
                      <a:pt x="253" y="242"/>
                      <a:pt x="262" y="263"/>
                      <a:pt x="260" y="268"/>
                    </a:cubicBezTo>
                    <a:cubicBezTo>
                      <a:pt x="259" y="270"/>
                      <a:pt x="258" y="274"/>
                      <a:pt x="258" y="274"/>
                    </a:cubicBezTo>
                    <a:cubicBezTo>
                      <a:pt x="259" y="296"/>
                      <a:pt x="255" y="289"/>
                      <a:pt x="266" y="296"/>
                    </a:cubicBezTo>
                    <a:cubicBezTo>
                      <a:pt x="269" y="302"/>
                      <a:pt x="268" y="299"/>
                      <a:pt x="270" y="306"/>
                    </a:cubicBezTo>
                    <a:cubicBezTo>
                      <a:pt x="271" y="308"/>
                      <a:pt x="272" y="312"/>
                      <a:pt x="272" y="312"/>
                    </a:cubicBezTo>
                    <a:cubicBezTo>
                      <a:pt x="275" y="310"/>
                      <a:pt x="289" y="311"/>
                      <a:pt x="270" y="315"/>
                    </a:cubicBezTo>
                    <a:cubicBezTo>
                      <a:pt x="272" y="316"/>
                      <a:pt x="283" y="316"/>
                      <a:pt x="287" y="319"/>
                    </a:cubicBezTo>
                    <a:cubicBezTo>
                      <a:pt x="290" y="311"/>
                      <a:pt x="278" y="330"/>
                      <a:pt x="296" y="333"/>
                    </a:cubicBezTo>
                    <a:cubicBezTo>
                      <a:pt x="300" y="339"/>
                      <a:pt x="303" y="345"/>
                      <a:pt x="305" y="352"/>
                    </a:cubicBezTo>
                    <a:cubicBezTo>
                      <a:pt x="304" y="364"/>
                      <a:pt x="301" y="372"/>
                      <a:pt x="305" y="385"/>
                    </a:cubicBezTo>
                    <a:cubicBezTo>
                      <a:pt x="298" y="387"/>
                      <a:pt x="299" y="379"/>
                      <a:pt x="294" y="376"/>
                    </a:cubicBezTo>
                    <a:cubicBezTo>
                      <a:pt x="289" y="373"/>
                      <a:pt x="281" y="374"/>
                      <a:pt x="275" y="372"/>
                    </a:cubicBezTo>
                    <a:cubicBezTo>
                      <a:pt x="275" y="372"/>
                      <a:pt x="267" y="373"/>
                      <a:pt x="269" y="376"/>
                    </a:cubicBezTo>
                    <a:cubicBezTo>
                      <a:pt x="271" y="380"/>
                      <a:pt x="284" y="386"/>
                      <a:pt x="288" y="387"/>
                    </a:cubicBezTo>
                    <a:cubicBezTo>
                      <a:pt x="291" y="389"/>
                      <a:pt x="299" y="392"/>
                      <a:pt x="299" y="392"/>
                    </a:cubicBezTo>
                    <a:cubicBezTo>
                      <a:pt x="302" y="396"/>
                      <a:pt x="306" y="398"/>
                      <a:pt x="310" y="402"/>
                    </a:cubicBezTo>
                    <a:cubicBezTo>
                      <a:pt x="312" y="409"/>
                      <a:pt x="315" y="419"/>
                      <a:pt x="308" y="424"/>
                    </a:cubicBezTo>
                    <a:cubicBezTo>
                      <a:pt x="305" y="428"/>
                      <a:pt x="302" y="429"/>
                      <a:pt x="301" y="434"/>
                    </a:cubicBezTo>
                    <a:cubicBezTo>
                      <a:pt x="301" y="438"/>
                      <a:pt x="301" y="442"/>
                      <a:pt x="302" y="445"/>
                    </a:cubicBezTo>
                    <a:cubicBezTo>
                      <a:pt x="303" y="448"/>
                      <a:pt x="311" y="444"/>
                      <a:pt x="311" y="444"/>
                    </a:cubicBezTo>
                    <a:cubicBezTo>
                      <a:pt x="314" y="440"/>
                      <a:pt x="315" y="440"/>
                      <a:pt x="320" y="439"/>
                    </a:cubicBezTo>
                    <a:cubicBezTo>
                      <a:pt x="338" y="440"/>
                      <a:pt x="332" y="431"/>
                      <a:pt x="342" y="436"/>
                    </a:cubicBezTo>
                    <a:cubicBezTo>
                      <a:pt x="345" y="438"/>
                      <a:pt x="354" y="440"/>
                      <a:pt x="354" y="440"/>
                    </a:cubicBezTo>
                    <a:cubicBezTo>
                      <a:pt x="357" y="443"/>
                      <a:pt x="360" y="450"/>
                      <a:pt x="364" y="451"/>
                    </a:cubicBezTo>
                    <a:cubicBezTo>
                      <a:pt x="366" y="453"/>
                      <a:pt x="364" y="457"/>
                      <a:pt x="365" y="459"/>
                    </a:cubicBezTo>
                    <a:cubicBezTo>
                      <a:pt x="366" y="461"/>
                      <a:pt x="367" y="465"/>
                      <a:pt x="367" y="465"/>
                    </a:cubicBezTo>
                    <a:cubicBezTo>
                      <a:pt x="368" y="475"/>
                      <a:pt x="370" y="488"/>
                      <a:pt x="361" y="494"/>
                    </a:cubicBezTo>
                    <a:cubicBezTo>
                      <a:pt x="358" y="501"/>
                      <a:pt x="354" y="505"/>
                      <a:pt x="351" y="510"/>
                    </a:cubicBezTo>
                    <a:cubicBezTo>
                      <a:pt x="347" y="512"/>
                      <a:pt x="338" y="506"/>
                      <a:pt x="336" y="508"/>
                    </a:cubicBezTo>
                    <a:cubicBezTo>
                      <a:pt x="334" y="510"/>
                      <a:pt x="343" y="520"/>
                      <a:pt x="341" y="522"/>
                    </a:cubicBezTo>
                    <a:cubicBezTo>
                      <a:pt x="340" y="525"/>
                      <a:pt x="327" y="521"/>
                      <a:pt x="324" y="522"/>
                    </a:cubicBezTo>
                    <a:cubicBezTo>
                      <a:pt x="321" y="523"/>
                      <a:pt x="327" y="527"/>
                      <a:pt x="325" y="530"/>
                    </a:cubicBezTo>
                    <a:cubicBezTo>
                      <a:pt x="323" y="533"/>
                      <a:pt x="315" y="536"/>
                      <a:pt x="311" y="538"/>
                    </a:cubicBezTo>
                    <a:cubicBezTo>
                      <a:pt x="310" y="541"/>
                      <a:pt x="304" y="544"/>
                      <a:pt x="304" y="544"/>
                    </a:cubicBezTo>
                    <a:cubicBezTo>
                      <a:pt x="307" y="552"/>
                      <a:pt x="307" y="552"/>
                      <a:pt x="316" y="553"/>
                    </a:cubicBezTo>
                    <a:cubicBezTo>
                      <a:pt x="320" y="552"/>
                      <a:pt x="324" y="549"/>
                      <a:pt x="328" y="549"/>
                    </a:cubicBezTo>
                    <a:cubicBezTo>
                      <a:pt x="329" y="549"/>
                      <a:pt x="330" y="551"/>
                      <a:pt x="331" y="552"/>
                    </a:cubicBezTo>
                    <a:cubicBezTo>
                      <a:pt x="335" y="554"/>
                      <a:pt x="340" y="554"/>
                      <a:pt x="344" y="554"/>
                    </a:cubicBezTo>
                    <a:cubicBezTo>
                      <a:pt x="343" y="561"/>
                      <a:pt x="343" y="568"/>
                      <a:pt x="338" y="573"/>
                    </a:cubicBezTo>
                    <a:cubicBezTo>
                      <a:pt x="335" y="582"/>
                      <a:pt x="325" y="583"/>
                      <a:pt x="317" y="584"/>
                    </a:cubicBezTo>
                    <a:cubicBezTo>
                      <a:pt x="311" y="586"/>
                      <a:pt x="305" y="588"/>
                      <a:pt x="300" y="591"/>
                    </a:cubicBezTo>
                    <a:cubicBezTo>
                      <a:pt x="297" y="593"/>
                      <a:pt x="290" y="596"/>
                      <a:pt x="290" y="596"/>
                    </a:cubicBezTo>
                    <a:cubicBezTo>
                      <a:pt x="288" y="596"/>
                      <a:pt x="286" y="596"/>
                      <a:pt x="284" y="595"/>
                    </a:cubicBezTo>
                    <a:cubicBezTo>
                      <a:pt x="283" y="594"/>
                      <a:pt x="284" y="593"/>
                      <a:pt x="283" y="592"/>
                    </a:cubicBezTo>
                    <a:cubicBezTo>
                      <a:pt x="281" y="591"/>
                      <a:pt x="277" y="590"/>
                      <a:pt x="277" y="590"/>
                    </a:cubicBezTo>
                    <a:cubicBezTo>
                      <a:pt x="272" y="589"/>
                      <a:pt x="256" y="586"/>
                      <a:pt x="251" y="585"/>
                    </a:cubicBezTo>
                    <a:cubicBezTo>
                      <a:pt x="249" y="584"/>
                      <a:pt x="245" y="583"/>
                      <a:pt x="245" y="583"/>
                    </a:cubicBezTo>
                    <a:cubicBezTo>
                      <a:pt x="235" y="585"/>
                      <a:pt x="228" y="580"/>
                      <a:pt x="218" y="579"/>
                    </a:cubicBezTo>
                    <a:cubicBezTo>
                      <a:pt x="219" y="579"/>
                      <a:pt x="220" y="577"/>
                      <a:pt x="221" y="578"/>
                    </a:cubicBezTo>
                    <a:cubicBezTo>
                      <a:pt x="222" y="579"/>
                      <a:pt x="221" y="582"/>
                      <a:pt x="220" y="582"/>
                    </a:cubicBezTo>
                    <a:cubicBezTo>
                      <a:pt x="215" y="582"/>
                      <a:pt x="206" y="579"/>
                      <a:pt x="206" y="579"/>
                    </a:cubicBezTo>
                    <a:cubicBezTo>
                      <a:pt x="201" y="581"/>
                      <a:pt x="201" y="585"/>
                      <a:pt x="198" y="580"/>
                    </a:cubicBezTo>
                    <a:cubicBezTo>
                      <a:pt x="196" y="580"/>
                      <a:pt x="195" y="580"/>
                      <a:pt x="193" y="580"/>
                    </a:cubicBezTo>
                    <a:cubicBezTo>
                      <a:pt x="195" y="579"/>
                      <a:pt x="189" y="583"/>
                      <a:pt x="187" y="583"/>
                    </a:cubicBezTo>
                    <a:cubicBezTo>
                      <a:pt x="183" y="584"/>
                      <a:pt x="178" y="584"/>
                      <a:pt x="174" y="584"/>
                    </a:cubicBezTo>
                    <a:cubicBezTo>
                      <a:pt x="171" y="595"/>
                      <a:pt x="155" y="577"/>
                      <a:pt x="148" y="574"/>
                    </a:cubicBezTo>
                    <a:cubicBezTo>
                      <a:pt x="145" y="573"/>
                      <a:pt x="140" y="572"/>
                      <a:pt x="140" y="572"/>
                    </a:cubicBezTo>
                    <a:cubicBezTo>
                      <a:pt x="133" y="573"/>
                      <a:pt x="126" y="571"/>
                      <a:pt x="120" y="574"/>
                    </a:cubicBezTo>
                    <a:cubicBezTo>
                      <a:pt x="118" y="575"/>
                      <a:pt x="116" y="580"/>
                      <a:pt x="116" y="580"/>
                    </a:cubicBezTo>
                    <a:cubicBezTo>
                      <a:pt x="114" y="589"/>
                      <a:pt x="117" y="579"/>
                      <a:pt x="106" y="586"/>
                    </a:cubicBezTo>
                    <a:cubicBezTo>
                      <a:pt x="103" y="589"/>
                      <a:pt x="99" y="595"/>
                      <a:pt x="97" y="596"/>
                    </a:cubicBezTo>
                    <a:cubicBezTo>
                      <a:pt x="104" y="591"/>
                      <a:pt x="100" y="591"/>
                      <a:pt x="92" y="590"/>
                    </a:cubicBezTo>
                    <a:cubicBezTo>
                      <a:pt x="83" y="587"/>
                      <a:pt x="75" y="586"/>
                      <a:pt x="66" y="585"/>
                    </a:cubicBezTo>
                    <a:cubicBezTo>
                      <a:pt x="59" y="586"/>
                      <a:pt x="56" y="588"/>
                      <a:pt x="49" y="590"/>
                    </a:cubicBezTo>
                    <a:cubicBezTo>
                      <a:pt x="47" y="591"/>
                      <a:pt x="43" y="592"/>
                      <a:pt x="43" y="592"/>
                    </a:cubicBezTo>
                    <a:cubicBezTo>
                      <a:pt x="39" y="596"/>
                      <a:pt x="37" y="598"/>
                      <a:pt x="34" y="603"/>
                    </a:cubicBezTo>
                    <a:cubicBezTo>
                      <a:pt x="19" y="601"/>
                      <a:pt x="22" y="595"/>
                      <a:pt x="8" y="594"/>
                    </a:cubicBezTo>
                    <a:cubicBezTo>
                      <a:pt x="2" y="596"/>
                      <a:pt x="3" y="600"/>
                      <a:pt x="0" y="592"/>
                    </a:cubicBezTo>
                    <a:cubicBezTo>
                      <a:pt x="4" y="590"/>
                      <a:pt x="7" y="589"/>
                      <a:pt x="12" y="588"/>
                    </a:cubicBezTo>
                    <a:cubicBezTo>
                      <a:pt x="24" y="582"/>
                      <a:pt x="18" y="584"/>
                      <a:pt x="40" y="583"/>
                    </a:cubicBezTo>
                    <a:cubicBezTo>
                      <a:pt x="45" y="564"/>
                      <a:pt x="44" y="571"/>
                      <a:pt x="58" y="562"/>
                    </a:cubicBezTo>
                    <a:cubicBezTo>
                      <a:pt x="63" y="555"/>
                      <a:pt x="60" y="557"/>
                      <a:pt x="65" y="554"/>
                    </a:cubicBezTo>
                    <a:cubicBezTo>
                      <a:pt x="68" y="548"/>
                      <a:pt x="76" y="545"/>
                      <a:pt x="82" y="543"/>
                    </a:cubicBezTo>
                    <a:cubicBezTo>
                      <a:pt x="85" y="540"/>
                      <a:pt x="86" y="537"/>
                      <a:pt x="89" y="534"/>
                    </a:cubicBezTo>
                    <a:cubicBezTo>
                      <a:pt x="91" y="525"/>
                      <a:pt x="107" y="530"/>
                      <a:pt x="114" y="530"/>
                    </a:cubicBezTo>
                    <a:cubicBezTo>
                      <a:pt x="116" y="531"/>
                      <a:pt x="118" y="534"/>
                      <a:pt x="120" y="535"/>
                    </a:cubicBezTo>
                    <a:cubicBezTo>
                      <a:pt x="122" y="536"/>
                      <a:pt x="128" y="537"/>
                      <a:pt x="128" y="537"/>
                    </a:cubicBezTo>
                    <a:cubicBezTo>
                      <a:pt x="155" y="535"/>
                      <a:pt x="148" y="523"/>
                      <a:pt x="162" y="518"/>
                    </a:cubicBezTo>
                    <a:cubicBezTo>
                      <a:pt x="165" y="514"/>
                      <a:pt x="168" y="511"/>
                      <a:pt x="172" y="508"/>
                    </a:cubicBezTo>
                    <a:cubicBezTo>
                      <a:pt x="174" y="507"/>
                      <a:pt x="178" y="504"/>
                      <a:pt x="178" y="504"/>
                    </a:cubicBezTo>
                    <a:cubicBezTo>
                      <a:pt x="179" y="503"/>
                      <a:pt x="181" y="502"/>
                      <a:pt x="180" y="501"/>
                    </a:cubicBezTo>
                    <a:cubicBezTo>
                      <a:pt x="175" y="498"/>
                      <a:pt x="164" y="507"/>
                      <a:pt x="164" y="507"/>
                    </a:cubicBezTo>
                    <a:cubicBezTo>
                      <a:pt x="159" y="512"/>
                      <a:pt x="157" y="511"/>
                      <a:pt x="149" y="512"/>
                    </a:cubicBezTo>
                    <a:cubicBezTo>
                      <a:pt x="146" y="513"/>
                      <a:pt x="140" y="516"/>
                      <a:pt x="140" y="516"/>
                    </a:cubicBezTo>
                    <a:cubicBezTo>
                      <a:pt x="136" y="518"/>
                      <a:pt x="127" y="519"/>
                      <a:pt x="127" y="519"/>
                    </a:cubicBezTo>
                    <a:cubicBezTo>
                      <a:pt x="121" y="517"/>
                      <a:pt x="122" y="512"/>
                      <a:pt x="118" y="508"/>
                    </a:cubicBezTo>
                    <a:cubicBezTo>
                      <a:pt x="108" y="498"/>
                      <a:pt x="97" y="502"/>
                      <a:pt x="91" y="501"/>
                    </a:cubicBezTo>
                    <a:cubicBezTo>
                      <a:pt x="86" y="498"/>
                      <a:pt x="95" y="490"/>
                      <a:pt x="90" y="487"/>
                    </a:cubicBezTo>
                    <a:cubicBezTo>
                      <a:pt x="86" y="484"/>
                      <a:pt x="75" y="483"/>
                      <a:pt x="70" y="484"/>
                    </a:cubicBezTo>
                    <a:cubicBezTo>
                      <a:pt x="63" y="489"/>
                      <a:pt x="60" y="491"/>
                      <a:pt x="58" y="482"/>
                    </a:cubicBezTo>
                    <a:cubicBezTo>
                      <a:pt x="52" y="458"/>
                      <a:pt x="55" y="464"/>
                      <a:pt x="88" y="460"/>
                    </a:cubicBezTo>
                    <a:cubicBezTo>
                      <a:pt x="94" y="458"/>
                      <a:pt x="96" y="449"/>
                      <a:pt x="101" y="448"/>
                    </a:cubicBezTo>
                    <a:cubicBezTo>
                      <a:pt x="105" y="447"/>
                      <a:pt x="112" y="445"/>
                      <a:pt x="112" y="445"/>
                    </a:cubicBezTo>
                    <a:cubicBezTo>
                      <a:pt x="115" y="441"/>
                      <a:pt x="115" y="436"/>
                      <a:pt x="118" y="432"/>
                    </a:cubicBezTo>
                    <a:cubicBezTo>
                      <a:pt x="120" y="423"/>
                      <a:pt x="121" y="417"/>
                      <a:pt x="118" y="406"/>
                    </a:cubicBezTo>
                    <a:cubicBezTo>
                      <a:pt x="117" y="404"/>
                      <a:pt x="112" y="404"/>
                      <a:pt x="112" y="404"/>
                    </a:cubicBezTo>
                    <a:cubicBezTo>
                      <a:pt x="105" y="406"/>
                      <a:pt x="99" y="409"/>
                      <a:pt x="92" y="410"/>
                    </a:cubicBezTo>
                    <a:cubicBezTo>
                      <a:pt x="91" y="405"/>
                      <a:pt x="90" y="404"/>
                      <a:pt x="95" y="402"/>
                    </a:cubicBezTo>
                    <a:cubicBezTo>
                      <a:pt x="99" y="398"/>
                      <a:pt x="115" y="392"/>
                      <a:pt x="122" y="390"/>
                    </a:cubicBezTo>
                    <a:cubicBezTo>
                      <a:pt x="129" y="385"/>
                      <a:pt x="126" y="387"/>
                      <a:pt x="131" y="385"/>
                    </a:cubicBezTo>
                    <a:cubicBezTo>
                      <a:pt x="144" y="385"/>
                      <a:pt x="148" y="385"/>
                      <a:pt x="161" y="381"/>
                    </a:cubicBezTo>
                    <a:cubicBezTo>
                      <a:pt x="167" y="380"/>
                      <a:pt x="172" y="390"/>
                      <a:pt x="174" y="388"/>
                    </a:cubicBezTo>
                    <a:cubicBezTo>
                      <a:pt x="176" y="386"/>
                      <a:pt x="173" y="375"/>
                      <a:pt x="174" y="369"/>
                    </a:cubicBezTo>
                    <a:cubicBezTo>
                      <a:pt x="175" y="363"/>
                      <a:pt x="176" y="357"/>
                      <a:pt x="179" y="352"/>
                    </a:cubicBezTo>
                    <a:cubicBezTo>
                      <a:pt x="180" y="345"/>
                      <a:pt x="193" y="336"/>
                      <a:pt x="193" y="336"/>
                    </a:cubicBezTo>
                    <a:cubicBezTo>
                      <a:pt x="194" y="332"/>
                      <a:pt x="196" y="329"/>
                      <a:pt x="197" y="325"/>
                    </a:cubicBezTo>
                    <a:cubicBezTo>
                      <a:pt x="195" y="307"/>
                      <a:pt x="189" y="323"/>
                      <a:pt x="170" y="322"/>
                    </a:cubicBezTo>
                    <a:cubicBezTo>
                      <a:pt x="164" y="318"/>
                      <a:pt x="160" y="308"/>
                      <a:pt x="158" y="301"/>
                    </a:cubicBezTo>
                    <a:cubicBezTo>
                      <a:pt x="162" y="290"/>
                      <a:pt x="167" y="280"/>
                      <a:pt x="179" y="276"/>
                    </a:cubicBezTo>
                    <a:cubicBezTo>
                      <a:pt x="187" y="268"/>
                      <a:pt x="186" y="270"/>
                      <a:pt x="170" y="266"/>
                    </a:cubicBezTo>
                    <a:cubicBezTo>
                      <a:pt x="157" y="267"/>
                      <a:pt x="147" y="271"/>
                      <a:pt x="134" y="272"/>
                    </a:cubicBezTo>
                    <a:cubicBezTo>
                      <a:pt x="128" y="272"/>
                      <a:pt x="120" y="274"/>
                      <a:pt x="115" y="270"/>
                    </a:cubicBezTo>
                    <a:cubicBezTo>
                      <a:pt x="109" y="266"/>
                      <a:pt x="108" y="258"/>
                      <a:pt x="103" y="254"/>
                    </a:cubicBezTo>
                    <a:cubicBezTo>
                      <a:pt x="107" y="246"/>
                      <a:pt x="113" y="243"/>
                      <a:pt x="122" y="240"/>
                    </a:cubicBezTo>
                    <a:cubicBezTo>
                      <a:pt x="125" y="236"/>
                      <a:pt x="126" y="233"/>
                      <a:pt x="130" y="230"/>
                    </a:cubicBezTo>
                    <a:cubicBezTo>
                      <a:pt x="134" y="222"/>
                      <a:pt x="133" y="202"/>
                      <a:pt x="127" y="194"/>
                    </a:cubicBezTo>
                    <a:cubicBezTo>
                      <a:pt x="124" y="190"/>
                      <a:pt x="124" y="201"/>
                      <a:pt x="120" y="198"/>
                    </a:cubicBezTo>
                    <a:cubicBezTo>
                      <a:pt x="118" y="197"/>
                      <a:pt x="124" y="177"/>
                      <a:pt x="124" y="177"/>
                    </a:cubicBezTo>
                    <a:cubicBezTo>
                      <a:pt x="123" y="173"/>
                      <a:pt x="85" y="223"/>
                      <a:pt x="85" y="223"/>
                    </a:cubicBezTo>
                    <a:cubicBezTo>
                      <a:pt x="87" y="212"/>
                      <a:pt x="101" y="156"/>
                      <a:pt x="110" y="153"/>
                    </a:cubicBezTo>
                    <a:cubicBezTo>
                      <a:pt x="117" y="146"/>
                      <a:pt x="115" y="152"/>
                      <a:pt x="118" y="145"/>
                    </a:cubicBezTo>
                    <a:cubicBezTo>
                      <a:pt x="119" y="138"/>
                      <a:pt x="125" y="137"/>
                      <a:pt x="127" y="130"/>
                    </a:cubicBezTo>
                    <a:cubicBezTo>
                      <a:pt x="122" y="121"/>
                      <a:pt x="106" y="142"/>
                      <a:pt x="97" y="145"/>
                    </a:cubicBezTo>
                    <a:cubicBezTo>
                      <a:pt x="94" y="148"/>
                      <a:pt x="81" y="142"/>
                      <a:pt x="78" y="146"/>
                    </a:cubicBezTo>
                    <a:cubicBezTo>
                      <a:pt x="73" y="139"/>
                      <a:pt x="76" y="129"/>
                      <a:pt x="84" y="123"/>
                    </a:cubicBezTo>
                    <a:cubicBezTo>
                      <a:pt x="88" y="120"/>
                      <a:pt x="92" y="118"/>
                      <a:pt x="97" y="116"/>
                    </a:cubicBezTo>
                    <a:cubicBezTo>
                      <a:pt x="98" y="116"/>
                      <a:pt x="100" y="115"/>
                      <a:pt x="100" y="115"/>
                    </a:cubicBezTo>
                    <a:cubicBezTo>
                      <a:pt x="103" y="110"/>
                      <a:pt x="110" y="109"/>
                      <a:pt x="115" y="105"/>
                    </a:cubicBezTo>
                    <a:cubicBezTo>
                      <a:pt x="118" y="102"/>
                      <a:pt x="124" y="97"/>
                      <a:pt x="124" y="97"/>
                    </a:cubicBezTo>
                    <a:cubicBezTo>
                      <a:pt x="127" y="87"/>
                      <a:pt x="129" y="77"/>
                      <a:pt x="122" y="67"/>
                    </a:cubicBezTo>
                    <a:cubicBezTo>
                      <a:pt x="120" y="60"/>
                      <a:pt x="124" y="62"/>
                      <a:pt x="127" y="56"/>
                    </a:cubicBezTo>
                    <a:cubicBezTo>
                      <a:pt x="136" y="38"/>
                      <a:pt x="125" y="46"/>
                      <a:pt x="152" y="36"/>
                    </a:cubicBezTo>
                    <a:cubicBezTo>
                      <a:pt x="154" y="24"/>
                      <a:pt x="155" y="21"/>
                      <a:pt x="160" y="12"/>
                    </a:cubicBezTo>
                    <a:cubicBezTo>
                      <a:pt x="163" y="8"/>
                      <a:pt x="170" y="0"/>
                      <a:pt x="170" y="0"/>
                    </a:cubicBezTo>
                    <a:cubicBezTo>
                      <a:pt x="176" y="2"/>
                      <a:pt x="180" y="2"/>
                      <a:pt x="185" y="7"/>
                    </a:cubicBezTo>
                    <a:lnTo>
                      <a:pt x="174" y="3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05" name="Freeform 124"/>
              <p:cNvSpPr>
                <a:spLocks noChangeAspect="1"/>
              </p:cNvSpPr>
              <p:nvPr/>
            </p:nvSpPr>
            <p:spPr bwMode="auto">
              <a:xfrm>
                <a:off x="164" y="4091"/>
                <a:ext cx="84" cy="108"/>
              </a:xfrm>
              <a:custGeom>
                <a:avLst/>
                <a:gdLst>
                  <a:gd name="T0" fmla="*/ 2147483647 w 21"/>
                  <a:gd name="T1" fmla="*/ 2147483647 h 27"/>
                  <a:gd name="T2" fmla="*/ 2147483647 w 21"/>
                  <a:gd name="T3" fmla="*/ 2147483647 h 27"/>
                  <a:gd name="T4" fmla="*/ 2147483647 w 21"/>
                  <a:gd name="T5" fmla="*/ 0 h 27"/>
                  <a:gd name="T6" fmla="*/ 2147483647 w 21"/>
                  <a:gd name="T7" fmla="*/ 2147483647 h 27"/>
                  <a:gd name="T8" fmla="*/ 2147483647 w 21"/>
                  <a:gd name="T9" fmla="*/ 2147483647 h 2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1"/>
                  <a:gd name="T16" fmla="*/ 0 h 27"/>
                  <a:gd name="T17" fmla="*/ 21 w 21"/>
                  <a:gd name="T18" fmla="*/ 27 h 2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1" h="27">
                    <a:moveTo>
                      <a:pt x="6" y="7"/>
                    </a:moveTo>
                    <a:cubicBezTo>
                      <a:pt x="4" y="18"/>
                      <a:pt x="0" y="21"/>
                      <a:pt x="9" y="27"/>
                    </a:cubicBezTo>
                    <a:cubicBezTo>
                      <a:pt x="21" y="23"/>
                      <a:pt x="18" y="12"/>
                      <a:pt x="14" y="0"/>
                    </a:cubicBezTo>
                    <a:cubicBezTo>
                      <a:pt x="12" y="0"/>
                      <a:pt x="10" y="0"/>
                      <a:pt x="9" y="1"/>
                    </a:cubicBezTo>
                    <a:cubicBezTo>
                      <a:pt x="7" y="2"/>
                      <a:pt x="6" y="7"/>
                      <a:pt x="6" y="7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06" name="Freeform 125"/>
              <p:cNvSpPr>
                <a:spLocks noChangeAspect="1"/>
              </p:cNvSpPr>
              <p:nvPr/>
            </p:nvSpPr>
            <p:spPr bwMode="auto">
              <a:xfrm>
                <a:off x="587" y="5655"/>
                <a:ext cx="96" cy="52"/>
              </a:xfrm>
              <a:custGeom>
                <a:avLst/>
                <a:gdLst>
                  <a:gd name="T0" fmla="*/ 0 w 24"/>
                  <a:gd name="T1" fmla="*/ 0 h 13"/>
                  <a:gd name="T2" fmla="*/ 2147483647 w 24"/>
                  <a:gd name="T3" fmla="*/ 2147483647 h 13"/>
                  <a:gd name="T4" fmla="*/ 2147483647 w 24"/>
                  <a:gd name="T5" fmla="*/ 2147483647 h 13"/>
                  <a:gd name="T6" fmla="*/ 0 w 24"/>
                  <a:gd name="T7" fmla="*/ 0 h 13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4"/>
                  <a:gd name="T13" fmla="*/ 0 h 13"/>
                  <a:gd name="T14" fmla="*/ 24 w 24"/>
                  <a:gd name="T15" fmla="*/ 13 h 13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4" h="13">
                    <a:moveTo>
                      <a:pt x="0" y="0"/>
                    </a:moveTo>
                    <a:cubicBezTo>
                      <a:pt x="7" y="4"/>
                      <a:pt x="24" y="0"/>
                      <a:pt x="12" y="8"/>
                    </a:cubicBezTo>
                    <a:cubicBezTo>
                      <a:pt x="9" y="12"/>
                      <a:pt x="8" y="13"/>
                      <a:pt x="3" y="11"/>
                    </a:cubicBezTo>
                    <a:cubicBezTo>
                      <a:pt x="2" y="3"/>
                      <a:pt x="3" y="6"/>
                      <a:pt x="0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307" name="Freeform 126"/>
              <p:cNvSpPr>
                <a:spLocks noChangeAspect="1"/>
              </p:cNvSpPr>
              <p:nvPr/>
            </p:nvSpPr>
            <p:spPr bwMode="auto">
              <a:xfrm>
                <a:off x="-347" y="4175"/>
                <a:ext cx="451" cy="376"/>
              </a:xfrm>
              <a:custGeom>
                <a:avLst/>
                <a:gdLst>
                  <a:gd name="T0" fmla="*/ 303 w 451"/>
                  <a:gd name="T1" fmla="*/ 376 h 376"/>
                  <a:gd name="T2" fmla="*/ 399 w 451"/>
                  <a:gd name="T3" fmla="*/ 352 h 376"/>
                  <a:gd name="T4" fmla="*/ 439 w 451"/>
                  <a:gd name="T5" fmla="*/ 340 h 376"/>
                  <a:gd name="T6" fmla="*/ 451 w 451"/>
                  <a:gd name="T7" fmla="*/ 280 h 376"/>
                  <a:gd name="T8" fmla="*/ 395 w 451"/>
                  <a:gd name="T9" fmla="*/ 216 h 376"/>
                  <a:gd name="T10" fmla="*/ 407 w 451"/>
                  <a:gd name="T11" fmla="*/ 196 h 376"/>
                  <a:gd name="T12" fmla="*/ 407 w 451"/>
                  <a:gd name="T13" fmla="*/ 96 h 376"/>
                  <a:gd name="T14" fmla="*/ 259 w 451"/>
                  <a:gd name="T15" fmla="*/ 24 h 376"/>
                  <a:gd name="T16" fmla="*/ 199 w 451"/>
                  <a:gd name="T17" fmla="*/ 48 h 376"/>
                  <a:gd name="T18" fmla="*/ 174 w 451"/>
                  <a:gd name="T19" fmla="*/ 54 h 376"/>
                  <a:gd name="T20" fmla="*/ 152 w 451"/>
                  <a:gd name="T21" fmla="*/ 90 h 376"/>
                  <a:gd name="T22" fmla="*/ 83 w 451"/>
                  <a:gd name="T23" fmla="*/ 124 h 376"/>
                  <a:gd name="T24" fmla="*/ 60 w 451"/>
                  <a:gd name="T25" fmla="*/ 165 h 376"/>
                  <a:gd name="T26" fmla="*/ 12 w 451"/>
                  <a:gd name="T27" fmla="*/ 178 h 376"/>
                  <a:gd name="T28" fmla="*/ 24 w 451"/>
                  <a:gd name="T29" fmla="*/ 219 h 376"/>
                  <a:gd name="T30" fmla="*/ 83 w 451"/>
                  <a:gd name="T31" fmla="*/ 268 h 376"/>
                  <a:gd name="T32" fmla="*/ 105 w 451"/>
                  <a:gd name="T33" fmla="*/ 298 h 376"/>
                  <a:gd name="T34" fmla="*/ 144 w 451"/>
                  <a:gd name="T35" fmla="*/ 298 h 376"/>
                  <a:gd name="T36" fmla="*/ 179 w 451"/>
                  <a:gd name="T37" fmla="*/ 248 h 376"/>
                  <a:gd name="T38" fmla="*/ 228 w 451"/>
                  <a:gd name="T39" fmla="*/ 322 h 376"/>
                  <a:gd name="T40" fmla="*/ 258 w 451"/>
                  <a:gd name="T41" fmla="*/ 351 h 376"/>
                  <a:gd name="T42" fmla="*/ 303 w 451"/>
                  <a:gd name="T43" fmla="*/ 376 h 37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451"/>
                  <a:gd name="T67" fmla="*/ 0 h 376"/>
                  <a:gd name="T68" fmla="*/ 451 w 451"/>
                  <a:gd name="T69" fmla="*/ 376 h 37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451" h="376">
                    <a:moveTo>
                      <a:pt x="303" y="376"/>
                    </a:moveTo>
                    <a:cubicBezTo>
                      <a:pt x="335" y="368"/>
                      <a:pt x="367" y="360"/>
                      <a:pt x="399" y="352"/>
                    </a:cubicBezTo>
                    <a:cubicBezTo>
                      <a:pt x="411" y="348"/>
                      <a:pt x="439" y="340"/>
                      <a:pt x="439" y="340"/>
                    </a:cubicBezTo>
                    <a:cubicBezTo>
                      <a:pt x="443" y="320"/>
                      <a:pt x="447" y="304"/>
                      <a:pt x="451" y="280"/>
                    </a:cubicBezTo>
                    <a:cubicBezTo>
                      <a:pt x="447" y="232"/>
                      <a:pt x="443" y="224"/>
                      <a:pt x="395" y="216"/>
                    </a:cubicBezTo>
                    <a:cubicBezTo>
                      <a:pt x="375" y="204"/>
                      <a:pt x="391" y="204"/>
                      <a:pt x="407" y="196"/>
                    </a:cubicBezTo>
                    <a:cubicBezTo>
                      <a:pt x="431" y="164"/>
                      <a:pt x="427" y="132"/>
                      <a:pt x="407" y="96"/>
                    </a:cubicBezTo>
                    <a:cubicBezTo>
                      <a:pt x="391" y="0"/>
                      <a:pt x="351" y="32"/>
                      <a:pt x="259" y="24"/>
                    </a:cubicBezTo>
                    <a:cubicBezTo>
                      <a:pt x="239" y="32"/>
                      <a:pt x="219" y="36"/>
                      <a:pt x="199" y="48"/>
                    </a:cubicBezTo>
                    <a:cubicBezTo>
                      <a:pt x="186" y="51"/>
                      <a:pt x="182" y="47"/>
                      <a:pt x="174" y="54"/>
                    </a:cubicBezTo>
                    <a:cubicBezTo>
                      <a:pt x="156" y="64"/>
                      <a:pt x="164" y="78"/>
                      <a:pt x="152" y="90"/>
                    </a:cubicBezTo>
                    <a:cubicBezTo>
                      <a:pt x="140" y="117"/>
                      <a:pt x="116" y="124"/>
                      <a:pt x="83" y="124"/>
                    </a:cubicBezTo>
                    <a:cubicBezTo>
                      <a:pt x="79" y="140"/>
                      <a:pt x="72" y="156"/>
                      <a:pt x="60" y="165"/>
                    </a:cubicBezTo>
                    <a:cubicBezTo>
                      <a:pt x="48" y="161"/>
                      <a:pt x="30" y="171"/>
                      <a:pt x="12" y="178"/>
                    </a:cubicBezTo>
                    <a:cubicBezTo>
                      <a:pt x="0" y="178"/>
                      <a:pt x="20" y="207"/>
                      <a:pt x="24" y="219"/>
                    </a:cubicBezTo>
                    <a:cubicBezTo>
                      <a:pt x="38" y="232"/>
                      <a:pt x="59" y="244"/>
                      <a:pt x="83" y="268"/>
                    </a:cubicBezTo>
                    <a:cubicBezTo>
                      <a:pt x="99" y="284"/>
                      <a:pt x="89" y="282"/>
                      <a:pt x="105" y="298"/>
                    </a:cubicBezTo>
                    <a:cubicBezTo>
                      <a:pt x="122" y="300"/>
                      <a:pt x="126" y="303"/>
                      <a:pt x="144" y="298"/>
                    </a:cubicBezTo>
                    <a:cubicBezTo>
                      <a:pt x="148" y="278"/>
                      <a:pt x="159" y="256"/>
                      <a:pt x="179" y="248"/>
                    </a:cubicBezTo>
                    <a:cubicBezTo>
                      <a:pt x="215" y="256"/>
                      <a:pt x="191" y="300"/>
                      <a:pt x="228" y="322"/>
                    </a:cubicBezTo>
                    <a:cubicBezTo>
                      <a:pt x="242" y="338"/>
                      <a:pt x="246" y="342"/>
                      <a:pt x="258" y="351"/>
                    </a:cubicBezTo>
                    <a:cubicBezTo>
                      <a:pt x="270" y="360"/>
                      <a:pt x="291" y="351"/>
                      <a:pt x="303" y="376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</p:grpSp>
        <p:sp>
          <p:nvSpPr>
            <p:cNvPr id="296" name="Freeform 127"/>
            <p:cNvSpPr>
              <a:spLocks noChangeAspect="1"/>
            </p:cNvSpPr>
            <p:nvPr/>
          </p:nvSpPr>
          <p:spPr bwMode="auto">
            <a:xfrm>
              <a:off x="1415" y="3425"/>
              <a:ext cx="230" cy="380"/>
            </a:xfrm>
            <a:custGeom>
              <a:avLst/>
              <a:gdLst>
                <a:gd name="T0" fmla="*/ 0 w 913"/>
                <a:gd name="T1" fmla="*/ 0 h 1504"/>
                <a:gd name="T2" fmla="*/ 0 w 913"/>
                <a:gd name="T3" fmla="*/ 0 h 1504"/>
                <a:gd name="T4" fmla="*/ 0 w 913"/>
                <a:gd name="T5" fmla="*/ 0 h 1504"/>
                <a:gd name="T6" fmla="*/ 0 w 913"/>
                <a:gd name="T7" fmla="*/ 0 h 1504"/>
                <a:gd name="T8" fmla="*/ 0 w 913"/>
                <a:gd name="T9" fmla="*/ 0 h 1504"/>
                <a:gd name="T10" fmla="*/ 0 w 913"/>
                <a:gd name="T11" fmla="*/ 0 h 1504"/>
                <a:gd name="T12" fmla="*/ 0 w 913"/>
                <a:gd name="T13" fmla="*/ 0 h 1504"/>
                <a:gd name="T14" fmla="*/ 0 w 913"/>
                <a:gd name="T15" fmla="*/ 0 h 1504"/>
                <a:gd name="T16" fmla="*/ 0 w 913"/>
                <a:gd name="T17" fmla="*/ 0 h 1504"/>
                <a:gd name="T18" fmla="*/ 0 w 913"/>
                <a:gd name="T19" fmla="*/ 0 h 1504"/>
                <a:gd name="T20" fmla="*/ 0 w 913"/>
                <a:gd name="T21" fmla="*/ 0 h 1504"/>
                <a:gd name="T22" fmla="*/ 0 w 913"/>
                <a:gd name="T23" fmla="*/ 0 h 1504"/>
                <a:gd name="T24" fmla="*/ 0 w 913"/>
                <a:gd name="T25" fmla="*/ 0 h 1504"/>
                <a:gd name="T26" fmla="*/ 0 w 913"/>
                <a:gd name="T27" fmla="*/ 0 h 1504"/>
                <a:gd name="T28" fmla="*/ 0 w 913"/>
                <a:gd name="T29" fmla="*/ 0 h 1504"/>
                <a:gd name="T30" fmla="*/ 0 w 913"/>
                <a:gd name="T31" fmla="*/ 0 h 1504"/>
                <a:gd name="T32" fmla="*/ 0 w 913"/>
                <a:gd name="T33" fmla="*/ 0 h 1504"/>
                <a:gd name="T34" fmla="*/ 0 w 913"/>
                <a:gd name="T35" fmla="*/ 0 h 1504"/>
                <a:gd name="T36" fmla="*/ 0 w 913"/>
                <a:gd name="T37" fmla="*/ 0 h 1504"/>
                <a:gd name="T38" fmla="*/ 0 w 913"/>
                <a:gd name="T39" fmla="*/ 0 h 1504"/>
                <a:gd name="T40" fmla="*/ 0 w 913"/>
                <a:gd name="T41" fmla="*/ 0 h 1504"/>
                <a:gd name="T42" fmla="*/ 0 w 913"/>
                <a:gd name="T43" fmla="*/ 0 h 1504"/>
                <a:gd name="T44" fmla="*/ 0 w 913"/>
                <a:gd name="T45" fmla="*/ 0 h 1504"/>
                <a:gd name="T46" fmla="*/ 0 w 913"/>
                <a:gd name="T47" fmla="*/ 0 h 1504"/>
                <a:gd name="T48" fmla="*/ 0 w 913"/>
                <a:gd name="T49" fmla="*/ 0 h 1504"/>
                <a:gd name="T50" fmla="*/ 0 w 913"/>
                <a:gd name="T51" fmla="*/ 0 h 1504"/>
                <a:gd name="T52" fmla="*/ 0 w 913"/>
                <a:gd name="T53" fmla="*/ 0 h 1504"/>
                <a:gd name="T54" fmla="*/ 0 w 913"/>
                <a:gd name="T55" fmla="*/ 0 h 1504"/>
                <a:gd name="T56" fmla="*/ 0 w 913"/>
                <a:gd name="T57" fmla="*/ 0 h 1504"/>
                <a:gd name="T58" fmla="*/ 0 w 913"/>
                <a:gd name="T59" fmla="*/ 0 h 1504"/>
                <a:gd name="T60" fmla="*/ 0 w 913"/>
                <a:gd name="T61" fmla="*/ 0 h 1504"/>
                <a:gd name="T62" fmla="*/ 0 w 913"/>
                <a:gd name="T63" fmla="*/ 0 h 1504"/>
                <a:gd name="T64" fmla="*/ 0 w 913"/>
                <a:gd name="T65" fmla="*/ 0 h 1504"/>
                <a:gd name="T66" fmla="*/ 0 w 913"/>
                <a:gd name="T67" fmla="*/ 0 h 1504"/>
                <a:gd name="T68" fmla="*/ 0 w 913"/>
                <a:gd name="T69" fmla="*/ 0 h 1504"/>
                <a:gd name="T70" fmla="*/ 0 w 913"/>
                <a:gd name="T71" fmla="*/ 0 h 1504"/>
                <a:gd name="T72" fmla="*/ 0 w 913"/>
                <a:gd name="T73" fmla="*/ 0 h 1504"/>
                <a:gd name="T74" fmla="*/ 0 w 913"/>
                <a:gd name="T75" fmla="*/ 0 h 1504"/>
                <a:gd name="T76" fmla="*/ 0 w 913"/>
                <a:gd name="T77" fmla="*/ 0 h 1504"/>
                <a:gd name="T78" fmla="*/ 0 w 913"/>
                <a:gd name="T79" fmla="*/ 0 h 1504"/>
                <a:gd name="T80" fmla="*/ 0 w 913"/>
                <a:gd name="T81" fmla="*/ 0 h 1504"/>
                <a:gd name="T82" fmla="*/ 0 w 913"/>
                <a:gd name="T83" fmla="*/ 0 h 1504"/>
                <a:gd name="T84" fmla="*/ 0 w 913"/>
                <a:gd name="T85" fmla="*/ 0 h 1504"/>
                <a:gd name="T86" fmla="*/ 0 w 913"/>
                <a:gd name="T87" fmla="*/ 0 h 1504"/>
                <a:gd name="T88" fmla="*/ 0 w 913"/>
                <a:gd name="T89" fmla="*/ 0 h 1504"/>
                <a:gd name="T90" fmla="*/ 0 w 913"/>
                <a:gd name="T91" fmla="*/ 0 h 1504"/>
                <a:gd name="T92" fmla="*/ 0 w 913"/>
                <a:gd name="T93" fmla="*/ 0 h 1504"/>
                <a:gd name="T94" fmla="*/ 0 w 913"/>
                <a:gd name="T95" fmla="*/ 0 h 1504"/>
                <a:gd name="T96" fmla="*/ 0 w 913"/>
                <a:gd name="T97" fmla="*/ 0 h 1504"/>
                <a:gd name="T98" fmla="*/ 0 w 913"/>
                <a:gd name="T99" fmla="*/ 0 h 1504"/>
                <a:gd name="T100" fmla="*/ 0 w 913"/>
                <a:gd name="T101" fmla="*/ 0 h 1504"/>
                <a:gd name="T102" fmla="*/ 0 w 913"/>
                <a:gd name="T103" fmla="*/ 0 h 1504"/>
                <a:gd name="T104" fmla="*/ 0 w 913"/>
                <a:gd name="T105" fmla="*/ 0 h 1504"/>
                <a:gd name="T106" fmla="*/ 0 w 913"/>
                <a:gd name="T107" fmla="*/ 0 h 1504"/>
                <a:gd name="T108" fmla="*/ 0 w 913"/>
                <a:gd name="T109" fmla="*/ 0 h 150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913"/>
                <a:gd name="T166" fmla="*/ 0 h 1504"/>
                <a:gd name="T167" fmla="*/ 913 w 913"/>
                <a:gd name="T168" fmla="*/ 1504 h 1504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913" h="1504">
                  <a:moveTo>
                    <a:pt x="384" y="13"/>
                  </a:moveTo>
                  <a:cubicBezTo>
                    <a:pt x="380" y="117"/>
                    <a:pt x="368" y="312"/>
                    <a:pt x="296" y="416"/>
                  </a:cubicBezTo>
                  <a:cubicBezTo>
                    <a:pt x="280" y="468"/>
                    <a:pt x="288" y="568"/>
                    <a:pt x="224" y="588"/>
                  </a:cubicBezTo>
                  <a:cubicBezTo>
                    <a:pt x="212" y="604"/>
                    <a:pt x="196" y="616"/>
                    <a:pt x="180" y="632"/>
                  </a:cubicBezTo>
                  <a:cubicBezTo>
                    <a:pt x="172" y="652"/>
                    <a:pt x="176" y="664"/>
                    <a:pt x="156" y="672"/>
                  </a:cubicBezTo>
                  <a:cubicBezTo>
                    <a:pt x="136" y="700"/>
                    <a:pt x="136" y="684"/>
                    <a:pt x="116" y="696"/>
                  </a:cubicBezTo>
                  <a:cubicBezTo>
                    <a:pt x="112" y="712"/>
                    <a:pt x="88" y="752"/>
                    <a:pt x="72" y="756"/>
                  </a:cubicBezTo>
                  <a:cubicBezTo>
                    <a:pt x="56" y="780"/>
                    <a:pt x="36" y="808"/>
                    <a:pt x="20" y="836"/>
                  </a:cubicBezTo>
                  <a:cubicBezTo>
                    <a:pt x="12" y="848"/>
                    <a:pt x="4" y="872"/>
                    <a:pt x="4" y="872"/>
                  </a:cubicBezTo>
                  <a:cubicBezTo>
                    <a:pt x="4" y="876"/>
                    <a:pt x="4" y="880"/>
                    <a:pt x="8" y="884"/>
                  </a:cubicBezTo>
                  <a:cubicBezTo>
                    <a:pt x="12" y="888"/>
                    <a:pt x="20" y="884"/>
                    <a:pt x="24" y="888"/>
                  </a:cubicBezTo>
                  <a:cubicBezTo>
                    <a:pt x="32" y="896"/>
                    <a:pt x="36" y="924"/>
                    <a:pt x="36" y="924"/>
                  </a:cubicBezTo>
                  <a:cubicBezTo>
                    <a:pt x="44" y="996"/>
                    <a:pt x="40" y="1040"/>
                    <a:pt x="128" y="980"/>
                  </a:cubicBezTo>
                  <a:cubicBezTo>
                    <a:pt x="152" y="988"/>
                    <a:pt x="148" y="1024"/>
                    <a:pt x="128" y="1036"/>
                  </a:cubicBezTo>
                  <a:cubicBezTo>
                    <a:pt x="124" y="1040"/>
                    <a:pt x="124" y="1048"/>
                    <a:pt x="120" y="1052"/>
                  </a:cubicBezTo>
                  <a:cubicBezTo>
                    <a:pt x="116" y="1056"/>
                    <a:pt x="112" y="1056"/>
                    <a:pt x="108" y="1060"/>
                  </a:cubicBezTo>
                  <a:cubicBezTo>
                    <a:pt x="88" y="1092"/>
                    <a:pt x="84" y="1140"/>
                    <a:pt x="60" y="1176"/>
                  </a:cubicBezTo>
                  <a:cubicBezTo>
                    <a:pt x="48" y="1228"/>
                    <a:pt x="56" y="1344"/>
                    <a:pt x="8" y="1376"/>
                  </a:cubicBezTo>
                  <a:cubicBezTo>
                    <a:pt x="0" y="1396"/>
                    <a:pt x="20" y="1396"/>
                    <a:pt x="32" y="1412"/>
                  </a:cubicBezTo>
                  <a:cubicBezTo>
                    <a:pt x="76" y="1388"/>
                    <a:pt x="72" y="1408"/>
                    <a:pt x="116" y="1416"/>
                  </a:cubicBezTo>
                  <a:cubicBezTo>
                    <a:pt x="144" y="1436"/>
                    <a:pt x="180" y="1464"/>
                    <a:pt x="216" y="1476"/>
                  </a:cubicBezTo>
                  <a:cubicBezTo>
                    <a:pt x="244" y="1504"/>
                    <a:pt x="326" y="1496"/>
                    <a:pt x="358" y="1476"/>
                  </a:cubicBezTo>
                  <a:cubicBezTo>
                    <a:pt x="362" y="1452"/>
                    <a:pt x="343" y="1414"/>
                    <a:pt x="345" y="1387"/>
                  </a:cubicBezTo>
                  <a:cubicBezTo>
                    <a:pt x="355" y="1357"/>
                    <a:pt x="378" y="1304"/>
                    <a:pt x="394" y="1282"/>
                  </a:cubicBezTo>
                  <a:cubicBezTo>
                    <a:pt x="410" y="1260"/>
                    <a:pt x="432" y="1282"/>
                    <a:pt x="439" y="1255"/>
                  </a:cubicBezTo>
                  <a:cubicBezTo>
                    <a:pt x="465" y="1254"/>
                    <a:pt x="496" y="1240"/>
                    <a:pt x="507" y="1230"/>
                  </a:cubicBezTo>
                  <a:cubicBezTo>
                    <a:pt x="536" y="1196"/>
                    <a:pt x="513" y="1209"/>
                    <a:pt x="508" y="1192"/>
                  </a:cubicBezTo>
                  <a:cubicBezTo>
                    <a:pt x="503" y="1175"/>
                    <a:pt x="476" y="1151"/>
                    <a:pt x="474" y="1129"/>
                  </a:cubicBezTo>
                  <a:cubicBezTo>
                    <a:pt x="483" y="1087"/>
                    <a:pt x="480" y="1111"/>
                    <a:pt x="496" y="1062"/>
                  </a:cubicBezTo>
                  <a:cubicBezTo>
                    <a:pt x="516" y="1017"/>
                    <a:pt x="531" y="988"/>
                    <a:pt x="560" y="980"/>
                  </a:cubicBezTo>
                  <a:cubicBezTo>
                    <a:pt x="564" y="960"/>
                    <a:pt x="598" y="948"/>
                    <a:pt x="559" y="933"/>
                  </a:cubicBezTo>
                  <a:cubicBezTo>
                    <a:pt x="559" y="898"/>
                    <a:pt x="544" y="862"/>
                    <a:pt x="532" y="824"/>
                  </a:cubicBezTo>
                  <a:cubicBezTo>
                    <a:pt x="525" y="805"/>
                    <a:pt x="526" y="780"/>
                    <a:pt x="516" y="768"/>
                  </a:cubicBezTo>
                  <a:cubicBezTo>
                    <a:pt x="504" y="742"/>
                    <a:pt x="532" y="744"/>
                    <a:pt x="560" y="748"/>
                  </a:cubicBezTo>
                  <a:cubicBezTo>
                    <a:pt x="595" y="771"/>
                    <a:pt x="633" y="735"/>
                    <a:pt x="633" y="735"/>
                  </a:cubicBezTo>
                  <a:cubicBezTo>
                    <a:pt x="651" y="717"/>
                    <a:pt x="641" y="709"/>
                    <a:pt x="657" y="693"/>
                  </a:cubicBezTo>
                  <a:cubicBezTo>
                    <a:pt x="665" y="669"/>
                    <a:pt x="684" y="632"/>
                    <a:pt x="656" y="624"/>
                  </a:cubicBezTo>
                  <a:cubicBezTo>
                    <a:pt x="660" y="608"/>
                    <a:pt x="697" y="592"/>
                    <a:pt x="697" y="592"/>
                  </a:cubicBezTo>
                  <a:cubicBezTo>
                    <a:pt x="705" y="579"/>
                    <a:pt x="702" y="555"/>
                    <a:pt x="705" y="544"/>
                  </a:cubicBezTo>
                  <a:cubicBezTo>
                    <a:pt x="708" y="533"/>
                    <a:pt x="700" y="561"/>
                    <a:pt x="712" y="528"/>
                  </a:cubicBezTo>
                  <a:cubicBezTo>
                    <a:pt x="720" y="484"/>
                    <a:pt x="730" y="372"/>
                    <a:pt x="780" y="343"/>
                  </a:cubicBezTo>
                  <a:cubicBezTo>
                    <a:pt x="810" y="330"/>
                    <a:pt x="824" y="339"/>
                    <a:pt x="844" y="327"/>
                  </a:cubicBezTo>
                  <a:cubicBezTo>
                    <a:pt x="856" y="319"/>
                    <a:pt x="880" y="298"/>
                    <a:pt x="880" y="298"/>
                  </a:cubicBezTo>
                  <a:cubicBezTo>
                    <a:pt x="901" y="282"/>
                    <a:pt x="913" y="246"/>
                    <a:pt x="910" y="228"/>
                  </a:cubicBezTo>
                  <a:cubicBezTo>
                    <a:pt x="895" y="219"/>
                    <a:pt x="885" y="211"/>
                    <a:pt x="873" y="193"/>
                  </a:cubicBezTo>
                  <a:cubicBezTo>
                    <a:pt x="861" y="175"/>
                    <a:pt x="876" y="130"/>
                    <a:pt x="840" y="120"/>
                  </a:cubicBezTo>
                  <a:cubicBezTo>
                    <a:pt x="820" y="104"/>
                    <a:pt x="762" y="96"/>
                    <a:pt x="740" y="104"/>
                  </a:cubicBezTo>
                  <a:cubicBezTo>
                    <a:pt x="710" y="102"/>
                    <a:pt x="689" y="113"/>
                    <a:pt x="658" y="111"/>
                  </a:cubicBezTo>
                  <a:cubicBezTo>
                    <a:pt x="637" y="111"/>
                    <a:pt x="634" y="106"/>
                    <a:pt x="616" y="103"/>
                  </a:cubicBezTo>
                  <a:cubicBezTo>
                    <a:pt x="598" y="100"/>
                    <a:pt x="585" y="112"/>
                    <a:pt x="552" y="92"/>
                  </a:cubicBezTo>
                  <a:cubicBezTo>
                    <a:pt x="517" y="81"/>
                    <a:pt x="518" y="88"/>
                    <a:pt x="516" y="78"/>
                  </a:cubicBezTo>
                  <a:cubicBezTo>
                    <a:pt x="514" y="68"/>
                    <a:pt x="547" y="46"/>
                    <a:pt x="540" y="34"/>
                  </a:cubicBezTo>
                  <a:cubicBezTo>
                    <a:pt x="528" y="0"/>
                    <a:pt x="516" y="8"/>
                    <a:pt x="476" y="4"/>
                  </a:cubicBezTo>
                  <a:cubicBezTo>
                    <a:pt x="460" y="8"/>
                    <a:pt x="444" y="6"/>
                    <a:pt x="429" y="21"/>
                  </a:cubicBezTo>
                  <a:cubicBezTo>
                    <a:pt x="413" y="22"/>
                    <a:pt x="390" y="28"/>
                    <a:pt x="384" y="13"/>
                  </a:cubicBez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</p:grpSp>
      <p:sp>
        <p:nvSpPr>
          <p:cNvPr id="378" name="Textfeld 55"/>
          <p:cNvSpPr txBox="1"/>
          <p:nvPr/>
        </p:nvSpPr>
        <p:spPr>
          <a:xfrm>
            <a:off x="3268620" y="2223555"/>
            <a:ext cx="54697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kern="0" dirty="0" smtClean="0">
                <a:solidFill>
                  <a:srgbClr val="404040"/>
                </a:solidFill>
                <a:latin typeface="CorpoS" pitchFamily="2" charset="0"/>
                <a:ea typeface="+mn-ea"/>
              </a:rPr>
              <a:t>17.12</a:t>
            </a:r>
          </a:p>
        </p:txBody>
      </p:sp>
      <p:pic>
        <p:nvPicPr>
          <p:cNvPr id="379" name="Picture 2" descr="http://www.thesis.de/uploads/pics/Fotolia_52331405_XS.jpg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78872" y="5564542"/>
            <a:ext cx="813175" cy="6645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83" name="Gerade Verbindung 382"/>
          <p:cNvCxnSpPr/>
          <p:nvPr/>
        </p:nvCxnSpPr>
        <p:spPr>
          <a:xfrm>
            <a:off x="5919992" y="2157180"/>
            <a:ext cx="0" cy="4230437"/>
          </a:xfrm>
          <a:prstGeom prst="line">
            <a:avLst/>
          </a:prstGeom>
          <a:noFill/>
          <a:ln w="9525" cap="flat" cmpd="sng" algn="ctr">
            <a:solidFill>
              <a:srgbClr val="C0C0C0"/>
            </a:solidFill>
            <a:prstDash val="solid"/>
          </a:ln>
          <a:effectLst/>
        </p:spPr>
      </p:cxnSp>
      <p:cxnSp>
        <p:nvCxnSpPr>
          <p:cNvPr id="385" name="Gerade Verbindung 384"/>
          <p:cNvCxnSpPr/>
          <p:nvPr/>
        </p:nvCxnSpPr>
        <p:spPr>
          <a:xfrm flipV="1">
            <a:off x="863222" y="3447693"/>
            <a:ext cx="7879101" cy="6970"/>
          </a:xfrm>
          <a:prstGeom prst="line">
            <a:avLst/>
          </a:prstGeom>
          <a:noFill/>
          <a:ln w="9525" cap="flat" cmpd="sng" algn="ctr">
            <a:solidFill>
              <a:srgbClr val="C0C0C0"/>
            </a:solidFill>
            <a:prstDash val="solid"/>
          </a:ln>
          <a:effectLst/>
        </p:spPr>
      </p:cxnSp>
      <p:cxnSp>
        <p:nvCxnSpPr>
          <p:cNvPr id="386" name="Gerade Verbindung 385"/>
          <p:cNvCxnSpPr/>
          <p:nvPr/>
        </p:nvCxnSpPr>
        <p:spPr>
          <a:xfrm flipV="1">
            <a:off x="868348" y="3885854"/>
            <a:ext cx="7876351" cy="6598"/>
          </a:xfrm>
          <a:prstGeom prst="line">
            <a:avLst/>
          </a:prstGeom>
          <a:noFill/>
          <a:ln w="9525" cap="flat" cmpd="sng" algn="ctr">
            <a:solidFill>
              <a:srgbClr val="C0C0C0"/>
            </a:solidFill>
            <a:prstDash val="solid"/>
          </a:ln>
          <a:effectLst/>
        </p:spPr>
      </p:cxnSp>
      <p:cxnSp>
        <p:nvCxnSpPr>
          <p:cNvPr id="387" name="Gerade Verbindung 386"/>
          <p:cNvCxnSpPr/>
          <p:nvPr/>
        </p:nvCxnSpPr>
        <p:spPr>
          <a:xfrm>
            <a:off x="863222" y="4800301"/>
            <a:ext cx="7875591" cy="0"/>
          </a:xfrm>
          <a:prstGeom prst="line">
            <a:avLst/>
          </a:prstGeom>
          <a:noFill/>
          <a:ln w="9525" cap="flat" cmpd="sng" algn="ctr">
            <a:solidFill>
              <a:srgbClr val="C0C0C0"/>
            </a:solidFill>
            <a:prstDash val="solid"/>
          </a:ln>
          <a:effectLst/>
        </p:spPr>
      </p:cxnSp>
      <p:cxnSp>
        <p:nvCxnSpPr>
          <p:cNvPr id="388" name="Gerade Verbindung 387"/>
          <p:cNvCxnSpPr/>
          <p:nvPr/>
        </p:nvCxnSpPr>
        <p:spPr>
          <a:xfrm flipV="1">
            <a:off x="868348" y="5239939"/>
            <a:ext cx="7870453" cy="1305"/>
          </a:xfrm>
          <a:prstGeom prst="line">
            <a:avLst/>
          </a:prstGeom>
          <a:noFill/>
          <a:ln w="9525" cap="flat" cmpd="sng" algn="ctr">
            <a:solidFill>
              <a:srgbClr val="C0C0C0"/>
            </a:solidFill>
            <a:prstDash val="solid"/>
          </a:ln>
          <a:effectLst/>
        </p:spPr>
      </p:cxnSp>
      <p:sp>
        <p:nvSpPr>
          <p:cNvPr id="389" name="Pfeil nach rechts 388"/>
          <p:cNvSpPr/>
          <p:nvPr/>
        </p:nvSpPr>
        <p:spPr>
          <a:xfrm>
            <a:off x="4085432" y="4039781"/>
            <a:ext cx="1757958" cy="326744"/>
          </a:xfrm>
          <a:prstGeom prst="rightArrow">
            <a:avLst>
              <a:gd name="adj1" fmla="val 58411"/>
              <a:gd name="adj2" fmla="val 55011"/>
            </a:avLst>
          </a:prstGeom>
          <a:gradFill flip="none" rotWithShape="1">
            <a:gsLst>
              <a:gs pos="9000">
                <a:srgbClr val="FFFFFF"/>
              </a:gs>
              <a:gs pos="43000">
                <a:srgbClr val="FFFFFF">
                  <a:lumMod val="65000"/>
                </a:srgbClr>
              </a:gs>
            </a:gsLst>
            <a:lin ang="0" scaled="1"/>
            <a:tileRect/>
          </a:gradFill>
          <a:ln w="762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 err="1" smtClean="0">
              <a:ln>
                <a:noFill/>
              </a:ln>
              <a:solidFill>
                <a:srgbClr val="000000">
                  <a:lumMod val="95000"/>
                  <a:lumOff val="5000"/>
                </a:srgbClr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</p:txBody>
      </p:sp>
      <p:grpSp>
        <p:nvGrpSpPr>
          <p:cNvPr id="390" name="Gruppieren 389"/>
          <p:cNvGrpSpPr/>
          <p:nvPr/>
        </p:nvGrpSpPr>
        <p:grpSpPr>
          <a:xfrm>
            <a:off x="3887114" y="4012540"/>
            <a:ext cx="378978" cy="367155"/>
            <a:chOff x="4628845" y="5582963"/>
            <a:chExt cx="335731" cy="335732"/>
          </a:xfrm>
        </p:grpSpPr>
        <p:pic>
          <p:nvPicPr>
            <p:cNvPr id="391" name="Picture 7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 rot="18900000">
              <a:off x="4628845" y="5582963"/>
              <a:ext cx="335731" cy="3357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392" name="Textfeld 391"/>
            <p:cNvSpPr txBox="1"/>
            <p:nvPr/>
          </p:nvSpPr>
          <p:spPr>
            <a:xfrm>
              <a:off x="4632019" y="5627407"/>
              <a:ext cx="324193" cy="248601"/>
            </a:xfrm>
            <a:prstGeom prst="rect">
              <a:avLst/>
            </a:prstGeom>
            <a:noFill/>
          </p:spPr>
          <p:txBody>
            <a:bodyPr wrap="none" rIns="90000" rtlCol="0">
              <a:spAutoFit/>
            </a:bodyPr>
            <a:lstStyle/>
            <a:p>
              <a:pPr algn="ctr">
                <a:lnSpc>
                  <a:spcPts val="700"/>
                </a:lnSpc>
                <a:spcAft>
                  <a:spcPts val="0"/>
                </a:spcAft>
              </a:pPr>
              <a:r>
                <a:rPr lang="de-DE" sz="600" i="1" dirty="0" smtClean="0">
                  <a:solidFill>
                    <a:srgbClr val="000000"/>
                  </a:solidFill>
                  <a:latin typeface="CorpoS" pitchFamily="2" charset="0"/>
                  <a:ea typeface="+mn-ea"/>
                </a:rPr>
                <a:t>Task</a:t>
              </a:r>
            </a:p>
            <a:p>
              <a:pPr algn="ctr">
                <a:lnSpc>
                  <a:spcPts val="700"/>
                </a:lnSpc>
                <a:spcAft>
                  <a:spcPts val="0"/>
                </a:spcAft>
              </a:pPr>
              <a:r>
                <a:rPr lang="de-DE" sz="600" i="1" dirty="0" smtClean="0">
                  <a:solidFill>
                    <a:srgbClr val="000000"/>
                  </a:solidFill>
                  <a:latin typeface="CorpoS" pitchFamily="2" charset="0"/>
                  <a:ea typeface="+mn-ea"/>
                </a:rPr>
                <a:t>Force</a:t>
              </a:r>
            </a:p>
          </p:txBody>
        </p:sp>
      </p:grpSp>
      <p:sp>
        <p:nvSpPr>
          <p:cNvPr id="393" name="Pfeil nach rechts 392"/>
          <p:cNvSpPr/>
          <p:nvPr/>
        </p:nvSpPr>
        <p:spPr>
          <a:xfrm>
            <a:off x="4580531" y="3574200"/>
            <a:ext cx="528659" cy="326744"/>
          </a:xfrm>
          <a:prstGeom prst="rightArrow">
            <a:avLst>
              <a:gd name="adj1" fmla="val 58411"/>
              <a:gd name="adj2" fmla="val 55011"/>
            </a:avLst>
          </a:prstGeom>
          <a:gradFill flip="none" rotWithShape="1">
            <a:gsLst>
              <a:gs pos="0">
                <a:srgbClr val="FFFFFF"/>
              </a:gs>
              <a:gs pos="0">
                <a:srgbClr val="FFFFFF">
                  <a:lumMod val="65000"/>
                </a:srgbClr>
              </a:gs>
            </a:gsLst>
            <a:lin ang="0" scaled="1"/>
            <a:tileRect/>
          </a:gradFill>
          <a:ln w="762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 err="1" smtClean="0">
              <a:ln>
                <a:noFill/>
              </a:ln>
              <a:solidFill>
                <a:srgbClr val="000000">
                  <a:lumMod val="95000"/>
                  <a:lumOff val="5000"/>
                </a:srgbClr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</p:txBody>
      </p:sp>
      <p:sp>
        <p:nvSpPr>
          <p:cNvPr id="394" name="Rechteck 393"/>
          <p:cNvSpPr/>
          <p:nvPr/>
        </p:nvSpPr>
        <p:spPr>
          <a:xfrm>
            <a:off x="4197723" y="4086269"/>
            <a:ext cx="182293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900" b="0" kern="0" dirty="0">
                <a:solidFill>
                  <a:srgbClr val="404040"/>
                </a:solidFill>
                <a:latin typeface="CorpoS" pitchFamily="2" charset="0"/>
                <a:ea typeface="+mn-ea"/>
              </a:rPr>
              <a:t>Dates are still in </a:t>
            </a:r>
            <a:r>
              <a:rPr lang="en-US" sz="900" b="0" kern="0" dirty="0" smtClean="0">
                <a:solidFill>
                  <a:srgbClr val="404040"/>
                </a:solidFill>
                <a:latin typeface="CorpoS" pitchFamily="2" charset="0"/>
                <a:ea typeface="+mn-ea"/>
              </a:rPr>
              <a:t>clarification</a:t>
            </a:r>
            <a:endParaRPr lang="de-DE" sz="900" b="0" kern="0" dirty="0">
              <a:solidFill>
                <a:srgbClr val="404040"/>
              </a:solidFill>
              <a:latin typeface="CorpoS" pitchFamily="2" charset="0"/>
              <a:ea typeface="+mn-ea"/>
            </a:endParaRPr>
          </a:p>
        </p:txBody>
      </p:sp>
      <p:pic>
        <p:nvPicPr>
          <p:cNvPr id="395" name="Picture 1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6155" y="4040781"/>
            <a:ext cx="461733" cy="349132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96" name="Textfeld 55"/>
          <p:cNvSpPr txBox="1"/>
          <p:nvPr/>
        </p:nvSpPr>
        <p:spPr>
          <a:xfrm>
            <a:off x="4943252" y="3408223"/>
            <a:ext cx="54697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kern="0" dirty="0" smtClean="0">
                <a:solidFill>
                  <a:srgbClr val="404040"/>
                </a:solidFill>
                <a:latin typeface="CorpoS" pitchFamily="2" charset="0"/>
                <a:ea typeface="+mn-ea"/>
              </a:rPr>
              <a:t>09.02</a:t>
            </a:r>
          </a:p>
        </p:txBody>
      </p:sp>
      <p:grpSp>
        <p:nvGrpSpPr>
          <p:cNvPr id="397" name="Gruppieren 396"/>
          <p:cNvGrpSpPr/>
          <p:nvPr/>
        </p:nvGrpSpPr>
        <p:grpSpPr>
          <a:xfrm>
            <a:off x="4958326" y="3577666"/>
            <a:ext cx="546646" cy="403382"/>
            <a:chOff x="3300513" y="2482824"/>
            <a:chExt cx="546646" cy="403382"/>
          </a:xfrm>
        </p:grpSpPr>
        <p:pic>
          <p:nvPicPr>
            <p:cNvPr id="398" name="Picture 8" descr="C:\DATEN\sonstiges\PowerPoint Icons\Beispiele gute Präsis und Icons\03___Icons_PowerPoint\Icons\Dokumente\single_yellow_folder_1600_clr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09316" y="2482824"/>
              <a:ext cx="537843" cy="40338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99" name="Textfeld 398"/>
            <p:cNvSpPr txBox="1"/>
            <p:nvPr/>
          </p:nvSpPr>
          <p:spPr>
            <a:xfrm rot="794566">
              <a:off x="3300513" y="2525650"/>
              <a:ext cx="441146" cy="2000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700" dirty="0" smtClean="0">
                  <a:solidFill>
                    <a:srgbClr val="C00000"/>
                  </a:solidFill>
                  <a:latin typeface="CorpoS"/>
                  <a:ea typeface="+mn-ea"/>
                </a:rPr>
                <a:t>DRAFT</a:t>
              </a:r>
              <a:endParaRPr lang="de-DE" sz="700" dirty="0">
                <a:solidFill>
                  <a:srgbClr val="C00000"/>
                </a:solidFill>
                <a:latin typeface="CorpoS"/>
                <a:ea typeface="+mn-ea"/>
              </a:endParaRPr>
            </a:p>
          </p:txBody>
        </p:sp>
      </p:grpSp>
      <p:sp>
        <p:nvSpPr>
          <p:cNvPr id="400" name="Textfeld 55"/>
          <p:cNvSpPr txBox="1"/>
          <p:nvPr/>
        </p:nvSpPr>
        <p:spPr>
          <a:xfrm>
            <a:off x="4316006" y="3408211"/>
            <a:ext cx="54697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kern="0" dirty="0" smtClean="0">
                <a:solidFill>
                  <a:srgbClr val="404040"/>
                </a:solidFill>
                <a:latin typeface="CorpoS" pitchFamily="2" charset="0"/>
                <a:ea typeface="+mn-ea"/>
              </a:rPr>
              <a:t>20.01</a:t>
            </a:r>
          </a:p>
        </p:txBody>
      </p:sp>
      <p:pic>
        <p:nvPicPr>
          <p:cNvPr id="401" name="Picture 12" descr="C:\DATEN\sonstiges\PowerPoint Icons\Beispiele gute Präsis und Icons\03___Icons_PowerPoint\Icons\Dokumente\mailbox_open_letter_inbox_1600_clr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0933" y="4901497"/>
            <a:ext cx="376393" cy="329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02" name="Textfeld 55"/>
          <p:cNvSpPr txBox="1"/>
          <p:nvPr/>
        </p:nvSpPr>
        <p:spPr>
          <a:xfrm>
            <a:off x="4355051" y="4739621"/>
            <a:ext cx="54697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kern="0" dirty="0" smtClean="0">
                <a:solidFill>
                  <a:srgbClr val="404040"/>
                </a:solidFill>
                <a:latin typeface="CorpoS" pitchFamily="2" charset="0"/>
                <a:ea typeface="+mn-ea"/>
              </a:rPr>
              <a:t>20.01</a:t>
            </a:r>
          </a:p>
        </p:txBody>
      </p:sp>
      <p:sp>
        <p:nvSpPr>
          <p:cNvPr id="403" name="Rechteck 402"/>
          <p:cNvSpPr/>
          <p:nvPr/>
        </p:nvSpPr>
        <p:spPr bwMode="auto">
          <a:xfrm>
            <a:off x="647882" y="2275265"/>
            <a:ext cx="8094441" cy="442658"/>
          </a:xfrm>
          <a:prstGeom prst="rect">
            <a:avLst/>
          </a:prstGeom>
          <a:noFill/>
          <a:ln w="9525" cap="flat" cmpd="sng" algn="ctr">
            <a:solidFill>
              <a:srgbClr val="404040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endParaRPr lang="de-DE" sz="1800" b="0" smtClean="0">
              <a:solidFill>
                <a:srgbClr val="000000"/>
              </a:solidFill>
              <a:latin typeface="CorpoS" pitchFamily="2" charset="0"/>
              <a:ea typeface="+mn-ea"/>
            </a:endParaRPr>
          </a:p>
        </p:txBody>
      </p:sp>
      <p:sp>
        <p:nvSpPr>
          <p:cNvPr id="404" name="Rechteck 403"/>
          <p:cNvSpPr/>
          <p:nvPr/>
        </p:nvSpPr>
        <p:spPr bwMode="auto">
          <a:xfrm>
            <a:off x="647870" y="2717368"/>
            <a:ext cx="8094441" cy="442658"/>
          </a:xfrm>
          <a:prstGeom prst="rect">
            <a:avLst/>
          </a:prstGeom>
          <a:noFill/>
          <a:ln w="9525" cap="flat" cmpd="sng" algn="ctr">
            <a:solidFill>
              <a:srgbClr val="404040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endParaRPr lang="de-DE" sz="1800" b="0" smtClean="0">
              <a:solidFill>
                <a:srgbClr val="000000"/>
              </a:solidFill>
              <a:latin typeface="CorpoS" pitchFamily="2" charset="0"/>
              <a:ea typeface="+mn-ea"/>
            </a:endParaRPr>
          </a:p>
        </p:txBody>
      </p:sp>
      <p:sp>
        <p:nvSpPr>
          <p:cNvPr id="405" name="Rechteck 404"/>
          <p:cNvSpPr/>
          <p:nvPr/>
        </p:nvSpPr>
        <p:spPr bwMode="auto">
          <a:xfrm>
            <a:off x="647858" y="3160403"/>
            <a:ext cx="8094441" cy="1346810"/>
          </a:xfrm>
          <a:prstGeom prst="rect">
            <a:avLst/>
          </a:prstGeom>
          <a:noFill/>
          <a:ln w="9525" cap="flat" cmpd="sng" algn="ctr">
            <a:solidFill>
              <a:srgbClr val="404040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endParaRPr lang="de-DE" sz="1800" b="0" smtClean="0">
              <a:solidFill>
                <a:srgbClr val="000000"/>
              </a:solidFill>
              <a:latin typeface="CorpoS" pitchFamily="2" charset="0"/>
              <a:ea typeface="+mn-ea"/>
            </a:endParaRPr>
          </a:p>
        </p:txBody>
      </p:sp>
      <p:sp>
        <p:nvSpPr>
          <p:cNvPr id="406" name="Rechteck 405"/>
          <p:cNvSpPr/>
          <p:nvPr/>
        </p:nvSpPr>
        <p:spPr bwMode="auto">
          <a:xfrm>
            <a:off x="647846" y="4506350"/>
            <a:ext cx="8094441" cy="1889800"/>
          </a:xfrm>
          <a:prstGeom prst="rect">
            <a:avLst/>
          </a:prstGeom>
          <a:noFill/>
          <a:ln w="9525" cap="flat" cmpd="sng" algn="ctr">
            <a:solidFill>
              <a:srgbClr val="404040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endParaRPr lang="de-DE" sz="1800" b="0" smtClean="0">
              <a:solidFill>
                <a:srgbClr val="000000"/>
              </a:solidFill>
              <a:latin typeface="CorpoS" pitchFamily="2" charset="0"/>
              <a:ea typeface="+mn-ea"/>
            </a:endParaRPr>
          </a:p>
        </p:txBody>
      </p:sp>
      <p:sp>
        <p:nvSpPr>
          <p:cNvPr id="407" name="Pfeil nach rechts 406"/>
          <p:cNvSpPr/>
          <p:nvPr/>
        </p:nvSpPr>
        <p:spPr>
          <a:xfrm>
            <a:off x="5756813" y="6224148"/>
            <a:ext cx="627053" cy="251402"/>
          </a:xfrm>
          <a:prstGeom prst="rightArrow">
            <a:avLst>
              <a:gd name="adj1" fmla="val 58411"/>
              <a:gd name="adj2" fmla="val 55011"/>
            </a:avLst>
          </a:prstGeom>
          <a:gradFill flip="none" rotWithShape="1">
            <a:gsLst>
              <a:gs pos="0">
                <a:srgbClr val="FFFFFF"/>
              </a:gs>
              <a:gs pos="100000">
                <a:srgbClr val="FFFFFF">
                  <a:lumMod val="65000"/>
                </a:srgbClr>
              </a:gs>
            </a:gsLst>
            <a:lin ang="0" scaled="1"/>
            <a:tileRect/>
          </a:gradFill>
          <a:ln w="76200" cap="flat" cmpd="sng" algn="ctr">
            <a:noFill/>
            <a:prstDash val="solid"/>
          </a:ln>
          <a:effectLst/>
        </p:spPr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 err="1" smtClean="0">
              <a:ln>
                <a:noFill/>
              </a:ln>
              <a:solidFill>
                <a:srgbClr val="000000">
                  <a:lumMod val="95000"/>
                  <a:lumOff val="5000"/>
                </a:srgbClr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</p:txBody>
      </p:sp>
      <p:grpSp>
        <p:nvGrpSpPr>
          <p:cNvPr id="408" name="Gruppieren 407"/>
          <p:cNvGrpSpPr/>
          <p:nvPr/>
        </p:nvGrpSpPr>
        <p:grpSpPr>
          <a:xfrm>
            <a:off x="3263876" y="2387050"/>
            <a:ext cx="546646" cy="403382"/>
            <a:chOff x="3300513" y="2482824"/>
            <a:chExt cx="546646" cy="403382"/>
          </a:xfrm>
        </p:grpSpPr>
        <p:pic>
          <p:nvPicPr>
            <p:cNvPr id="409" name="Picture 8" descr="C:\DATEN\sonstiges\PowerPoint Icons\Beispiele gute Präsis und Icons\03___Icons_PowerPoint\Icons\Dokumente\single_yellow_folder_1600_clr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09316" y="2482824"/>
              <a:ext cx="537843" cy="40338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10" name="Textfeld 409"/>
            <p:cNvSpPr txBox="1"/>
            <p:nvPr/>
          </p:nvSpPr>
          <p:spPr>
            <a:xfrm rot="794566">
              <a:off x="3300513" y="2525650"/>
              <a:ext cx="441146" cy="2000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700" dirty="0" smtClean="0">
                  <a:solidFill>
                    <a:srgbClr val="C00000"/>
                  </a:solidFill>
                  <a:latin typeface="CorpoS"/>
                  <a:ea typeface="+mn-ea"/>
                </a:rPr>
                <a:t>DRAFT</a:t>
              </a:r>
              <a:endParaRPr lang="de-DE" sz="700" dirty="0">
                <a:solidFill>
                  <a:srgbClr val="C00000"/>
                </a:solidFill>
                <a:latin typeface="CorpoS"/>
                <a:ea typeface="+mn-ea"/>
              </a:endParaRPr>
            </a:p>
          </p:txBody>
        </p:sp>
      </p:grpSp>
      <p:sp>
        <p:nvSpPr>
          <p:cNvPr id="411" name="Textfeld 55"/>
          <p:cNvSpPr txBox="1"/>
          <p:nvPr/>
        </p:nvSpPr>
        <p:spPr>
          <a:xfrm>
            <a:off x="4421616" y="2677908"/>
            <a:ext cx="54697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kern="0" dirty="0" smtClean="0">
                <a:solidFill>
                  <a:srgbClr val="404040"/>
                </a:solidFill>
                <a:latin typeface="CorpoS" pitchFamily="2" charset="0"/>
                <a:ea typeface="+mn-ea"/>
              </a:rPr>
              <a:t>26.01</a:t>
            </a:r>
          </a:p>
        </p:txBody>
      </p:sp>
      <p:sp>
        <p:nvSpPr>
          <p:cNvPr id="412" name="Textfeld 55"/>
          <p:cNvSpPr txBox="1"/>
          <p:nvPr/>
        </p:nvSpPr>
        <p:spPr>
          <a:xfrm>
            <a:off x="5027483" y="2679250"/>
            <a:ext cx="54697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kern="0" dirty="0" smtClean="0">
                <a:solidFill>
                  <a:srgbClr val="404040"/>
                </a:solidFill>
                <a:latin typeface="CorpoS" pitchFamily="2" charset="0"/>
                <a:ea typeface="+mn-ea"/>
              </a:rPr>
              <a:t>09.02</a:t>
            </a:r>
          </a:p>
        </p:txBody>
      </p:sp>
      <p:sp>
        <p:nvSpPr>
          <p:cNvPr id="413" name="Textfeld 55"/>
          <p:cNvSpPr txBox="1"/>
          <p:nvPr/>
        </p:nvSpPr>
        <p:spPr>
          <a:xfrm>
            <a:off x="6235003" y="2680648"/>
            <a:ext cx="54697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kern="0" dirty="0" smtClean="0">
                <a:solidFill>
                  <a:srgbClr val="404040"/>
                </a:solidFill>
                <a:latin typeface="CorpoS" pitchFamily="2" charset="0"/>
                <a:ea typeface="+mn-ea"/>
              </a:rPr>
              <a:t>24.03</a:t>
            </a:r>
          </a:p>
        </p:txBody>
      </p:sp>
      <p:sp>
        <p:nvSpPr>
          <p:cNvPr id="414" name="Textfeld 55"/>
          <p:cNvSpPr txBox="1"/>
          <p:nvPr/>
        </p:nvSpPr>
        <p:spPr>
          <a:xfrm>
            <a:off x="7955862" y="2674930"/>
            <a:ext cx="54697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kern="0" dirty="0" smtClean="0">
                <a:solidFill>
                  <a:srgbClr val="404040"/>
                </a:solidFill>
                <a:latin typeface="CorpoS" pitchFamily="2" charset="0"/>
                <a:ea typeface="+mn-ea"/>
              </a:rPr>
              <a:t>19.05</a:t>
            </a:r>
          </a:p>
        </p:txBody>
      </p:sp>
      <p:pic>
        <p:nvPicPr>
          <p:cNvPr id="416" name="Picture 5"/>
          <p:cNvPicPr>
            <a:picLocks noChangeAspect="1" noChangeArrowheads="1"/>
          </p:cNvPicPr>
          <p:nvPr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72241" y="2387050"/>
            <a:ext cx="292469" cy="3213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7" name="Picture 5"/>
          <p:cNvPicPr>
            <a:picLocks noChangeAspect="1" noChangeArrowheads="1"/>
          </p:cNvPicPr>
          <p:nvPr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5157" y="4536998"/>
            <a:ext cx="292469" cy="3213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418" name="Gruppieren 417"/>
          <p:cNvGrpSpPr/>
          <p:nvPr/>
        </p:nvGrpSpPr>
        <p:grpSpPr>
          <a:xfrm>
            <a:off x="6140489" y="3318629"/>
            <a:ext cx="1083802" cy="1494310"/>
            <a:chOff x="6116545" y="3416603"/>
            <a:chExt cx="1083802" cy="1494310"/>
          </a:xfrm>
        </p:grpSpPr>
        <p:grpSp>
          <p:nvGrpSpPr>
            <p:cNvPr id="419" name="Gruppieren 418"/>
            <p:cNvGrpSpPr/>
            <p:nvPr/>
          </p:nvGrpSpPr>
          <p:grpSpPr>
            <a:xfrm>
              <a:off x="6116545" y="3416603"/>
              <a:ext cx="1083802" cy="1494310"/>
              <a:chOff x="6116545" y="3416603"/>
              <a:chExt cx="1083802" cy="1494310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421" name="Rechteck 420"/>
              <p:cNvSpPr/>
              <p:nvPr/>
            </p:nvSpPr>
            <p:spPr bwMode="auto">
              <a:xfrm rot="399921">
                <a:off x="6275204" y="4425001"/>
                <a:ext cx="639110" cy="208873"/>
              </a:xfrm>
              <a:prstGeom prst="rect">
                <a:avLst/>
              </a:prstGeom>
              <a:solidFill>
                <a:srgbClr val="FFFFFF"/>
              </a:solidFill>
              <a:ln w="9525" cap="flat" cmpd="sng" algn="ctr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  <p:txBody>
              <a:bodyPr vert="horz" wrap="square" lIns="90000" tIns="46800" rIns="90000" bIns="4680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pic>
            <p:nvPicPr>
              <p:cNvPr id="422" name="Picture 19"/>
              <p:cNvPicPr>
                <a:picLocks noChangeAspect="1" noChangeArrowheads="1"/>
              </p:cNvPicPr>
              <p:nvPr/>
            </p:nvPicPr>
            <p:blipFill>
              <a:blip r:embed="rId8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rot="370870">
                <a:off x="6116545" y="3416603"/>
                <a:ext cx="1083802" cy="14943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420" name="Textfeld 419"/>
            <p:cNvSpPr txBox="1"/>
            <p:nvPr/>
          </p:nvSpPr>
          <p:spPr>
            <a:xfrm rot="376827">
              <a:off x="6172186" y="3507444"/>
              <a:ext cx="999184" cy="126840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rPr>
                <a:t>Next Steps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rPr>
                <a:t>Package 1a:</a:t>
              </a:r>
            </a:p>
            <a:p>
              <a:pPr marL="0" marR="0" lvl="0" indent="0" defTabSz="914400" eaLnBrk="1" fontAlgn="auto" latinLnBrk="0" hangingPunct="1">
                <a:lnSpc>
                  <a:spcPts val="1100"/>
                </a:lnSpc>
                <a:spcBef>
                  <a:spcPts val="0"/>
                </a:spcBef>
                <a:spcAft>
                  <a:spcPts val="0"/>
                </a:spcAft>
                <a:buClr>
                  <a:srgbClr val="8D8F92"/>
                </a:buClr>
                <a:buSzPct val="80000"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0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rPr>
                <a:t>All BC‘s </a:t>
              </a:r>
            </a:p>
            <a:p>
              <a:pPr marL="0" marR="0" lvl="0" indent="0" defTabSz="914400" eaLnBrk="1" fontAlgn="auto" latinLnBrk="0" hangingPunct="1">
                <a:lnSpc>
                  <a:spcPts val="1100"/>
                </a:lnSpc>
                <a:spcBef>
                  <a:spcPts val="0"/>
                </a:spcBef>
                <a:spcAft>
                  <a:spcPts val="0"/>
                </a:spcAft>
                <a:buClr>
                  <a:srgbClr val="8D8F92"/>
                </a:buClr>
                <a:buSzPct val="80000"/>
                <a:tabLst/>
                <a:defRPr/>
              </a:pPr>
              <a:r>
                <a:rPr lang="en-US" sz="1050" b="0" kern="0" dirty="0">
                  <a:solidFill>
                    <a:srgbClr val="000000"/>
                  </a:solidFill>
                  <a:latin typeface="CorpoS" pitchFamily="2" charset="0"/>
                  <a:ea typeface="+mn-ea"/>
                </a:rPr>
                <a:t> </a:t>
              </a:r>
              <a:r>
                <a:rPr lang="en-US" sz="1050" b="0" kern="0" dirty="0" smtClean="0">
                  <a:solidFill>
                    <a:srgbClr val="000000"/>
                  </a:solidFill>
                  <a:latin typeface="CorpoS" pitchFamily="2" charset="0"/>
                  <a:ea typeface="+mn-ea"/>
                </a:rPr>
                <a:t> </a:t>
              </a:r>
              <a:r>
                <a:rPr kumimoji="0" lang="en-US" sz="10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CorpoS" pitchFamily="2" charset="0"/>
                  <a:ea typeface="+mn-ea"/>
                </a:rPr>
                <a:t>(placeholders)</a:t>
              </a:r>
            </a:p>
            <a:p>
              <a:pPr marL="0" marR="0" lvl="0" indent="0" defTabSz="914400" eaLnBrk="1" fontAlgn="auto" latinLnBrk="0" hangingPunct="1">
                <a:lnSpc>
                  <a:spcPts val="1100"/>
                </a:lnSpc>
                <a:spcBef>
                  <a:spcPts val="0"/>
                </a:spcBef>
                <a:spcAft>
                  <a:spcPts val="0"/>
                </a:spcAft>
                <a:buClr>
                  <a:srgbClr val="8D8F92"/>
                </a:buClr>
                <a:buSzPct val="80000"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0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rPr>
                <a:t>2-step timing</a:t>
              </a:r>
            </a:p>
            <a:p>
              <a:pPr marL="0" marR="0" lvl="0" indent="0" defTabSz="914400" eaLnBrk="1" fontAlgn="auto" latinLnBrk="0" hangingPunct="1">
                <a:lnSpc>
                  <a:spcPts val="1100"/>
                </a:lnSpc>
                <a:spcBef>
                  <a:spcPts val="0"/>
                </a:spcBef>
                <a:spcAft>
                  <a:spcPts val="0"/>
                </a:spcAft>
                <a:buClr>
                  <a:srgbClr val="8D8F92"/>
                </a:buClr>
                <a:buSzPct val="80000"/>
                <a:buFont typeface="Wingdings" panose="05000000000000000000" pitchFamily="2" charset="2"/>
                <a:buChar char="§"/>
                <a:tabLst/>
                <a:defRPr/>
              </a:pPr>
              <a:r>
                <a:rPr lang="en-US" sz="1050" b="0" kern="0" dirty="0" smtClean="0">
                  <a:solidFill>
                    <a:srgbClr val="000000"/>
                  </a:solidFill>
                  <a:latin typeface="CorpoS" pitchFamily="2" charset="0"/>
                  <a:ea typeface="+mn-ea"/>
                </a:rPr>
                <a:t>Measuring </a:t>
              </a:r>
            </a:p>
            <a:p>
              <a:pPr marL="0" marR="0" lvl="0" indent="0" defTabSz="914400" eaLnBrk="1" fontAlgn="auto" latinLnBrk="0" hangingPunct="1">
                <a:lnSpc>
                  <a:spcPts val="1100"/>
                </a:lnSpc>
                <a:spcBef>
                  <a:spcPts val="0"/>
                </a:spcBef>
                <a:spcAft>
                  <a:spcPts val="0"/>
                </a:spcAft>
                <a:buClr>
                  <a:srgbClr val="8D8F92"/>
                </a:buClr>
                <a:buSzPct val="80000"/>
                <a:tabLst/>
                <a:defRPr/>
              </a:pPr>
              <a:r>
                <a:rPr lang="en-US" sz="1050" b="0" kern="0" dirty="0" smtClean="0">
                  <a:solidFill>
                    <a:srgbClr val="000000"/>
                  </a:solidFill>
                  <a:latin typeface="CorpoS" pitchFamily="2" charset="0"/>
                  <a:ea typeface="+mn-ea"/>
                </a:rPr>
                <a:t>  Technology</a:t>
              </a:r>
              <a:endParaRPr kumimoji="0" 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</p:grpSp>
      <p:grpSp>
        <p:nvGrpSpPr>
          <p:cNvPr id="423" name="Gruppieren 422"/>
          <p:cNvGrpSpPr/>
          <p:nvPr/>
        </p:nvGrpSpPr>
        <p:grpSpPr>
          <a:xfrm>
            <a:off x="7722028" y="3303903"/>
            <a:ext cx="1154200" cy="1494310"/>
            <a:chOff x="7763394" y="3408408"/>
            <a:chExt cx="1154200" cy="1494310"/>
          </a:xfrm>
        </p:grpSpPr>
        <p:grpSp>
          <p:nvGrpSpPr>
            <p:cNvPr id="424" name="Gruppieren 423"/>
            <p:cNvGrpSpPr/>
            <p:nvPr/>
          </p:nvGrpSpPr>
          <p:grpSpPr>
            <a:xfrm>
              <a:off x="7763394" y="3408408"/>
              <a:ext cx="1154200" cy="1494310"/>
              <a:chOff x="7763319" y="3408408"/>
              <a:chExt cx="960282" cy="1494310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426" name="Rechteck 425"/>
              <p:cNvSpPr/>
              <p:nvPr/>
            </p:nvSpPr>
            <p:spPr bwMode="auto">
              <a:xfrm rot="399921">
                <a:off x="7931491" y="4427321"/>
                <a:ext cx="639110" cy="208873"/>
              </a:xfrm>
              <a:prstGeom prst="rect">
                <a:avLst/>
              </a:prstGeom>
              <a:solidFill>
                <a:srgbClr val="FFFFFF"/>
              </a:solidFill>
              <a:ln w="9525" cap="flat" cmpd="sng" algn="ctr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  <p:txBody>
              <a:bodyPr vert="horz" wrap="square" lIns="90000" tIns="46800" rIns="90000" bIns="4680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pic>
            <p:nvPicPr>
              <p:cNvPr id="427" name="Picture 19"/>
              <p:cNvPicPr>
                <a:picLocks noChangeAspect="1" noChangeArrowheads="1"/>
              </p:cNvPicPr>
              <p:nvPr/>
            </p:nvPicPr>
            <p:blipFill>
              <a:blip r:embed="rId9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rot="370870">
                <a:off x="7763319" y="3408408"/>
                <a:ext cx="960282" cy="14943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425" name="Textfeld 424"/>
            <p:cNvSpPr txBox="1"/>
            <p:nvPr/>
          </p:nvSpPr>
          <p:spPr>
            <a:xfrm rot="376827">
              <a:off x="7849529" y="3506737"/>
              <a:ext cx="999184" cy="126840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orpoS" pitchFamily="2" charset="0"/>
                  <a:ea typeface="+mn-ea"/>
                </a:rPr>
                <a:t>Next </a:t>
              </a:r>
              <a:r>
                <a:rPr kumimoji="0" lang="de-DE" sz="1200" i="0" u="none" strike="noStrike" kern="0" cap="none" spc="0" normalizeH="0" baseline="0" noProof="0" dirty="0" err="1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orpoS" pitchFamily="2" charset="0"/>
                  <a:ea typeface="+mn-ea"/>
                </a:rPr>
                <a:t>Steps</a:t>
              </a:r>
              <a:endParaRPr kumimoji="0" lang="de-DE" sz="120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orpoS" pitchFamily="2" charset="0"/>
                  <a:ea typeface="+mn-ea"/>
                </a:rPr>
                <a:t>Package 1b</a:t>
              </a:r>
              <a:r>
                <a:rPr kumimoji="0" lang="de-DE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rPr>
                <a:t>: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8D8F92"/>
                </a:buClr>
                <a:buSzPct val="80000"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de-DE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rPr>
                <a:t>Timing</a:t>
              </a:r>
            </a:p>
            <a:p>
              <a:pPr fontAlgn="auto">
                <a:spcBef>
                  <a:spcPts val="0"/>
                </a:spcBef>
                <a:spcAft>
                  <a:spcPts val="0"/>
                </a:spcAft>
                <a:buClr>
                  <a:srgbClr val="8D8F92"/>
                </a:buClr>
                <a:buSzPct val="80000"/>
                <a:buFont typeface="Wingdings" panose="05000000000000000000" pitchFamily="2" charset="2"/>
                <a:buChar char="§"/>
                <a:defRPr/>
              </a:pPr>
              <a:r>
                <a:rPr lang="de-DE" sz="1000" b="0" kern="0" dirty="0" err="1" smtClean="0">
                  <a:solidFill>
                    <a:srgbClr val="C00000"/>
                  </a:solidFill>
                  <a:latin typeface="CorpoS" pitchFamily="2" charset="0"/>
                  <a:ea typeface="+mn-ea"/>
                </a:rPr>
                <a:t>Concrete</a:t>
              </a:r>
              <a:r>
                <a:rPr lang="de-DE" sz="1000" b="0" kern="0" dirty="0" smtClean="0">
                  <a:solidFill>
                    <a:srgbClr val="C00000"/>
                  </a:solidFill>
                  <a:latin typeface="CorpoS" pitchFamily="2" charset="0"/>
                  <a:ea typeface="+mn-ea"/>
                </a:rPr>
                <a:t> </a:t>
              </a:r>
              <a:r>
                <a:rPr lang="de-DE" sz="1000" b="0" kern="0" dirty="0" err="1" smtClean="0">
                  <a:solidFill>
                    <a:srgbClr val="C00000"/>
                  </a:solidFill>
                  <a:latin typeface="CorpoS" pitchFamily="2" charset="0"/>
                  <a:ea typeface="+mn-ea"/>
                </a:rPr>
                <a:t>BC‘s</a:t>
              </a:r>
              <a:r>
                <a:rPr lang="de-DE" sz="1000" b="0" kern="0" dirty="0" smtClean="0">
                  <a:solidFill>
                    <a:srgbClr val="C00000"/>
                  </a:solidFill>
                  <a:latin typeface="CorpoS" pitchFamily="2" charset="0"/>
                  <a:ea typeface="+mn-ea"/>
                </a:rPr>
                <a:t> </a:t>
              </a:r>
              <a:endParaRPr kumimoji="0" lang="de-DE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  <a:p>
              <a:pPr fontAlgn="auto">
                <a:spcBef>
                  <a:spcPts val="0"/>
                </a:spcBef>
                <a:spcAft>
                  <a:spcPts val="0"/>
                </a:spcAft>
                <a:buClr>
                  <a:srgbClr val="8D8F92"/>
                </a:buClr>
                <a:buSzPct val="80000"/>
                <a:defRPr/>
              </a:pPr>
              <a:r>
                <a:rPr lang="de-DE" sz="1000" b="0" kern="0" dirty="0">
                  <a:solidFill>
                    <a:srgbClr val="C00000"/>
                  </a:solidFill>
                  <a:latin typeface="CorpoS" pitchFamily="2" charset="0"/>
                  <a:ea typeface="+mn-ea"/>
                </a:rPr>
                <a:t> </a:t>
              </a:r>
              <a:r>
                <a:rPr lang="en-US" sz="1000" b="0" kern="0" dirty="0" smtClean="0">
                  <a:solidFill>
                    <a:srgbClr val="C00000"/>
                  </a:solidFill>
                  <a:latin typeface="CorpoS" pitchFamily="2" charset="0"/>
                </a:rPr>
                <a:t>values</a:t>
              </a:r>
              <a:endParaRPr kumimoji="0" lang="de-DE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8D8F92"/>
                </a:buClr>
                <a:buSzPct val="80000"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de-DE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rPr>
                <a:t>CF‘s</a:t>
              </a:r>
            </a:p>
          </p:txBody>
        </p:sp>
      </p:grpSp>
      <p:sp>
        <p:nvSpPr>
          <p:cNvPr id="428" name="Textfeld 55"/>
          <p:cNvSpPr txBox="1"/>
          <p:nvPr/>
        </p:nvSpPr>
        <p:spPr>
          <a:xfrm>
            <a:off x="6152356" y="4601688"/>
            <a:ext cx="54697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kern="0" dirty="0" smtClean="0">
                <a:solidFill>
                  <a:srgbClr val="404040"/>
                </a:solidFill>
                <a:latin typeface="CorpoS" pitchFamily="2" charset="0"/>
                <a:ea typeface="+mn-ea"/>
              </a:rPr>
              <a:t>24.03</a:t>
            </a:r>
          </a:p>
        </p:txBody>
      </p:sp>
      <p:sp>
        <p:nvSpPr>
          <p:cNvPr id="429" name="Textfeld 55"/>
          <p:cNvSpPr txBox="1"/>
          <p:nvPr/>
        </p:nvSpPr>
        <p:spPr>
          <a:xfrm>
            <a:off x="7747002" y="4596743"/>
            <a:ext cx="54697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kern="0" dirty="0" smtClean="0">
                <a:solidFill>
                  <a:srgbClr val="404040"/>
                </a:solidFill>
                <a:latin typeface="CorpoS" pitchFamily="2" charset="0"/>
                <a:ea typeface="+mn-ea"/>
              </a:rPr>
              <a:t>19.05</a:t>
            </a:r>
          </a:p>
        </p:txBody>
      </p:sp>
      <p:pic>
        <p:nvPicPr>
          <p:cNvPr id="430" name="Picture 7" descr="C:\Users\rsr\Desktop\meeting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0435" y="2869098"/>
            <a:ext cx="264329" cy="2643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1" name="Picture 7" descr="C:\Users\rsr\Desktop\meeting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73598" y="2869954"/>
            <a:ext cx="264329" cy="2643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2" name="Picture 7" descr="C:\Users\rsr\Desktop\meeting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81091" y="2869097"/>
            <a:ext cx="264329" cy="2643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3" name="Picture 7" descr="C:\Users\rsr\Desktop\meeting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82110" y="2869096"/>
            <a:ext cx="264329" cy="2643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4" name="Picture 11" descr="http://www.sch-holz.de/image/kreuz.png"/>
          <p:cNvPicPr>
            <a:picLocks noChangeAspect="1" noChangeArrowheads="1"/>
          </p:cNvPicPr>
          <p:nvPr/>
        </p:nvPicPr>
        <p:blipFill>
          <a:blip r:embed="rId11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08157" y="2869954"/>
            <a:ext cx="410836" cy="2934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5" name="Picture 11" descr="http://www.sch-holz.de/image/kreuz.png"/>
          <p:cNvPicPr>
            <a:picLocks noChangeAspect="1" noChangeArrowheads="1"/>
          </p:cNvPicPr>
          <p:nvPr/>
        </p:nvPicPr>
        <p:blipFill>
          <a:blip r:embed="rId11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28906" y="2875627"/>
            <a:ext cx="410836" cy="2934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0" name="Gekrümmte Verbindung 9"/>
          <p:cNvCxnSpPr/>
          <p:nvPr/>
        </p:nvCxnSpPr>
        <p:spPr bwMode="auto">
          <a:xfrm rot="16200000" flipH="1">
            <a:off x="2686785" y="3425874"/>
            <a:ext cx="2438898" cy="889398"/>
          </a:xfrm>
          <a:prstGeom prst="curvedConnector2">
            <a:avLst/>
          </a:prstGeom>
          <a:solidFill>
            <a:srgbClr val="DDDDDD"/>
          </a:solidFill>
          <a:ln w="12700" cap="flat" cmpd="sng" algn="ctr">
            <a:solidFill>
              <a:schemeClr val="bg2"/>
            </a:solidFill>
            <a:prstDash val="solid"/>
            <a:round/>
            <a:headEnd type="oval" w="med" len="med"/>
            <a:tailEnd type="triangle" w="med" len="med"/>
          </a:ln>
          <a:effectLst>
            <a:outerShdw blurRad="63500" dist="35921" dir="2700000" algn="ctr" rotWithShape="0">
              <a:schemeClr val="bg2"/>
            </a:outerShdw>
          </a:effectLst>
          <a:extLst/>
        </p:spPr>
      </p:cxnSp>
      <p:sp>
        <p:nvSpPr>
          <p:cNvPr id="237" name="Textplatzhalter 2"/>
          <p:cNvSpPr txBox="1">
            <a:spLocks/>
          </p:cNvSpPr>
          <p:nvPr/>
        </p:nvSpPr>
        <p:spPr>
          <a:xfrm>
            <a:off x="727660" y="2729905"/>
            <a:ext cx="2398139" cy="362906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C0C0"/>
              </a:buClr>
              <a:buSzTx/>
              <a:buFontTx/>
              <a:buNone/>
              <a:tabLst/>
              <a:defRPr sz="1400" b="1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184150" marR="0" indent="-1841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C0C0"/>
              </a:buClr>
              <a:buSzTx/>
              <a:buFont typeface="Arial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361950" marR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C0C0"/>
              </a:buClr>
              <a:buSzTx/>
              <a:buFont typeface="Symbol" pitchFamily="18" charset="2"/>
              <a:buChar char="-"/>
              <a:tabLst/>
              <a:defRPr sz="1400" b="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3pPr>
            <a:lvl4pPr marL="542925" marR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C0C0"/>
              </a:buClr>
              <a:buSzTx/>
              <a:buFont typeface="Arial" pitchFamily="34" charset="0"/>
              <a:buChar char="•"/>
              <a:tabLst/>
              <a:defRPr sz="1400" b="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4pPr>
            <a:lvl5pPr marL="715963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C0C0"/>
              </a:buClr>
              <a:buSzTx/>
              <a:buFont typeface="Symbol" pitchFamily="18" charset="2"/>
              <a:buChar char="-"/>
              <a:tabLst/>
              <a:defRPr sz="1400" kern="1200" baseline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5pPr>
            <a:lvl6pPr marL="1520825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97050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062163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328863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600"/>
              </a:lnSpc>
              <a:spcAft>
                <a:spcPts val="0"/>
              </a:spcAft>
              <a:defRPr/>
            </a:pPr>
            <a:r>
              <a:rPr lang="en-US" sz="1100" kern="0" dirty="0" smtClean="0">
                <a:solidFill>
                  <a:srgbClr val="404040"/>
                </a:solidFill>
                <a:cs typeface="Times New Roman"/>
              </a:rPr>
              <a:t>  TCMV </a:t>
            </a:r>
            <a:r>
              <a:rPr lang="en-US" sz="1100" kern="0" dirty="0">
                <a:solidFill>
                  <a:srgbClr val="404040"/>
                </a:solidFill>
                <a:cs typeface="Times New Roman"/>
              </a:rPr>
              <a:t>Meetings</a:t>
            </a:r>
          </a:p>
          <a:p>
            <a:pPr>
              <a:lnSpc>
                <a:spcPts val="700"/>
              </a:lnSpc>
              <a:spcAft>
                <a:spcPts val="0"/>
              </a:spcAft>
              <a:defRPr/>
            </a:pPr>
            <a:r>
              <a:rPr lang="en-US" sz="1100" kern="0" dirty="0">
                <a:solidFill>
                  <a:srgbClr val="404040"/>
                </a:solidFill>
                <a:cs typeface="Times New Roman"/>
              </a:rPr>
              <a:t>    </a:t>
            </a:r>
            <a:endParaRPr lang="en-US" sz="1100" kern="0" dirty="0" smtClean="0">
              <a:solidFill>
                <a:srgbClr val="404040"/>
              </a:solidFill>
              <a:cs typeface="Times New Roman"/>
            </a:endParaRPr>
          </a:p>
          <a:p>
            <a:pPr>
              <a:lnSpc>
                <a:spcPts val="700"/>
              </a:lnSpc>
              <a:spcAft>
                <a:spcPts val="0"/>
              </a:spcAft>
              <a:defRPr/>
            </a:pPr>
            <a:r>
              <a:rPr lang="en-US" sz="1100" kern="0" dirty="0" smtClean="0">
                <a:solidFill>
                  <a:srgbClr val="404040"/>
                </a:solidFill>
                <a:cs typeface="Times New Roman"/>
              </a:rPr>
              <a:t>      </a:t>
            </a:r>
            <a:r>
              <a:rPr lang="en-US" sz="1100" b="0" kern="0" dirty="0" smtClean="0">
                <a:solidFill>
                  <a:srgbClr val="404040"/>
                </a:solidFill>
                <a:cs typeface="Times New Roman"/>
              </a:rPr>
              <a:t>- </a:t>
            </a:r>
            <a:r>
              <a:rPr lang="pt-BR" sz="1100" b="0" kern="0" dirty="0">
                <a:solidFill>
                  <a:srgbClr val="404040"/>
                </a:solidFill>
                <a:cs typeface="Times New Roman"/>
              </a:rPr>
              <a:t> compromise package by EU com</a:t>
            </a:r>
          </a:p>
        </p:txBody>
      </p:sp>
      <p:pic>
        <p:nvPicPr>
          <p:cNvPr id="415" name="Picture 2" descr="European Commission logo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42088" y="2818643"/>
            <a:ext cx="357341" cy="24723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0" name="Picture 7" descr="C:\Users\rsr\Desktop\meeting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55278" y="2874796"/>
            <a:ext cx="264329" cy="2643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1" name="Textfeld 55"/>
          <p:cNvSpPr txBox="1"/>
          <p:nvPr/>
        </p:nvSpPr>
        <p:spPr>
          <a:xfrm>
            <a:off x="3209597" y="2667002"/>
            <a:ext cx="54697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fontAlgn="auto">
              <a:spcBef>
                <a:spcPts val="0"/>
              </a:spcBef>
              <a:spcAft>
                <a:spcPts val="0"/>
              </a:spcAft>
              <a:defRPr sz="1100" kern="0">
                <a:solidFill>
                  <a:srgbClr val="404040"/>
                </a:solidFill>
                <a:latin typeface="CorpoS" pitchFamily="2" charset="0"/>
                <a:ea typeface="+mn-ea"/>
              </a:defRPr>
            </a:lvl1pPr>
          </a:lstStyle>
          <a:p>
            <a:r>
              <a:rPr lang="en-US" dirty="0"/>
              <a:t>18.12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6062129" y="4936069"/>
            <a:ext cx="1051240" cy="811873"/>
            <a:chOff x="5102871" y="5449291"/>
            <a:chExt cx="764014" cy="573011"/>
          </a:xfrm>
        </p:grpSpPr>
        <p:pic>
          <p:nvPicPr>
            <p:cNvPr id="381" name="Picture 10" descr="C:\DATEN\sonstiges\PowerPoint Icons\Beispiele gute Präsis und Icons\03___Icons_PowerPoint\Icons\Stopp\discussion_icon_1600_clr.png"/>
            <p:cNvPicPr>
              <a:picLocks noChangeAspect="1" noChangeArrowheads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02871" y="5449291"/>
              <a:ext cx="764014" cy="57301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82" name="Textfeld 55"/>
            <p:cNvSpPr txBox="1"/>
            <p:nvPr/>
          </p:nvSpPr>
          <p:spPr>
            <a:xfrm rot="322047">
              <a:off x="5313573" y="5477679"/>
              <a:ext cx="546971" cy="28239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auto">
                <a:lnSpc>
                  <a:spcPts val="8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de-DE" sz="900" kern="0" dirty="0" err="1" smtClean="0">
                  <a:solidFill>
                    <a:srgbClr val="002060"/>
                  </a:solidFill>
                  <a:latin typeface="CorpoS" pitchFamily="2" charset="0"/>
                  <a:ea typeface="+mn-ea"/>
                </a:rPr>
                <a:t>Latest</a:t>
              </a:r>
              <a:r>
                <a:rPr lang="de-DE" sz="900" kern="0" dirty="0" smtClean="0">
                  <a:solidFill>
                    <a:srgbClr val="002060"/>
                  </a:solidFill>
                  <a:latin typeface="CorpoS" pitchFamily="2" charset="0"/>
                  <a:ea typeface="+mn-ea"/>
                </a:rPr>
                <a:t> </a:t>
              </a:r>
            </a:p>
            <a:p>
              <a:pPr algn="ctr" fontAlgn="auto">
                <a:lnSpc>
                  <a:spcPts val="8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de-DE" sz="900" kern="0" dirty="0" smtClean="0">
                  <a:solidFill>
                    <a:srgbClr val="002060"/>
                  </a:solidFill>
                  <a:latin typeface="CorpoS" pitchFamily="2" charset="0"/>
                  <a:ea typeface="+mn-ea"/>
                </a:rPr>
                <a:t>09- 16. </a:t>
              </a:r>
            </a:p>
            <a:p>
              <a:pPr algn="ctr" fontAlgn="auto">
                <a:lnSpc>
                  <a:spcPts val="8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de-DE" sz="900" kern="0" dirty="0" smtClean="0">
                  <a:solidFill>
                    <a:srgbClr val="002060"/>
                  </a:solidFill>
                  <a:latin typeface="CorpoS" pitchFamily="2" charset="0"/>
                  <a:ea typeface="+mn-ea"/>
                </a:rPr>
                <a:t>March</a:t>
              </a:r>
            </a:p>
          </p:txBody>
        </p:sp>
      </p:grpSp>
      <p:sp>
        <p:nvSpPr>
          <p:cNvPr id="384" name="Textfeld 55"/>
          <p:cNvSpPr txBox="1"/>
          <p:nvPr/>
        </p:nvSpPr>
        <p:spPr>
          <a:xfrm>
            <a:off x="5644265" y="6265614"/>
            <a:ext cx="106133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eaLnBrk="1" fontAlgn="auto" hangingPunct="1">
              <a:spcBef>
                <a:spcPts val="0"/>
              </a:spcBef>
              <a:spcAft>
                <a:spcPts val="0"/>
              </a:spcAft>
              <a:defRPr sz="1100" kern="0">
                <a:solidFill>
                  <a:srgbClr val="404040"/>
                </a:solidFill>
                <a:cs typeface="Times New Roman"/>
              </a:defRPr>
            </a:lvl1pPr>
          </a:lstStyle>
          <a:p>
            <a:r>
              <a:rPr lang="en-US" dirty="0" smtClean="0">
                <a:latin typeface="CorpoS" pitchFamily="2" charset="0"/>
                <a:ea typeface="+mn-ea"/>
              </a:rPr>
              <a:t>02-.13.03</a:t>
            </a:r>
            <a:endParaRPr lang="en-US" dirty="0">
              <a:latin typeface="CorpoS" pitchFamily="2" charset="0"/>
              <a:ea typeface="+mn-ea"/>
            </a:endParaRPr>
          </a:p>
        </p:txBody>
      </p:sp>
      <p:grpSp>
        <p:nvGrpSpPr>
          <p:cNvPr id="4" name="Gruppieren 3"/>
          <p:cNvGrpSpPr/>
          <p:nvPr/>
        </p:nvGrpSpPr>
        <p:grpSpPr>
          <a:xfrm>
            <a:off x="4197724" y="5378952"/>
            <a:ext cx="1872616" cy="1096598"/>
            <a:chOff x="4197724" y="5378952"/>
            <a:chExt cx="1872616" cy="945170"/>
          </a:xfrm>
        </p:grpSpPr>
        <p:pic>
          <p:nvPicPr>
            <p:cNvPr id="1028" name="Picture 4"/>
            <p:cNvPicPr>
              <a:picLocks noChangeAspect="1" noChangeArrowheads="1"/>
            </p:cNvPicPr>
            <p:nvPr/>
          </p:nvPicPr>
          <p:blipFill>
            <a:blip r:embed="rId14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97724" y="5378952"/>
              <a:ext cx="1872616" cy="9451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37" name="Textfeld 436"/>
            <p:cNvSpPr txBox="1"/>
            <p:nvPr/>
          </p:nvSpPr>
          <p:spPr>
            <a:xfrm>
              <a:off x="4328697" y="5463990"/>
              <a:ext cx="1546245" cy="72936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ts val="1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200" kern="0" dirty="0" smtClean="0">
                  <a:solidFill>
                    <a:schemeClr val="bg1"/>
                  </a:solidFill>
                  <a:latin typeface="CorpoS" pitchFamily="2" charset="0"/>
                  <a:ea typeface="+mn-ea"/>
                </a:rPr>
                <a:t> Define</a:t>
              </a:r>
              <a:r>
                <a:rPr kumimoji="0" lang="en-US" sz="1200" i="0" u="none" strike="noStrike" kern="0" cap="none" spc="0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orpoS" pitchFamily="2" charset="0"/>
                  <a:ea typeface="+mn-ea"/>
                </a:rPr>
                <a:t> MS</a:t>
              </a:r>
              <a:r>
                <a:rPr kumimoji="0" lang="en-US" sz="1200" i="0" u="none" strike="noStrike" kern="0" cap="none" spc="0" normalizeH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orpoS" pitchFamily="2" charset="0"/>
                  <a:ea typeface="+mn-ea"/>
                </a:rPr>
                <a:t> for:</a:t>
              </a:r>
              <a:endParaRPr kumimoji="0" lang="en-US" sz="1200" i="0" u="none" strike="noStrike" kern="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  <a:p>
              <a:pPr marL="0" marR="0" lvl="0" indent="0" defTabSz="914400" eaLnBrk="1" fontAlgn="auto" latinLnBrk="0" hangingPunct="1">
                <a:lnSpc>
                  <a:spcPts val="1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orpoS" pitchFamily="2" charset="0"/>
                  <a:ea typeface="+mn-ea"/>
                </a:rPr>
                <a:t> Introduction of </a:t>
              </a:r>
            </a:p>
            <a:p>
              <a:pPr marL="0" marR="0" lvl="0" indent="0" defTabSz="914400" eaLnBrk="1" fontAlgn="auto" latinLnBrk="0" hangingPunct="1">
                <a:lnSpc>
                  <a:spcPts val="1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orpoS" pitchFamily="2" charset="0"/>
                  <a:ea typeface="+mn-ea"/>
                </a:rPr>
                <a:t> ACEA compromise</a:t>
              </a:r>
            </a:p>
            <a:p>
              <a:pPr marL="0" marR="0" lvl="0" indent="0" defTabSz="914400" eaLnBrk="1" fontAlgn="auto" latinLnBrk="0" hangingPunct="1">
                <a:lnSpc>
                  <a:spcPts val="1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200" b="0" kern="0" dirty="0">
                  <a:solidFill>
                    <a:schemeClr val="bg1"/>
                  </a:solidFill>
                  <a:latin typeface="CorpoS" pitchFamily="2" charset="0"/>
                  <a:ea typeface="+mn-ea"/>
                </a:rPr>
                <a:t>i</a:t>
              </a:r>
              <a:r>
                <a:rPr lang="en-US" sz="1200" b="0" kern="0" dirty="0" smtClean="0">
                  <a:solidFill>
                    <a:schemeClr val="bg1"/>
                  </a:solidFill>
                  <a:latin typeface="CorpoS" pitchFamily="2" charset="0"/>
                  <a:ea typeface="+mn-ea"/>
                </a:rPr>
                <a:t>n 1</a:t>
              </a:r>
              <a:r>
                <a:rPr lang="en-US" sz="1200" b="0" kern="0" baseline="30000" dirty="0" smtClean="0">
                  <a:solidFill>
                    <a:schemeClr val="bg1"/>
                  </a:solidFill>
                  <a:latin typeface="CorpoS" pitchFamily="2" charset="0"/>
                  <a:ea typeface="+mn-ea"/>
                </a:rPr>
                <a:t>st</a:t>
              </a:r>
              <a:r>
                <a:rPr lang="en-US" sz="1200" b="0" kern="0" dirty="0" smtClean="0">
                  <a:solidFill>
                    <a:schemeClr val="bg1"/>
                  </a:solidFill>
                  <a:latin typeface="CorpoS" pitchFamily="2" charset="0"/>
                  <a:ea typeface="+mn-ea"/>
                </a:rPr>
                <a:t> week</a:t>
              </a:r>
              <a:r>
                <a:rPr kumimoji="0" lang="en-US" sz="1200" b="0" i="0" u="none" strike="noStrike" kern="0" cap="none" spc="0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orpoS" pitchFamily="2" charset="0"/>
                  <a:ea typeface="+mn-ea"/>
                </a:rPr>
                <a:t> of March</a:t>
              </a:r>
            </a:p>
            <a:p>
              <a:pPr marL="0" marR="0" lvl="0" indent="0" defTabSz="914400" eaLnBrk="1" fontAlgn="auto" latinLnBrk="0" hangingPunct="1">
                <a:lnSpc>
                  <a:spcPts val="1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200" b="0" kern="0" dirty="0" smtClean="0">
                  <a:solidFill>
                    <a:srgbClr val="FF0000"/>
                  </a:solidFill>
                  <a:latin typeface="CorpoS" pitchFamily="2" charset="0"/>
                  <a:ea typeface="+mn-ea"/>
                </a:rPr>
                <a:t>Or ahead of 24.02</a:t>
              </a:r>
              <a:endParaRPr kumimoji="0" lang="en-US" sz="1050" b="0" i="0" u="none" strike="noStrike" kern="0" cap="none" spc="0" normalizeH="0" baseline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</p:grpSp>
      <p:sp>
        <p:nvSpPr>
          <p:cNvPr id="222" name="Textfeld 55"/>
          <p:cNvSpPr txBox="1"/>
          <p:nvPr/>
        </p:nvSpPr>
        <p:spPr>
          <a:xfrm>
            <a:off x="5174079" y="2235817"/>
            <a:ext cx="155422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kern="0" dirty="0" smtClean="0">
                <a:solidFill>
                  <a:srgbClr val="FF0000"/>
                </a:solidFill>
                <a:latin typeface="CorpoS" pitchFamily="2" charset="0"/>
                <a:ea typeface="+mn-ea"/>
              </a:rPr>
              <a:t>Pre small TCMV24.02</a:t>
            </a:r>
          </a:p>
        </p:txBody>
      </p:sp>
      <p:pic>
        <p:nvPicPr>
          <p:cNvPr id="223" name="Picture 7" descr="C:\Users\rsr\Desktop\meeting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96944" y="2478871"/>
            <a:ext cx="264329" cy="264329"/>
          </a:xfrm>
          <a:prstGeom prst="rect">
            <a:avLst/>
          </a:prstGeom>
          <a:solidFill>
            <a:srgbClr val="FF0000"/>
          </a:solidFill>
          <a:ln>
            <a:solidFill>
              <a:srgbClr val="FF0000"/>
            </a:solidFill>
          </a:ln>
          <a:extLst/>
        </p:spPr>
      </p:pic>
      <p:cxnSp>
        <p:nvCxnSpPr>
          <p:cNvPr id="224" name="Gerade Verbindung mit Pfeil 223"/>
          <p:cNvCxnSpPr/>
          <p:nvPr/>
        </p:nvCxnSpPr>
        <p:spPr bwMode="auto">
          <a:xfrm>
            <a:off x="5845792" y="2756296"/>
            <a:ext cx="0" cy="3042833"/>
          </a:xfrm>
          <a:prstGeom prst="straightConnector1">
            <a:avLst/>
          </a:prstGeom>
          <a:solidFill>
            <a:srgbClr val="DDDDDD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 w="med" len="med"/>
          </a:ln>
          <a:effectLst>
            <a:outerShdw blurRad="63500" dist="35921" dir="2700000" algn="ctr" rotWithShape="0">
              <a:schemeClr val="bg2"/>
            </a:outerShdw>
          </a:effectLst>
          <a:extLst/>
        </p:spPr>
      </p:cxnSp>
      <p:sp>
        <p:nvSpPr>
          <p:cNvPr id="436" name="Pfeil nach rechts 435"/>
          <p:cNvSpPr/>
          <p:nvPr/>
        </p:nvSpPr>
        <p:spPr bwMode="auto">
          <a:xfrm rot="10800000">
            <a:off x="5791201" y="5334000"/>
            <a:ext cx="396326" cy="108768"/>
          </a:xfrm>
          <a:prstGeom prst="rightArrow">
            <a:avLst/>
          </a:prstGeom>
          <a:solidFill>
            <a:srgbClr val="FF0000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3200" b="1" i="0" u="none" strike="noStrike" cap="none" normalizeH="0" baseline="0">
              <a:ln>
                <a:noFill/>
              </a:ln>
              <a:solidFill>
                <a:srgbClr val="336699"/>
              </a:solidFill>
              <a:effectLst/>
              <a:latin typeface="Verdana" charset="0"/>
              <a:ea typeface="ＭＳ Ｐゴシック" charset="0"/>
              <a:cs typeface="Arial" charset="0"/>
            </a:endParaRPr>
          </a:p>
        </p:txBody>
      </p:sp>
      <p:sp>
        <p:nvSpPr>
          <p:cNvPr id="438" name="Textfeld 55"/>
          <p:cNvSpPr txBox="1"/>
          <p:nvPr/>
        </p:nvSpPr>
        <p:spPr>
          <a:xfrm>
            <a:off x="5907021" y="5100036"/>
            <a:ext cx="32159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kern="0" dirty="0" smtClean="0">
                <a:solidFill>
                  <a:srgbClr val="FF0000"/>
                </a:solidFill>
                <a:latin typeface="CorpoS" pitchFamily="2" charset="0"/>
                <a:ea typeface="+mn-ea"/>
              </a:rPr>
              <a:t>?</a:t>
            </a:r>
          </a:p>
        </p:txBody>
      </p:sp>
      <p:sp>
        <p:nvSpPr>
          <p:cNvPr id="439" name="Textfeld 55"/>
          <p:cNvSpPr txBox="1"/>
          <p:nvPr/>
        </p:nvSpPr>
        <p:spPr>
          <a:xfrm>
            <a:off x="5714145" y="5776928"/>
            <a:ext cx="32159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kern="0" dirty="0" smtClean="0">
                <a:solidFill>
                  <a:srgbClr val="FF0000"/>
                </a:solidFill>
                <a:latin typeface="CorpoS" pitchFamily="2" charset="0"/>
                <a:ea typeface="+mn-ea"/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18386555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 bwMode="auto">
          <a:xfrm>
            <a:off x="609600" y="1297168"/>
            <a:ext cx="8153399" cy="5256032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180000" tIns="144000" rIns="0" bIns="45720" numCol="1" rtlCol="0" anchor="t" anchorCtr="0" compatLnSpc="1">
            <a:prstTxWarp prst="textNoShape">
              <a:avLst/>
            </a:prstTxWarp>
          </a:bodyPr>
          <a:lstStyle/>
          <a:p>
            <a:pPr marL="285750" lvl="1" indent="-285750"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b="0" dirty="0" smtClean="0"/>
              <a:t>Info from Green- &amp; Red-Camp MS about status of EU COM Compromise until 16.02</a:t>
            </a:r>
          </a:p>
          <a:p>
            <a:pPr marL="285750" lvl="1" indent="-285750"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b="0" dirty="0" smtClean="0"/>
              <a:t>Presentation finished at 23th of Feb.</a:t>
            </a:r>
          </a:p>
          <a:p>
            <a:pPr marL="285750" lvl="1" indent="-285750"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b="0" dirty="0" smtClean="0"/>
              <a:t>WGAE agreed 26th </a:t>
            </a:r>
          </a:p>
        </p:txBody>
      </p:sp>
      <p:sp>
        <p:nvSpPr>
          <p:cNvPr id="34" name="Rectangle 3"/>
          <p:cNvSpPr>
            <a:spLocks noChangeArrowheads="1"/>
          </p:cNvSpPr>
          <p:nvPr/>
        </p:nvSpPr>
        <p:spPr bwMode="gray">
          <a:xfrm rot="10800000">
            <a:off x="621299" y="2920779"/>
            <a:ext cx="8132400" cy="3632415"/>
          </a:xfrm>
          <a:prstGeom prst="rect">
            <a:avLst/>
          </a:prstGeom>
          <a:gradFill rotWithShape="1">
            <a:gsLst>
              <a:gs pos="0">
                <a:srgbClr val="DDDDDD"/>
              </a:gs>
              <a:gs pos="100000">
                <a:srgbClr val="FFFFFF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90000" rIns="72000" bIns="90000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de-DE" sz="1800" b="0" kern="0" smtClean="0">
              <a:solidFill>
                <a:srgbClr val="000000"/>
              </a:solidFill>
              <a:latin typeface="CorpoS"/>
              <a:ea typeface="+mn-ea"/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807719" y="1127892"/>
            <a:ext cx="2748909" cy="338554"/>
          </a:xfrm>
          <a:prstGeom prst="rect">
            <a:avLst/>
          </a:prstGeom>
          <a:solidFill>
            <a:schemeClr val="bg1"/>
          </a:solidFill>
        </p:spPr>
        <p:txBody>
          <a:bodyPr wrap="square" rIns="0">
            <a:spAutoFit/>
          </a:bodyPr>
          <a:lstStyle/>
          <a:p>
            <a:pPr>
              <a:spcAft>
                <a:spcPts val="300"/>
              </a:spcAft>
              <a:buClr>
                <a:schemeClr val="bg1">
                  <a:lumMod val="65000"/>
                </a:schemeClr>
              </a:buClr>
            </a:pPr>
            <a:r>
              <a:rPr lang="en-US" sz="1600" dirty="0" smtClean="0"/>
              <a:t>Timeline agreed RDE</a:t>
            </a:r>
            <a:endParaRPr lang="en-US" sz="160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 smtClean="0"/>
              <a:t>   Timeline to get RDE </a:t>
            </a:r>
            <a:r>
              <a:rPr lang="en-US" sz="2400" dirty="0"/>
              <a:t>R</a:t>
            </a:r>
            <a:r>
              <a:rPr lang="en-US" sz="2400" dirty="0" smtClean="0"/>
              <a:t>oad Show Part 2 </a:t>
            </a:r>
            <a:r>
              <a:rPr lang="en-US" sz="2400" dirty="0"/>
              <a:t>presentation agreed by </a:t>
            </a:r>
            <a:r>
              <a:rPr lang="en-US" sz="2400" dirty="0" smtClean="0"/>
              <a:t>WGAE</a:t>
            </a:r>
            <a:endParaRPr lang="en-US" sz="24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BD4307-8E25-4063-B042-91C9BB9E4C20}" type="slidenum">
              <a:rPr lang="de-DE" smtClean="0"/>
              <a:pPr/>
              <a:t>16</a:t>
            </a:fld>
            <a:endParaRPr lang="de-DE" dirty="0"/>
          </a:p>
        </p:txBody>
      </p:sp>
      <p:sp>
        <p:nvSpPr>
          <p:cNvPr id="10" name="AutoShape 4"/>
          <p:cNvSpPr>
            <a:spLocks noChangeArrowheads="1"/>
          </p:cNvSpPr>
          <p:nvPr/>
        </p:nvSpPr>
        <p:spPr bwMode="auto">
          <a:xfrm>
            <a:off x="6419850" y="5334298"/>
            <a:ext cx="2190750" cy="596900"/>
          </a:xfrm>
          <a:prstGeom prst="chevron">
            <a:avLst/>
          </a:prstGeom>
          <a:gradFill flip="none" rotWithShape="1">
            <a:gsLst>
              <a:gs pos="0">
                <a:srgbClr val="B2B2B2"/>
              </a:gs>
              <a:gs pos="50000">
                <a:srgbClr val="DDDDDD"/>
              </a:gs>
              <a:gs pos="100000">
                <a:srgbClr val="FFFFFF"/>
              </a:gs>
            </a:gsLst>
            <a:lin ang="13500000" scaled="1"/>
            <a:tileRect/>
          </a:gradFill>
          <a:ln w="635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8000" tIns="36000" rIns="72000" bIns="36000" anchor="ctr"/>
          <a:lstStyle/>
          <a:p>
            <a:pPr defTabSz="644525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b="1" kern="0" dirty="0" smtClean="0">
                <a:solidFill>
                  <a:srgbClr val="4D4D4D"/>
                </a:solidFill>
                <a:latin typeface="+mn-lt"/>
              </a:rPr>
              <a:t>Road Show Part 2</a:t>
            </a:r>
            <a:endParaRPr lang="en-US" sz="1100" b="1" kern="0" dirty="0">
              <a:solidFill>
                <a:srgbClr val="4D4D4D"/>
              </a:solidFill>
              <a:latin typeface="+mn-lt"/>
            </a:endParaRPr>
          </a:p>
        </p:txBody>
      </p:sp>
      <p:sp>
        <p:nvSpPr>
          <p:cNvPr id="11" name="AutoShape 4"/>
          <p:cNvSpPr>
            <a:spLocks noChangeArrowheads="1"/>
          </p:cNvSpPr>
          <p:nvPr/>
        </p:nvSpPr>
        <p:spPr bwMode="auto">
          <a:xfrm>
            <a:off x="722312" y="3060700"/>
            <a:ext cx="2663825" cy="596900"/>
          </a:xfrm>
          <a:prstGeom prst="chevron">
            <a:avLst/>
          </a:prstGeom>
          <a:gradFill flip="none" rotWithShape="1">
            <a:gsLst>
              <a:gs pos="0">
                <a:srgbClr val="B2B2B2"/>
              </a:gs>
              <a:gs pos="50000">
                <a:srgbClr val="DDDDDD"/>
              </a:gs>
              <a:gs pos="100000">
                <a:srgbClr val="FFFFFF"/>
              </a:gs>
            </a:gsLst>
            <a:lin ang="13500000" scaled="1"/>
            <a:tileRect/>
          </a:gradFill>
          <a:ln w="635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8000" tIns="36000" rIns="72000" bIns="36000" anchor="ctr"/>
          <a:lstStyle/>
          <a:p>
            <a:pPr defTabSz="644525" eaLnBrk="0" fontAlgn="auto" hangingPunct="0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kern="0" dirty="0" smtClean="0">
                <a:solidFill>
                  <a:srgbClr val="4D4D4D"/>
                </a:solidFill>
                <a:latin typeface="+mn-lt"/>
              </a:rPr>
              <a:t>Info from Green &amp; Red Camp MS about Status of EU COM Compromise </a:t>
            </a:r>
            <a:endParaRPr lang="en-US" sz="1100" b="1" kern="0" dirty="0">
              <a:solidFill>
                <a:srgbClr val="4D4D4D"/>
              </a:solidFill>
              <a:latin typeface="+mn-lt"/>
            </a:endParaRPr>
          </a:p>
        </p:txBody>
      </p:sp>
      <p:cxnSp>
        <p:nvCxnSpPr>
          <p:cNvPr id="13" name="Gerade Verbindung 97"/>
          <p:cNvCxnSpPr>
            <a:cxnSpLocks noChangeShapeType="1"/>
          </p:cNvCxnSpPr>
          <p:nvPr/>
        </p:nvCxnSpPr>
        <p:spPr bwMode="auto">
          <a:xfrm>
            <a:off x="704850" y="2693987"/>
            <a:ext cx="7981950" cy="0"/>
          </a:xfrm>
          <a:prstGeom prst="line">
            <a:avLst/>
          </a:prstGeom>
          <a:noFill/>
          <a:ln w="9525" algn="ctr">
            <a:solidFill>
              <a:srgbClr val="C0C0C0"/>
            </a:solidFill>
            <a:round/>
            <a:headEnd/>
            <a:tailEnd type="triangle" w="sm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grpSp>
        <p:nvGrpSpPr>
          <p:cNvPr id="14" name="Gruppieren 151"/>
          <p:cNvGrpSpPr>
            <a:grpSpLocks noChangeAspect="1"/>
          </p:cNvGrpSpPr>
          <p:nvPr/>
        </p:nvGrpSpPr>
        <p:grpSpPr bwMode="auto">
          <a:xfrm>
            <a:off x="6323706" y="2654300"/>
            <a:ext cx="103188" cy="73025"/>
            <a:chOff x="4656893" y="5956367"/>
            <a:chExt cx="207963" cy="146050"/>
          </a:xfrm>
        </p:grpSpPr>
        <p:sp>
          <p:nvSpPr>
            <p:cNvPr id="15" name="Rectangle 58"/>
            <p:cNvSpPr>
              <a:spLocks noChangeArrowheads="1"/>
            </p:cNvSpPr>
            <p:nvPr/>
          </p:nvSpPr>
          <p:spPr bwMode="auto">
            <a:xfrm>
              <a:off x="4656893" y="5978591"/>
              <a:ext cx="207963" cy="123826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round/>
              <a:headEnd/>
              <a:tailEnd type="triangle" w="sm" len="med"/>
            </a:ln>
          </p:spPr>
          <p:txBody>
            <a:bodyPr wrap="none" anchor="ctr"/>
            <a:lstStyle/>
            <a:p>
              <a:pPr eaLnBrk="0" hangingPunct="0">
                <a:defRPr/>
              </a:pPr>
              <a:endParaRPr lang="en-US" dirty="0">
                <a:latin typeface="+mn-lt"/>
              </a:endParaRPr>
            </a:p>
          </p:txBody>
        </p:sp>
        <p:sp>
          <p:nvSpPr>
            <p:cNvPr id="16" name="Freeform 59"/>
            <p:cNvSpPr>
              <a:spLocks/>
            </p:cNvSpPr>
            <p:nvPr/>
          </p:nvSpPr>
          <p:spPr bwMode="auto">
            <a:xfrm>
              <a:off x="4656893" y="5956367"/>
              <a:ext cx="204763" cy="146050"/>
            </a:xfrm>
            <a:custGeom>
              <a:avLst/>
              <a:gdLst>
                <a:gd name="T0" fmla="*/ 0 w 246"/>
                <a:gd name="T1" fmla="*/ 2147483647 h 203"/>
                <a:gd name="T2" fmla="*/ 2147483647 w 246"/>
                <a:gd name="T3" fmla="*/ 0 h 203"/>
                <a:gd name="T4" fmla="*/ 2147483647 w 246"/>
                <a:gd name="T5" fmla="*/ 2147483647 h 203"/>
                <a:gd name="T6" fmla="*/ 2147483647 w 246"/>
                <a:gd name="T7" fmla="*/ 2147483647 h 203"/>
                <a:gd name="T8" fmla="*/ 2147483647 w 246"/>
                <a:gd name="T9" fmla="*/ 2147483647 h 20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46"/>
                <a:gd name="T16" fmla="*/ 0 h 203"/>
                <a:gd name="T17" fmla="*/ 246 w 246"/>
                <a:gd name="T18" fmla="*/ 203 h 20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46" h="203">
                  <a:moveTo>
                    <a:pt x="0" y="114"/>
                  </a:moveTo>
                  <a:cubicBezTo>
                    <a:pt x="10" y="95"/>
                    <a:pt x="37" y="0"/>
                    <a:pt x="58" y="0"/>
                  </a:cubicBezTo>
                  <a:cubicBezTo>
                    <a:pt x="79" y="0"/>
                    <a:pt x="107" y="79"/>
                    <a:pt x="129" y="113"/>
                  </a:cubicBezTo>
                  <a:cubicBezTo>
                    <a:pt x="151" y="147"/>
                    <a:pt x="174" y="203"/>
                    <a:pt x="193" y="203"/>
                  </a:cubicBezTo>
                  <a:cubicBezTo>
                    <a:pt x="212" y="203"/>
                    <a:pt x="235" y="132"/>
                    <a:pt x="246" y="113"/>
                  </a:cubicBezTo>
                </a:path>
              </a:pathLst>
            </a:custGeom>
            <a:solidFill>
              <a:schemeClr val="bg1"/>
            </a:solidFill>
            <a:ln w="9525" algn="ctr">
              <a:solidFill>
                <a:srgbClr val="B2B2B2"/>
              </a:solidFill>
              <a:round/>
              <a:headEnd/>
              <a:tailEnd type="none" w="sm" len="med"/>
            </a:ln>
          </p:spPr>
          <p:txBody>
            <a:bodyPr/>
            <a:lstStyle/>
            <a:p>
              <a:pPr eaLnBrk="0" hangingPunct="0">
                <a:defRPr/>
              </a:pPr>
              <a:endParaRPr lang="en-US" dirty="0">
                <a:latin typeface="+mn-lt"/>
              </a:endParaRPr>
            </a:p>
          </p:txBody>
        </p:sp>
      </p:grpSp>
      <p:grpSp>
        <p:nvGrpSpPr>
          <p:cNvPr id="17" name="Gruppieren 120"/>
          <p:cNvGrpSpPr>
            <a:grpSpLocks/>
          </p:cNvGrpSpPr>
          <p:nvPr/>
        </p:nvGrpSpPr>
        <p:grpSpPr bwMode="auto">
          <a:xfrm>
            <a:off x="520700" y="2403475"/>
            <a:ext cx="819150" cy="425450"/>
            <a:chOff x="356579" y="1739953"/>
            <a:chExt cx="819150" cy="425930"/>
          </a:xfrm>
        </p:grpSpPr>
        <p:sp>
          <p:nvSpPr>
            <p:cNvPr id="18" name="Textfeld 38"/>
            <p:cNvSpPr txBox="1">
              <a:spLocks noChangeArrowheads="1"/>
            </p:cNvSpPr>
            <p:nvPr/>
          </p:nvSpPr>
          <p:spPr bwMode="auto">
            <a:xfrm>
              <a:off x="356579" y="1739953"/>
              <a:ext cx="819150" cy="20025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/>
          </p:spPr>
          <p:txBody>
            <a:bodyPr>
              <a:spAutoFit/>
            </a:bodyPr>
            <a:lstStyle>
              <a:lvl1pPr eaLnBrk="0" hangingPunct="0">
                <a:tabLst>
                  <a:tab pos="1778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tabLst>
                  <a:tab pos="1778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tabLst>
                  <a:tab pos="1778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tabLst>
                  <a:tab pos="1778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tabLst>
                  <a:tab pos="1778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778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778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778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778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700" dirty="0" smtClean="0">
                  <a:solidFill>
                    <a:srgbClr val="777777"/>
                  </a:solidFill>
                  <a:latin typeface="+mn-lt"/>
                </a:rPr>
                <a:t>09. Feb.</a:t>
              </a:r>
            </a:p>
          </p:txBody>
        </p:sp>
        <p:sp>
          <p:nvSpPr>
            <p:cNvPr id="19" name="Gleichschenkliges Dreieck 18"/>
            <p:cNvSpPr>
              <a:spLocks noChangeAspect="1"/>
            </p:cNvSpPr>
            <p:nvPr/>
          </p:nvSpPr>
          <p:spPr bwMode="auto">
            <a:xfrm rot="10800000">
              <a:off x="626454" y="1949739"/>
              <a:ext cx="244475" cy="216144"/>
            </a:xfrm>
            <a:prstGeom prst="triangle">
              <a:avLst/>
            </a:prstGeom>
            <a:solidFill>
              <a:schemeClr val="tx1">
                <a:lumMod val="75000"/>
                <a:lumOff val="25000"/>
              </a:schemeClr>
            </a:solidFill>
            <a:ln w="571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algn="r" defTabSz="674688">
                <a:defRPr/>
              </a:pPr>
              <a:endParaRPr lang="en-US" sz="1300" dirty="0">
                <a:latin typeface="+mn-lt"/>
              </a:endParaRPr>
            </a:p>
          </p:txBody>
        </p:sp>
      </p:grpSp>
      <p:grpSp>
        <p:nvGrpSpPr>
          <p:cNvPr id="23" name="Gruppieren 130"/>
          <p:cNvGrpSpPr>
            <a:grpSpLocks/>
          </p:cNvGrpSpPr>
          <p:nvPr/>
        </p:nvGrpSpPr>
        <p:grpSpPr bwMode="auto">
          <a:xfrm>
            <a:off x="3164516" y="2403475"/>
            <a:ext cx="819150" cy="425450"/>
            <a:chOff x="356579" y="1739953"/>
            <a:chExt cx="819150" cy="425930"/>
          </a:xfrm>
        </p:grpSpPr>
        <p:sp>
          <p:nvSpPr>
            <p:cNvPr id="24" name="Textfeld 38"/>
            <p:cNvSpPr txBox="1">
              <a:spLocks noChangeArrowheads="1"/>
            </p:cNvSpPr>
            <p:nvPr/>
          </p:nvSpPr>
          <p:spPr bwMode="auto">
            <a:xfrm>
              <a:off x="356579" y="1739953"/>
              <a:ext cx="819150" cy="20025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/>
          </p:spPr>
          <p:txBody>
            <a:bodyPr>
              <a:spAutoFit/>
            </a:bodyPr>
            <a:lstStyle>
              <a:lvl1pPr eaLnBrk="0" hangingPunct="0">
                <a:tabLst>
                  <a:tab pos="1778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tabLst>
                  <a:tab pos="1778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tabLst>
                  <a:tab pos="1778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tabLst>
                  <a:tab pos="1778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tabLst>
                  <a:tab pos="1778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778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778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778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778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700" dirty="0" smtClean="0">
                  <a:solidFill>
                    <a:srgbClr val="777777"/>
                  </a:solidFill>
                  <a:latin typeface="+mn-lt"/>
                </a:rPr>
                <a:t>16. Feb.</a:t>
              </a:r>
            </a:p>
          </p:txBody>
        </p:sp>
        <p:sp>
          <p:nvSpPr>
            <p:cNvPr id="25" name="Gleichschenkliges Dreieck 24"/>
            <p:cNvSpPr>
              <a:spLocks noChangeAspect="1"/>
            </p:cNvSpPr>
            <p:nvPr/>
          </p:nvSpPr>
          <p:spPr bwMode="auto">
            <a:xfrm rot="10800000">
              <a:off x="626454" y="1949739"/>
              <a:ext cx="244475" cy="216144"/>
            </a:xfrm>
            <a:prstGeom prst="triangle">
              <a:avLst/>
            </a:prstGeom>
            <a:solidFill>
              <a:schemeClr val="tx1">
                <a:lumMod val="75000"/>
                <a:lumOff val="25000"/>
              </a:schemeClr>
            </a:solidFill>
            <a:ln w="571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algn="r" defTabSz="674688">
                <a:defRPr/>
              </a:pPr>
              <a:endParaRPr lang="en-US" sz="1300" dirty="0">
                <a:latin typeface="+mn-lt"/>
              </a:endParaRPr>
            </a:p>
          </p:txBody>
        </p:sp>
      </p:grpSp>
      <p:grpSp>
        <p:nvGrpSpPr>
          <p:cNvPr id="26" name="Gruppieren 151"/>
          <p:cNvGrpSpPr>
            <a:grpSpLocks noChangeAspect="1"/>
          </p:cNvGrpSpPr>
          <p:nvPr/>
        </p:nvGrpSpPr>
        <p:grpSpPr bwMode="auto">
          <a:xfrm>
            <a:off x="2032000" y="2647950"/>
            <a:ext cx="103187" cy="73025"/>
            <a:chOff x="4656893" y="5956367"/>
            <a:chExt cx="207963" cy="146050"/>
          </a:xfrm>
        </p:grpSpPr>
        <p:sp>
          <p:nvSpPr>
            <p:cNvPr id="27" name="Rectangle 58"/>
            <p:cNvSpPr>
              <a:spLocks noChangeArrowheads="1"/>
            </p:cNvSpPr>
            <p:nvPr/>
          </p:nvSpPr>
          <p:spPr bwMode="auto">
            <a:xfrm>
              <a:off x="4656893" y="5978591"/>
              <a:ext cx="207963" cy="123826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round/>
              <a:headEnd/>
              <a:tailEnd type="triangle" w="sm" len="med"/>
            </a:ln>
          </p:spPr>
          <p:txBody>
            <a:bodyPr wrap="none" anchor="ctr"/>
            <a:lstStyle/>
            <a:p>
              <a:pPr eaLnBrk="0" hangingPunct="0">
                <a:defRPr/>
              </a:pPr>
              <a:endParaRPr lang="en-US" dirty="0">
                <a:latin typeface="+mn-lt"/>
              </a:endParaRPr>
            </a:p>
          </p:txBody>
        </p:sp>
        <p:sp>
          <p:nvSpPr>
            <p:cNvPr id="28" name="Freeform 59"/>
            <p:cNvSpPr>
              <a:spLocks/>
            </p:cNvSpPr>
            <p:nvPr/>
          </p:nvSpPr>
          <p:spPr bwMode="auto">
            <a:xfrm>
              <a:off x="4656893" y="5956367"/>
              <a:ext cx="204765" cy="146050"/>
            </a:xfrm>
            <a:custGeom>
              <a:avLst/>
              <a:gdLst>
                <a:gd name="T0" fmla="*/ 0 w 246"/>
                <a:gd name="T1" fmla="*/ 2147483647 h 203"/>
                <a:gd name="T2" fmla="*/ 2147483647 w 246"/>
                <a:gd name="T3" fmla="*/ 0 h 203"/>
                <a:gd name="T4" fmla="*/ 2147483647 w 246"/>
                <a:gd name="T5" fmla="*/ 2147483647 h 203"/>
                <a:gd name="T6" fmla="*/ 2147483647 w 246"/>
                <a:gd name="T7" fmla="*/ 2147483647 h 203"/>
                <a:gd name="T8" fmla="*/ 2147483647 w 246"/>
                <a:gd name="T9" fmla="*/ 2147483647 h 20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46"/>
                <a:gd name="T16" fmla="*/ 0 h 203"/>
                <a:gd name="T17" fmla="*/ 246 w 246"/>
                <a:gd name="T18" fmla="*/ 203 h 20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46" h="203">
                  <a:moveTo>
                    <a:pt x="0" y="114"/>
                  </a:moveTo>
                  <a:cubicBezTo>
                    <a:pt x="10" y="95"/>
                    <a:pt x="37" y="0"/>
                    <a:pt x="58" y="0"/>
                  </a:cubicBezTo>
                  <a:cubicBezTo>
                    <a:pt x="79" y="0"/>
                    <a:pt x="107" y="79"/>
                    <a:pt x="129" y="113"/>
                  </a:cubicBezTo>
                  <a:cubicBezTo>
                    <a:pt x="151" y="147"/>
                    <a:pt x="174" y="203"/>
                    <a:pt x="193" y="203"/>
                  </a:cubicBezTo>
                  <a:cubicBezTo>
                    <a:pt x="212" y="203"/>
                    <a:pt x="235" y="132"/>
                    <a:pt x="246" y="113"/>
                  </a:cubicBezTo>
                </a:path>
              </a:pathLst>
            </a:custGeom>
            <a:solidFill>
              <a:schemeClr val="bg1"/>
            </a:solidFill>
            <a:ln w="9525" algn="ctr">
              <a:solidFill>
                <a:srgbClr val="B2B2B2"/>
              </a:solidFill>
              <a:round/>
              <a:headEnd/>
              <a:tailEnd type="none" w="sm" len="med"/>
            </a:ln>
          </p:spPr>
          <p:txBody>
            <a:bodyPr/>
            <a:lstStyle/>
            <a:p>
              <a:pPr eaLnBrk="0" hangingPunct="0">
                <a:defRPr/>
              </a:pPr>
              <a:endParaRPr lang="en-US" dirty="0">
                <a:latin typeface="+mn-lt"/>
              </a:endParaRPr>
            </a:p>
          </p:txBody>
        </p:sp>
      </p:grpSp>
      <p:sp>
        <p:nvSpPr>
          <p:cNvPr id="32" name="AutoShape 4"/>
          <p:cNvSpPr>
            <a:spLocks noChangeArrowheads="1"/>
          </p:cNvSpPr>
          <p:nvPr/>
        </p:nvSpPr>
        <p:spPr bwMode="auto">
          <a:xfrm>
            <a:off x="720724" y="5334298"/>
            <a:ext cx="4156075" cy="596900"/>
          </a:xfrm>
          <a:prstGeom prst="chevron">
            <a:avLst/>
          </a:prstGeom>
          <a:gradFill flip="none" rotWithShape="1">
            <a:gsLst>
              <a:gs pos="0">
                <a:srgbClr val="B2B2B2"/>
              </a:gs>
              <a:gs pos="50000">
                <a:srgbClr val="DDDDDD"/>
              </a:gs>
              <a:gs pos="100000">
                <a:srgbClr val="FFFFFF"/>
              </a:gs>
            </a:gsLst>
            <a:lin ang="13500000" scaled="1"/>
            <a:tileRect/>
          </a:gradFill>
          <a:ln w="635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8000" tIns="36000" rIns="72000" bIns="36000" anchor="ctr"/>
          <a:lstStyle/>
          <a:p>
            <a:pPr defTabSz="644525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kern="0" dirty="0">
                <a:solidFill>
                  <a:srgbClr val="4D4D4D"/>
                </a:solidFill>
                <a:latin typeface="+mn-lt"/>
              </a:rPr>
              <a:t>D</a:t>
            </a:r>
            <a:r>
              <a:rPr lang="en-US" sz="1100" kern="0" dirty="0" smtClean="0">
                <a:solidFill>
                  <a:srgbClr val="4D4D4D"/>
                </a:solidFill>
                <a:latin typeface="+mn-lt"/>
              </a:rPr>
              <a:t>rafting process of Road </a:t>
            </a:r>
            <a:r>
              <a:rPr lang="en-US" sz="1100" kern="0" dirty="0">
                <a:solidFill>
                  <a:srgbClr val="4D4D4D"/>
                </a:solidFill>
                <a:latin typeface="+mn-lt"/>
              </a:rPr>
              <a:t>S</a:t>
            </a:r>
            <a:r>
              <a:rPr lang="en-US" sz="1100" kern="0" dirty="0" smtClean="0">
                <a:solidFill>
                  <a:srgbClr val="4D4D4D"/>
                </a:solidFill>
                <a:latin typeface="+mn-lt"/>
              </a:rPr>
              <a:t>how presentation</a:t>
            </a:r>
            <a:endParaRPr lang="en-US" sz="1100" b="1" kern="0" dirty="0">
              <a:solidFill>
                <a:srgbClr val="4D4D4D"/>
              </a:solidFill>
              <a:latin typeface="+mn-lt"/>
            </a:endParaRPr>
          </a:p>
        </p:txBody>
      </p:sp>
      <p:sp>
        <p:nvSpPr>
          <p:cNvPr id="33" name="AutoShape 4"/>
          <p:cNvSpPr>
            <a:spLocks noChangeArrowheads="1"/>
          </p:cNvSpPr>
          <p:nvPr/>
        </p:nvSpPr>
        <p:spPr bwMode="auto">
          <a:xfrm>
            <a:off x="4775201" y="5334298"/>
            <a:ext cx="1331912" cy="596900"/>
          </a:xfrm>
          <a:prstGeom prst="chevron">
            <a:avLst/>
          </a:prstGeom>
          <a:gradFill flip="none" rotWithShape="1">
            <a:gsLst>
              <a:gs pos="0">
                <a:srgbClr val="B2B2B2"/>
              </a:gs>
              <a:gs pos="50000">
                <a:srgbClr val="DDDDDD"/>
              </a:gs>
              <a:gs pos="100000">
                <a:srgbClr val="FFFFFF"/>
              </a:gs>
            </a:gsLst>
            <a:lin ang="13500000" scaled="1"/>
            <a:tileRect/>
          </a:gradFill>
          <a:ln w="635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8000" tIns="36000" rIns="72000" bIns="36000" anchor="ctr"/>
          <a:lstStyle/>
          <a:p>
            <a:pPr defTabSz="644525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kern="0" dirty="0" smtClean="0">
                <a:solidFill>
                  <a:srgbClr val="4D4D4D"/>
                </a:solidFill>
                <a:latin typeface="+mn-lt"/>
              </a:rPr>
              <a:t>WGAE Agree-</a:t>
            </a:r>
            <a:r>
              <a:rPr lang="en-US" sz="1100" kern="0" dirty="0" err="1" smtClean="0">
                <a:solidFill>
                  <a:srgbClr val="4D4D4D"/>
                </a:solidFill>
                <a:latin typeface="+mn-lt"/>
              </a:rPr>
              <a:t>ment</a:t>
            </a:r>
            <a:endParaRPr lang="en-US" sz="1100" b="1" kern="0" dirty="0">
              <a:solidFill>
                <a:srgbClr val="4D4D4D"/>
              </a:solidFill>
              <a:latin typeface="+mn-lt"/>
            </a:endParaRPr>
          </a:p>
        </p:txBody>
      </p:sp>
      <p:grpSp>
        <p:nvGrpSpPr>
          <p:cNvPr id="35" name="Gruppieren 127"/>
          <p:cNvGrpSpPr>
            <a:grpSpLocks/>
          </p:cNvGrpSpPr>
          <p:nvPr/>
        </p:nvGrpSpPr>
        <p:grpSpPr bwMode="auto">
          <a:xfrm>
            <a:off x="5724836" y="2420937"/>
            <a:ext cx="819150" cy="425450"/>
            <a:chOff x="356579" y="1739953"/>
            <a:chExt cx="819150" cy="425930"/>
          </a:xfrm>
        </p:grpSpPr>
        <p:sp>
          <p:nvSpPr>
            <p:cNvPr id="36" name="Textfeld 38"/>
            <p:cNvSpPr txBox="1">
              <a:spLocks noChangeArrowheads="1"/>
            </p:cNvSpPr>
            <p:nvPr/>
          </p:nvSpPr>
          <p:spPr bwMode="auto">
            <a:xfrm>
              <a:off x="356579" y="1739953"/>
              <a:ext cx="819150" cy="20025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/>
          </p:spPr>
          <p:txBody>
            <a:bodyPr>
              <a:spAutoFit/>
            </a:bodyPr>
            <a:lstStyle>
              <a:lvl1pPr eaLnBrk="0" hangingPunct="0">
                <a:tabLst>
                  <a:tab pos="1778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tabLst>
                  <a:tab pos="1778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tabLst>
                  <a:tab pos="1778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tabLst>
                  <a:tab pos="1778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tabLst>
                  <a:tab pos="1778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778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778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778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778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700" dirty="0" smtClean="0">
                  <a:solidFill>
                    <a:srgbClr val="777777"/>
                  </a:solidFill>
                  <a:latin typeface="+mn-lt"/>
                </a:rPr>
                <a:t>26. Feb.</a:t>
              </a:r>
            </a:p>
          </p:txBody>
        </p:sp>
        <p:sp>
          <p:nvSpPr>
            <p:cNvPr id="37" name="Gleichschenkliges Dreieck 36"/>
            <p:cNvSpPr>
              <a:spLocks noChangeAspect="1"/>
            </p:cNvSpPr>
            <p:nvPr/>
          </p:nvSpPr>
          <p:spPr bwMode="auto">
            <a:xfrm rot="10800000">
              <a:off x="626454" y="1949739"/>
              <a:ext cx="244475" cy="216144"/>
            </a:xfrm>
            <a:prstGeom prst="triangle">
              <a:avLst/>
            </a:prstGeom>
            <a:solidFill>
              <a:schemeClr val="tx1">
                <a:lumMod val="75000"/>
                <a:lumOff val="25000"/>
              </a:schemeClr>
            </a:solidFill>
            <a:ln w="571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algn="r" defTabSz="674688">
                <a:defRPr/>
              </a:pPr>
              <a:endParaRPr lang="en-US" sz="1300" dirty="0">
                <a:latin typeface="+mn-lt"/>
              </a:endParaRPr>
            </a:p>
          </p:txBody>
        </p:sp>
      </p:grpSp>
      <p:grpSp>
        <p:nvGrpSpPr>
          <p:cNvPr id="38" name="Gruppieren 127"/>
          <p:cNvGrpSpPr>
            <a:grpSpLocks/>
          </p:cNvGrpSpPr>
          <p:nvPr/>
        </p:nvGrpSpPr>
        <p:grpSpPr bwMode="auto">
          <a:xfrm>
            <a:off x="6211447" y="2409825"/>
            <a:ext cx="819150" cy="425450"/>
            <a:chOff x="356579" y="1739953"/>
            <a:chExt cx="819150" cy="425930"/>
          </a:xfrm>
        </p:grpSpPr>
        <p:sp>
          <p:nvSpPr>
            <p:cNvPr id="39" name="Textfeld 38"/>
            <p:cNvSpPr txBox="1">
              <a:spLocks noChangeArrowheads="1"/>
            </p:cNvSpPr>
            <p:nvPr/>
          </p:nvSpPr>
          <p:spPr bwMode="auto">
            <a:xfrm>
              <a:off x="356579" y="1739953"/>
              <a:ext cx="819150" cy="20025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/>
          </p:spPr>
          <p:txBody>
            <a:bodyPr>
              <a:spAutoFit/>
            </a:bodyPr>
            <a:lstStyle>
              <a:lvl1pPr eaLnBrk="0" hangingPunct="0">
                <a:tabLst>
                  <a:tab pos="1778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tabLst>
                  <a:tab pos="1778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tabLst>
                  <a:tab pos="1778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tabLst>
                  <a:tab pos="1778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tabLst>
                  <a:tab pos="1778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778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778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778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778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700" dirty="0" smtClean="0">
                  <a:solidFill>
                    <a:srgbClr val="777777"/>
                  </a:solidFill>
                  <a:latin typeface="+mn-lt"/>
                </a:rPr>
                <a:t>02. March</a:t>
              </a:r>
            </a:p>
          </p:txBody>
        </p:sp>
        <p:sp>
          <p:nvSpPr>
            <p:cNvPr id="40" name="Gleichschenkliges Dreieck 39"/>
            <p:cNvSpPr>
              <a:spLocks noChangeAspect="1"/>
            </p:cNvSpPr>
            <p:nvPr/>
          </p:nvSpPr>
          <p:spPr bwMode="auto">
            <a:xfrm rot="10800000">
              <a:off x="626454" y="1949739"/>
              <a:ext cx="244475" cy="216144"/>
            </a:xfrm>
            <a:prstGeom prst="triangle">
              <a:avLst/>
            </a:prstGeom>
            <a:solidFill>
              <a:schemeClr val="tx1">
                <a:lumMod val="75000"/>
                <a:lumOff val="25000"/>
              </a:schemeClr>
            </a:solidFill>
            <a:ln w="571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algn="r" defTabSz="674688">
                <a:defRPr/>
              </a:pPr>
              <a:endParaRPr lang="en-US" sz="1300" dirty="0">
                <a:latin typeface="+mn-lt"/>
              </a:endParaRPr>
            </a:p>
          </p:txBody>
        </p:sp>
      </p:grpSp>
      <p:grpSp>
        <p:nvGrpSpPr>
          <p:cNvPr id="43" name="Gruppieren 127"/>
          <p:cNvGrpSpPr>
            <a:grpSpLocks/>
          </p:cNvGrpSpPr>
          <p:nvPr/>
        </p:nvGrpSpPr>
        <p:grpSpPr bwMode="auto">
          <a:xfrm>
            <a:off x="3829050" y="2396017"/>
            <a:ext cx="819150" cy="425450"/>
            <a:chOff x="356579" y="1739953"/>
            <a:chExt cx="819150" cy="425930"/>
          </a:xfrm>
        </p:grpSpPr>
        <p:sp>
          <p:nvSpPr>
            <p:cNvPr id="44" name="Textfeld 38"/>
            <p:cNvSpPr txBox="1">
              <a:spLocks noChangeArrowheads="1"/>
            </p:cNvSpPr>
            <p:nvPr/>
          </p:nvSpPr>
          <p:spPr bwMode="auto">
            <a:xfrm>
              <a:off x="356579" y="1739953"/>
              <a:ext cx="819150" cy="20025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/>
          </p:spPr>
          <p:txBody>
            <a:bodyPr>
              <a:spAutoFit/>
            </a:bodyPr>
            <a:lstStyle>
              <a:lvl1pPr eaLnBrk="0" hangingPunct="0">
                <a:tabLst>
                  <a:tab pos="1778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tabLst>
                  <a:tab pos="1778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tabLst>
                  <a:tab pos="1778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tabLst>
                  <a:tab pos="1778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tabLst>
                  <a:tab pos="1778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778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778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778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778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700" dirty="0" smtClean="0">
                  <a:solidFill>
                    <a:srgbClr val="777777"/>
                  </a:solidFill>
                  <a:latin typeface="+mn-lt"/>
                </a:rPr>
                <a:t>19. Feb.</a:t>
              </a:r>
            </a:p>
          </p:txBody>
        </p:sp>
        <p:sp>
          <p:nvSpPr>
            <p:cNvPr id="45" name="Gleichschenkliges Dreieck 44"/>
            <p:cNvSpPr>
              <a:spLocks noChangeAspect="1"/>
            </p:cNvSpPr>
            <p:nvPr/>
          </p:nvSpPr>
          <p:spPr bwMode="auto">
            <a:xfrm rot="10800000">
              <a:off x="626454" y="1949739"/>
              <a:ext cx="244475" cy="216144"/>
            </a:xfrm>
            <a:prstGeom prst="triangle">
              <a:avLst/>
            </a:prstGeom>
            <a:solidFill>
              <a:schemeClr val="tx1">
                <a:lumMod val="75000"/>
                <a:lumOff val="25000"/>
              </a:schemeClr>
            </a:solidFill>
            <a:ln w="571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algn="r" defTabSz="674688">
                <a:defRPr/>
              </a:pPr>
              <a:endParaRPr lang="en-US" sz="1300" dirty="0">
                <a:latin typeface="+mn-lt"/>
              </a:endParaRPr>
            </a:p>
          </p:txBody>
        </p:sp>
      </p:grpSp>
      <p:grpSp>
        <p:nvGrpSpPr>
          <p:cNvPr id="20" name="Gruppieren 127"/>
          <p:cNvGrpSpPr>
            <a:grpSpLocks/>
          </p:cNvGrpSpPr>
          <p:nvPr/>
        </p:nvGrpSpPr>
        <p:grpSpPr bwMode="auto">
          <a:xfrm>
            <a:off x="4404807" y="2403475"/>
            <a:ext cx="819150" cy="425450"/>
            <a:chOff x="356579" y="1739953"/>
            <a:chExt cx="819150" cy="425930"/>
          </a:xfrm>
        </p:grpSpPr>
        <p:sp>
          <p:nvSpPr>
            <p:cNvPr id="21" name="Textfeld 38"/>
            <p:cNvSpPr txBox="1">
              <a:spLocks noChangeArrowheads="1"/>
            </p:cNvSpPr>
            <p:nvPr/>
          </p:nvSpPr>
          <p:spPr bwMode="auto">
            <a:xfrm>
              <a:off x="356579" y="1739953"/>
              <a:ext cx="819150" cy="200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>
              <a:spAutoFit/>
            </a:bodyPr>
            <a:lstStyle>
              <a:lvl1pPr eaLnBrk="0" hangingPunct="0">
                <a:tabLst>
                  <a:tab pos="1778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tabLst>
                  <a:tab pos="1778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tabLst>
                  <a:tab pos="1778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tabLst>
                  <a:tab pos="1778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tabLst>
                  <a:tab pos="1778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778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778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778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778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700" dirty="0" smtClean="0">
                  <a:solidFill>
                    <a:srgbClr val="777777"/>
                  </a:solidFill>
                  <a:latin typeface="+mn-lt"/>
                </a:rPr>
                <a:t>23. Feb.</a:t>
              </a:r>
            </a:p>
          </p:txBody>
        </p:sp>
        <p:sp>
          <p:nvSpPr>
            <p:cNvPr id="22" name="Gleichschenkliges Dreieck 21"/>
            <p:cNvSpPr>
              <a:spLocks noChangeAspect="1"/>
            </p:cNvSpPr>
            <p:nvPr/>
          </p:nvSpPr>
          <p:spPr bwMode="auto">
            <a:xfrm rot="10800000">
              <a:off x="626454" y="1949739"/>
              <a:ext cx="244475" cy="216144"/>
            </a:xfrm>
            <a:prstGeom prst="triangle">
              <a:avLst/>
            </a:prstGeom>
            <a:solidFill>
              <a:schemeClr val="tx1">
                <a:lumMod val="75000"/>
                <a:lumOff val="25000"/>
              </a:schemeClr>
            </a:solidFill>
            <a:ln w="571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algn="r" defTabSz="674688">
                <a:defRPr/>
              </a:pPr>
              <a:endParaRPr lang="en-US" sz="1300" dirty="0">
                <a:latin typeface="+mn-lt"/>
              </a:endParaRPr>
            </a:p>
          </p:txBody>
        </p:sp>
      </p:grpSp>
      <p:cxnSp>
        <p:nvCxnSpPr>
          <p:cNvPr id="46" name="Gerade Verbindung mit Pfeil 45"/>
          <p:cNvCxnSpPr>
            <a:stCxn id="2050" idx="2"/>
          </p:cNvCxnSpPr>
          <p:nvPr/>
        </p:nvCxnSpPr>
        <p:spPr bwMode="auto">
          <a:xfrm>
            <a:off x="3574356" y="3548632"/>
            <a:ext cx="0" cy="1753767"/>
          </a:xfrm>
          <a:prstGeom prst="straightConnector1">
            <a:avLst/>
          </a:prstGeom>
          <a:solidFill>
            <a:srgbClr val="DDDDDD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triangle" w="med" len="med"/>
          </a:ln>
          <a:effectLst>
            <a:outerShdw blurRad="63500" dist="35921" dir="2700000" algn="ctr" rotWithShape="0">
              <a:schemeClr val="bg2"/>
            </a:outerShdw>
          </a:effectLst>
          <a:extLst/>
        </p:spPr>
      </p:cxnSp>
      <p:sp>
        <p:nvSpPr>
          <p:cNvPr id="41" name="AutoShape 4"/>
          <p:cNvSpPr>
            <a:spLocks noChangeArrowheads="1"/>
          </p:cNvSpPr>
          <p:nvPr/>
        </p:nvSpPr>
        <p:spPr bwMode="auto">
          <a:xfrm>
            <a:off x="733425" y="3810000"/>
            <a:ext cx="3457575" cy="596900"/>
          </a:xfrm>
          <a:prstGeom prst="chevron">
            <a:avLst/>
          </a:prstGeom>
          <a:gradFill flip="none" rotWithShape="1">
            <a:gsLst>
              <a:gs pos="0">
                <a:srgbClr val="B2B2B2"/>
              </a:gs>
              <a:gs pos="50000">
                <a:srgbClr val="DDDDDD"/>
              </a:gs>
              <a:gs pos="100000">
                <a:srgbClr val="FFFFFF"/>
              </a:gs>
            </a:gsLst>
            <a:lin ang="13500000" scaled="1"/>
            <a:tileRect/>
          </a:gradFill>
          <a:ln w="635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8000" tIns="36000" rIns="72000" bIns="36000" anchor="ctr"/>
          <a:lstStyle/>
          <a:p>
            <a:pPr defTabSz="644525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kern="0" dirty="0">
                <a:solidFill>
                  <a:srgbClr val="4D4D4D"/>
                </a:solidFill>
                <a:latin typeface="+mn-lt"/>
              </a:rPr>
              <a:t>Task Force Boundary </a:t>
            </a:r>
            <a:r>
              <a:rPr lang="en-US" sz="1100" kern="0" dirty="0" smtClean="0">
                <a:solidFill>
                  <a:srgbClr val="4D4D4D"/>
                </a:solidFill>
                <a:latin typeface="+mn-lt"/>
              </a:rPr>
              <a:t>Conditions</a:t>
            </a:r>
            <a:endParaRPr lang="en-US" sz="1100" b="1" kern="0" dirty="0">
              <a:solidFill>
                <a:srgbClr val="4D4D4D"/>
              </a:solidFill>
              <a:latin typeface="+mn-lt"/>
            </a:endParaRPr>
          </a:p>
        </p:txBody>
      </p:sp>
      <p:sp>
        <p:nvSpPr>
          <p:cNvPr id="42" name="AutoShape 4"/>
          <p:cNvSpPr>
            <a:spLocks noChangeArrowheads="1"/>
          </p:cNvSpPr>
          <p:nvPr/>
        </p:nvSpPr>
        <p:spPr bwMode="auto">
          <a:xfrm>
            <a:off x="740734" y="4552801"/>
            <a:ext cx="3457575" cy="596900"/>
          </a:xfrm>
          <a:prstGeom prst="chevron">
            <a:avLst/>
          </a:prstGeom>
          <a:gradFill flip="none" rotWithShape="1">
            <a:gsLst>
              <a:gs pos="0">
                <a:srgbClr val="B2B2B2"/>
              </a:gs>
              <a:gs pos="50000">
                <a:srgbClr val="DDDDDD"/>
              </a:gs>
              <a:gs pos="100000">
                <a:srgbClr val="FFFFFF"/>
              </a:gs>
            </a:gsLst>
            <a:lin ang="13500000" scaled="1"/>
            <a:tileRect/>
          </a:gradFill>
          <a:ln w="635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8000" tIns="36000" rIns="72000" bIns="36000" anchor="ctr"/>
          <a:lstStyle/>
          <a:p>
            <a:pPr defTabSz="644525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kern="0" dirty="0">
                <a:solidFill>
                  <a:srgbClr val="4D4D4D"/>
                </a:solidFill>
                <a:latin typeface="+mn-lt"/>
              </a:rPr>
              <a:t>CF’s Argumentation Presentation</a:t>
            </a:r>
            <a:endParaRPr lang="en-US" sz="1100" b="1" kern="0" dirty="0">
              <a:solidFill>
                <a:srgbClr val="4D4D4D"/>
              </a:solidFill>
              <a:latin typeface="+mn-lt"/>
            </a:endParaRPr>
          </a:p>
        </p:txBody>
      </p:sp>
      <p:grpSp>
        <p:nvGrpSpPr>
          <p:cNvPr id="52" name="Gruppieren 51"/>
          <p:cNvGrpSpPr/>
          <p:nvPr/>
        </p:nvGrpSpPr>
        <p:grpSpPr>
          <a:xfrm>
            <a:off x="3941134" y="3896833"/>
            <a:ext cx="550654" cy="403382"/>
            <a:chOff x="3296505" y="2482824"/>
            <a:chExt cx="550654" cy="403382"/>
          </a:xfrm>
        </p:grpSpPr>
        <p:pic>
          <p:nvPicPr>
            <p:cNvPr id="53" name="Picture 8" descr="C:\DATEN\sonstiges\PowerPoint Icons\Beispiele gute Präsis und Icons\03___Icons_PowerPoint\Icons\Dokumente\single_yellow_folder_1600_clr.png"/>
            <p:cNvPicPr>
              <a:picLocks noChangeAspect="1" noChangeArrowheads="1"/>
            </p:cNvPicPr>
            <p:nvPr/>
          </p:nvPicPr>
          <p:blipFill>
            <a:blip r:embed="rId2" cstate="print">
              <a:duotone>
                <a:prstClr val="black"/>
                <a:schemeClr val="accent6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09316" y="2482824"/>
              <a:ext cx="537843" cy="40338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4" name="Textfeld 53"/>
            <p:cNvSpPr txBox="1"/>
            <p:nvPr/>
          </p:nvSpPr>
          <p:spPr>
            <a:xfrm rot="794566">
              <a:off x="3296505" y="2510262"/>
              <a:ext cx="449162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900" dirty="0" smtClean="0">
                  <a:solidFill>
                    <a:schemeClr val="bg1"/>
                  </a:solidFill>
                  <a:latin typeface="CorpoS"/>
                  <a:ea typeface="+mn-ea"/>
                </a:rPr>
                <a:t>Input</a:t>
              </a:r>
              <a:endParaRPr lang="de-DE" sz="900" dirty="0">
                <a:solidFill>
                  <a:schemeClr val="bg1"/>
                </a:solidFill>
                <a:latin typeface="CorpoS"/>
                <a:ea typeface="+mn-ea"/>
              </a:endParaRPr>
            </a:p>
          </p:txBody>
        </p:sp>
      </p:grpSp>
      <p:cxnSp>
        <p:nvCxnSpPr>
          <p:cNvPr id="58" name="Gerade Verbindung mit Pfeil 57"/>
          <p:cNvCxnSpPr>
            <a:stCxn id="53" idx="2"/>
          </p:cNvCxnSpPr>
          <p:nvPr/>
        </p:nvCxnSpPr>
        <p:spPr bwMode="auto">
          <a:xfrm>
            <a:off x="4222867" y="4300215"/>
            <a:ext cx="0" cy="990898"/>
          </a:xfrm>
          <a:prstGeom prst="straightConnector1">
            <a:avLst/>
          </a:prstGeom>
          <a:solidFill>
            <a:srgbClr val="DDDDDD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triangle" w="med" len="med"/>
          </a:ln>
          <a:effectLst>
            <a:outerShdw blurRad="63500" dist="35921" dir="2700000" algn="ctr" rotWithShape="0">
              <a:schemeClr val="bg2"/>
            </a:outerShdw>
          </a:effectLst>
          <a:extLst/>
        </p:spPr>
      </p:cxnSp>
      <p:grpSp>
        <p:nvGrpSpPr>
          <p:cNvPr id="55" name="Gruppieren 54"/>
          <p:cNvGrpSpPr/>
          <p:nvPr/>
        </p:nvGrpSpPr>
        <p:grpSpPr>
          <a:xfrm>
            <a:off x="4057192" y="4683822"/>
            <a:ext cx="550654" cy="403382"/>
            <a:chOff x="3296505" y="2482824"/>
            <a:chExt cx="550654" cy="403382"/>
          </a:xfrm>
        </p:grpSpPr>
        <p:pic>
          <p:nvPicPr>
            <p:cNvPr id="56" name="Picture 8" descr="C:\DATEN\sonstiges\PowerPoint Icons\Beispiele gute Präsis und Icons\03___Icons_PowerPoint\Icons\Dokumente\single_yellow_folder_1600_clr.png"/>
            <p:cNvPicPr>
              <a:picLocks noChangeAspect="1" noChangeArrowheads="1"/>
            </p:cNvPicPr>
            <p:nvPr/>
          </p:nvPicPr>
          <p:blipFill>
            <a:blip r:embed="rId2" cstate="print">
              <a:duotone>
                <a:prstClr val="black"/>
                <a:schemeClr val="accent2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09316" y="2482824"/>
              <a:ext cx="537843" cy="40338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7" name="Textfeld 56"/>
            <p:cNvSpPr txBox="1"/>
            <p:nvPr/>
          </p:nvSpPr>
          <p:spPr>
            <a:xfrm rot="794566">
              <a:off x="3296505" y="2510262"/>
              <a:ext cx="449162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900" dirty="0" smtClean="0">
                  <a:solidFill>
                    <a:schemeClr val="bg1"/>
                  </a:solidFill>
                  <a:latin typeface="CorpoS"/>
                  <a:ea typeface="+mn-ea"/>
                </a:rPr>
                <a:t>Input</a:t>
              </a:r>
              <a:endParaRPr lang="de-DE" sz="900" dirty="0">
                <a:solidFill>
                  <a:schemeClr val="bg1"/>
                </a:solidFill>
                <a:latin typeface="CorpoS"/>
                <a:ea typeface="+mn-ea"/>
              </a:endParaRPr>
            </a:p>
          </p:txBody>
        </p:sp>
      </p:grpSp>
      <p:cxnSp>
        <p:nvCxnSpPr>
          <p:cNvPr id="61" name="Gerade Verbindung mit Pfeil 60"/>
          <p:cNvCxnSpPr>
            <a:stCxn id="56" idx="2"/>
          </p:cNvCxnSpPr>
          <p:nvPr/>
        </p:nvCxnSpPr>
        <p:spPr bwMode="auto">
          <a:xfrm flipH="1">
            <a:off x="4338924" y="5087204"/>
            <a:ext cx="1" cy="203909"/>
          </a:xfrm>
          <a:prstGeom prst="straightConnector1">
            <a:avLst/>
          </a:prstGeom>
          <a:solidFill>
            <a:srgbClr val="DDDDDD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triangle" w="med" len="med"/>
          </a:ln>
          <a:effectLst>
            <a:outerShdw blurRad="63500" dist="35921" dir="2700000" algn="ctr" rotWithShape="0">
              <a:schemeClr val="bg2"/>
            </a:outerShdw>
          </a:effectLst>
          <a:extLst/>
        </p:spPr>
      </p:cxnSp>
      <p:cxnSp>
        <p:nvCxnSpPr>
          <p:cNvPr id="64" name="Gerade Verbindung mit Pfeil 63"/>
          <p:cNvCxnSpPr>
            <a:stCxn id="22" idx="0"/>
            <a:endCxn id="1029" idx="0"/>
          </p:cNvCxnSpPr>
          <p:nvPr/>
        </p:nvCxnSpPr>
        <p:spPr bwMode="auto">
          <a:xfrm>
            <a:off x="4796919" y="2828925"/>
            <a:ext cx="2279" cy="2589853"/>
          </a:xfrm>
          <a:prstGeom prst="straightConnector1">
            <a:avLst/>
          </a:prstGeom>
          <a:solidFill>
            <a:srgbClr val="DDDDDD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triangle" w="med" len="med"/>
          </a:ln>
          <a:effectLst>
            <a:outerShdw blurRad="63500" dist="35921" dir="2700000" algn="ctr" rotWithShape="0">
              <a:schemeClr val="bg2"/>
            </a:outerShdw>
          </a:effectLst>
          <a:extLst/>
        </p:spPr>
      </p:cxnSp>
      <p:cxnSp>
        <p:nvCxnSpPr>
          <p:cNvPr id="74" name="Gerade Verbindung mit Pfeil 73"/>
          <p:cNvCxnSpPr>
            <a:stCxn id="37" idx="0"/>
            <a:endCxn id="249" idx="0"/>
          </p:cNvCxnSpPr>
          <p:nvPr/>
        </p:nvCxnSpPr>
        <p:spPr bwMode="auto">
          <a:xfrm>
            <a:off x="6116948" y="2846387"/>
            <a:ext cx="1052" cy="2548245"/>
          </a:xfrm>
          <a:prstGeom prst="straightConnector1">
            <a:avLst/>
          </a:prstGeom>
          <a:solidFill>
            <a:srgbClr val="DDDDDD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triangle" w="med" len="med"/>
          </a:ln>
          <a:effectLst>
            <a:outerShdw blurRad="63500" dist="35921" dir="2700000" algn="ctr" rotWithShape="0">
              <a:schemeClr val="bg2"/>
            </a:outerShdw>
          </a:effectLst>
          <a:extLst/>
        </p:spPr>
      </p:cxnSp>
      <p:grpSp>
        <p:nvGrpSpPr>
          <p:cNvPr id="77" name="Group 4"/>
          <p:cNvGrpSpPr>
            <a:grpSpLocks/>
          </p:cNvGrpSpPr>
          <p:nvPr/>
        </p:nvGrpSpPr>
        <p:grpSpPr bwMode="auto">
          <a:xfrm>
            <a:off x="7831861" y="4819807"/>
            <a:ext cx="779324" cy="747185"/>
            <a:chOff x="1415" y="1338"/>
            <a:chExt cx="2621" cy="2687"/>
          </a:xfrm>
          <a:solidFill>
            <a:srgbClr val="FFFFFF">
              <a:lumMod val="50000"/>
            </a:srgbClr>
          </a:solidFill>
        </p:grpSpPr>
        <p:sp>
          <p:nvSpPr>
            <p:cNvPr id="78" name="Freeform 5"/>
            <p:cNvSpPr>
              <a:spLocks noChangeAspect="1"/>
            </p:cNvSpPr>
            <p:nvPr/>
          </p:nvSpPr>
          <p:spPr bwMode="auto">
            <a:xfrm>
              <a:off x="2804" y="3997"/>
              <a:ext cx="25" cy="28"/>
            </a:xfrm>
            <a:custGeom>
              <a:avLst/>
              <a:gdLst>
                <a:gd name="T0" fmla="*/ 0 w 24"/>
                <a:gd name="T1" fmla="*/ 0 h 28"/>
                <a:gd name="T2" fmla="*/ 213 w 24"/>
                <a:gd name="T3" fmla="*/ 13 h 28"/>
                <a:gd name="T4" fmla="*/ 272 w 24"/>
                <a:gd name="T5" fmla="*/ 22 h 28"/>
                <a:gd name="T6" fmla="*/ 180 w 24"/>
                <a:gd name="T7" fmla="*/ 25 h 28"/>
                <a:gd name="T8" fmla="*/ 8 w 24"/>
                <a:gd name="T9" fmla="*/ 17 h 28"/>
                <a:gd name="T10" fmla="*/ 2 w 24"/>
                <a:gd name="T11" fmla="*/ 10 h 28"/>
                <a:gd name="T12" fmla="*/ 7 w 24"/>
                <a:gd name="T13" fmla="*/ 3 h 28"/>
                <a:gd name="T14" fmla="*/ 0 w 24"/>
                <a:gd name="T15" fmla="*/ 0 h 2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4"/>
                <a:gd name="T25" fmla="*/ 0 h 28"/>
                <a:gd name="T26" fmla="*/ 24 w 24"/>
                <a:gd name="T27" fmla="*/ 28 h 2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4" h="28">
                  <a:moveTo>
                    <a:pt x="0" y="0"/>
                  </a:moveTo>
                  <a:cubicBezTo>
                    <a:pt x="10" y="1"/>
                    <a:pt x="13" y="5"/>
                    <a:pt x="18" y="13"/>
                  </a:cubicBezTo>
                  <a:cubicBezTo>
                    <a:pt x="20" y="16"/>
                    <a:pt x="24" y="22"/>
                    <a:pt x="24" y="22"/>
                  </a:cubicBezTo>
                  <a:cubicBezTo>
                    <a:pt x="22" y="28"/>
                    <a:pt x="19" y="27"/>
                    <a:pt x="14" y="25"/>
                  </a:cubicBezTo>
                  <a:cubicBezTo>
                    <a:pt x="12" y="21"/>
                    <a:pt x="12" y="19"/>
                    <a:pt x="8" y="17"/>
                  </a:cubicBezTo>
                  <a:cubicBezTo>
                    <a:pt x="7" y="14"/>
                    <a:pt x="3" y="13"/>
                    <a:pt x="2" y="10"/>
                  </a:cubicBezTo>
                  <a:cubicBezTo>
                    <a:pt x="1" y="7"/>
                    <a:pt x="9" y="5"/>
                    <a:pt x="7" y="3"/>
                  </a:cubicBezTo>
                  <a:cubicBezTo>
                    <a:pt x="5" y="1"/>
                    <a:pt x="2" y="1"/>
                    <a:pt x="0" y="0"/>
                  </a:cubicBez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  <p:sp>
          <p:nvSpPr>
            <p:cNvPr id="79" name="Freeform 6"/>
            <p:cNvSpPr>
              <a:spLocks noChangeAspect="1"/>
            </p:cNvSpPr>
            <p:nvPr/>
          </p:nvSpPr>
          <p:spPr bwMode="auto">
            <a:xfrm>
              <a:off x="3919" y="3781"/>
              <a:ext cx="117" cy="114"/>
            </a:xfrm>
            <a:custGeom>
              <a:avLst/>
              <a:gdLst>
                <a:gd name="T0" fmla="*/ 26 w 116"/>
                <a:gd name="T1" fmla="*/ 194 h 112"/>
                <a:gd name="T2" fmla="*/ 36 w 116"/>
                <a:gd name="T3" fmla="*/ 179 h 112"/>
                <a:gd name="T4" fmla="*/ 33 w 116"/>
                <a:gd name="T5" fmla="*/ 149 h 112"/>
                <a:gd name="T6" fmla="*/ 120 w 116"/>
                <a:gd name="T7" fmla="*/ 130 h 112"/>
                <a:gd name="T8" fmla="*/ 134 w 116"/>
                <a:gd name="T9" fmla="*/ 114 h 112"/>
                <a:gd name="T10" fmla="*/ 146 w 116"/>
                <a:gd name="T11" fmla="*/ 94 h 112"/>
                <a:gd name="T12" fmla="*/ 176 w 116"/>
                <a:gd name="T13" fmla="*/ 0 h 112"/>
                <a:gd name="T14" fmla="*/ 156 w 116"/>
                <a:gd name="T15" fmla="*/ 122 h 112"/>
                <a:gd name="T16" fmla="*/ 163 w 116"/>
                <a:gd name="T17" fmla="*/ 161 h 112"/>
                <a:gd name="T18" fmla="*/ 148 w 116"/>
                <a:gd name="T19" fmla="*/ 194 h 112"/>
                <a:gd name="T20" fmla="*/ 135 w 116"/>
                <a:gd name="T21" fmla="*/ 245 h 112"/>
                <a:gd name="T22" fmla="*/ 57 w 116"/>
                <a:gd name="T23" fmla="*/ 293 h 112"/>
                <a:gd name="T24" fmla="*/ 48 w 116"/>
                <a:gd name="T25" fmla="*/ 321 h 112"/>
                <a:gd name="T26" fmla="*/ 12 w 116"/>
                <a:gd name="T27" fmla="*/ 314 h 112"/>
                <a:gd name="T28" fmla="*/ 0 w 116"/>
                <a:gd name="T29" fmla="*/ 269 h 112"/>
                <a:gd name="T30" fmla="*/ 15 w 116"/>
                <a:gd name="T31" fmla="*/ 213 h 112"/>
                <a:gd name="T32" fmla="*/ 23 w 116"/>
                <a:gd name="T33" fmla="*/ 205 h 112"/>
                <a:gd name="T34" fmla="*/ 26 w 116"/>
                <a:gd name="T35" fmla="*/ 194 h 11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16"/>
                <a:gd name="T55" fmla="*/ 0 h 112"/>
                <a:gd name="T56" fmla="*/ 116 w 116"/>
                <a:gd name="T57" fmla="*/ 112 h 112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16" h="112">
                  <a:moveTo>
                    <a:pt x="26" y="69"/>
                  </a:moveTo>
                  <a:cubicBezTo>
                    <a:pt x="31" y="68"/>
                    <a:pt x="31" y="66"/>
                    <a:pt x="36" y="64"/>
                  </a:cubicBezTo>
                  <a:cubicBezTo>
                    <a:pt x="37" y="62"/>
                    <a:pt x="30" y="57"/>
                    <a:pt x="33" y="54"/>
                  </a:cubicBezTo>
                  <a:cubicBezTo>
                    <a:pt x="27" y="48"/>
                    <a:pt x="50" y="47"/>
                    <a:pt x="59" y="46"/>
                  </a:cubicBezTo>
                  <a:cubicBezTo>
                    <a:pt x="66" y="44"/>
                    <a:pt x="65" y="39"/>
                    <a:pt x="73" y="38"/>
                  </a:cubicBezTo>
                  <a:cubicBezTo>
                    <a:pt x="78" y="37"/>
                    <a:pt x="85" y="28"/>
                    <a:pt x="85" y="28"/>
                  </a:cubicBezTo>
                  <a:cubicBezTo>
                    <a:pt x="99" y="20"/>
                    <a:pt x="98" y="5"/>
                    <a:pt x="114" y="0"/>
                  </a:cubicBezTo>
                  <a:cubicBezTo>
                    <a:pt x="116" y="2"/>
                    <a:pt x="97" y="32"/>
                    <a:pt x="95" y="42"/>
                  </a:cubicBezTo>
                  <a:cubicBezTo>
                    <a:pt x="91" y="49"/>
                    <a:pt x="96" y="49"/>
                    <a:pt x="102" y="58"/>
                  </a:cubicBezTo>
                  <a:cubicBezTo>
                    <a:pt x="101" y="61"/>
                    <a:pt x="91" y="67"/>
                    <a:pt x="87" y="69"/>
                  </a:cubicBezTo>
                  <a:cubicBezTo>
                    <a:pt x="85" y="75"/>
                    <a:pt x="80" y="80"/>
                    <a:pt x="74" y="82"/>
                  </a:cubicBezTo>
                  <a:cubicBezTo>
                    <a:pt x="73" y="84"/>
                    <a:pt x="60" y="99"/>
                    <a:pt x="57" y="100"/>
                  </a:cubicBezTo>
                  <a:cubicBezTo>
                    <a:pt x="54" y="104"/>
                    <a:pt x="51" y="108"/>
                    <a:pt x="48" y="111"/>
                  </a:cubicBezTo>
                  <a:cubicBezTo>
                    <a:pt x="32" y="110"/>
                    <a:pt x="24" y="112"/>
                    <a:pt x="12" y="108"/>
                  </a:cubicBezTo>
                  <a:cubicBezTo>
                    <a:pt x="9" y="100"/>
                    <a:pt x="4" y="97"/>
                    <a:pt x="0" y="91"/>
                  </a:cubicBezTo>
                  <a:cubicBezTo>
                    <a:pt x="1" y="85"/>
                    <a:pt x="8" y="76"/>
                    <a:pt x="15" y="74"/>
                  </a:cubicBezTo>
                  <a:cubicBezTo>
                    <a:pt x="18" y="73"/>
                    <a:pt x="23" y="72"/>
                    <a:pt x="23" y="72"/>
                  </a:cubicBezTo>
                  <a:cubicBezTo>
                    <a:pt x="26" y="70"/>
                    <a:pt x="26" y="71"/>
                    <a:pt x="26" y="69"/>
                  </a:cubicBez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  <p:grpSp>
          <p:nvGrpSpPr>
            <p:cNvPr id="80" name="Group 8"/>
            <p:cNvGrpSpPr>
              <a:grpSpLocks noChangeAspect="1"/>
            </p:cNvGrpSpPr>
            <p:nvPr/>
          </p:nvGrpSpPr>
          <p:grpSpPr bwMode="auto">
            <a:xfrm>
              <a:off x="3000" y="2184"/>
              <a:ext cx="229" cy="165"/>
              <a:chOff x="3131" y="2031"/>
              <a:chExt cx="227" cy="163"/>
            </a:xfrm>
            <a:grpFill/>
          </p:grpSpPr>
          <p:sp>
            <p:nvSpPr>
              <p:cNvPr id="196" name="Freeform 9"/>
              <p:cNvSpPr>
                <a:spLocks noChangeAspect="1"/>
              </p:cNvSpPr>
              <p:nvPr/>
            </p:nvSpPr>
            <p:spPr bwMode="auto">
              <a:xfrm>
                <a:off x="3131" y="2103"/>
                <a:ext cx="40" cy="31"/>
              </a:xfrm>
              <a:custGeom>
                <a:avLst/>
                <a:gdLst>
                  <a:gd name="T0" fmla="*/ 18 w 40"/>
                  <a:gd name="T1" fmla="*/ 1 h 31"/>
                  <a:gd name="T2" fmla="*/ 26 w 40"/>
                  <a:gd name="T3" fmla="*/ 4 h 31"/>
                  <a:gd name="T4" fmla="*/ 36 w 40"/>
                  <a:gd name="T5" fmla="*/ 13 h 31"/>
                  <a:gd name="T6" fmla="*/ 26 w 40"/>
                  <a:gd name="T7" fmla="*/ 25 h 31"/>
                  <a:gd name="T8" fmla="*/ 16 w 40"/>
                  <a:gd name="T9" fmla="*/ 30 h 31"/>
                  <a:gd name="T10" fmla="*/ 12 w 40"/>
                  <a:gd name="T11" fmla="*/ 19 h 31"/>
                  <a:gd name="T12" fmla="*/ 0 w 40"/>
                  <a:gd name="T13" fmla="*/ 23 h 31"/>
                  <a:gd name="T14" fmla="*/ 15 w 40"/>
                  <a:gd name="T15" fmla="*/ 12 h 31"/>
                  <a:gd name="T16" fmla="*/ 18 w 40"/>
                  <a:gd name="T17" fmla="*/ 1 h 31"/>
                  <a:gd name="T18" fmla="*/ 22 w 40"/>
                  <a:gd name="T19" fmla="*/ 3 h 31"/>
                  <a:gd name="T20" fmla="*/ 18 w 40"/>
                  <a:gd name="T21" fmla="*/ 1 h 31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40"/>
                  <a:gd name="T34" fmla="*/ 0 h 31"/>
                  <a:gd name="T35" fmla="*/ 40 w 40"/>
                  <a:gd name="T36" fmla="*/ 31 h 31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40" h="31">
                    <a:moveTo>
                      <a:pt x="18" y="1"/>
                    </a:moveTo>
                    <a:cubicBezTo>
                      <a:pt x="21" y="2"/>
                      <a:pt x="24" y="2"/>
                      <a:pt x="26" y="4"/>
                    </a:cubicBezTo>
                    <a:cubicBezTo>
                      <a:pt x="32" y="9"/>
                      <a:pt x="29" y="11"/>
                      <a:pt x="36" y="13"/>
                    </a:cubicBezTo>
                    <a:cubicBezTo>
                      <a:pt x="40" y="22"/>
                      <a:pt x="32" y="21"/>
                      <a:pt x="26" y="25"/>
                    </a:cubicBezTo>
                    <a:cubicBezTo>
                      <a:pt x="22" y="31"/>
                      <a:pt x="25" y="31"/>
                      <a:pt x="16" y="30"/>
                    </a:cubicBezTo>
                    <a:cubicBezTo>
                      <a:pt x="15" y="26"/>
                      <a:pt x="14" y="23"/>
                      <a:pt x="12" y="19"/>
                    </a:cubicBezTo>
                    <a:cubicBezTo>
                      <a:pt x="5" y="21"/>
                      <a:pt x="6" y="24"/>
                      <a:pt x="0" y="23"/>
                    </a:cubicBezTo>
                    <a:cubicBezTo>
                      <a:pt x="4" y="16"/>
                      <a:pt x="7" y="15"/>
                      <a:pt x="15" y="12"/>
                    </a:cubicBezTo>
                    <a:cubicBezTo>
                      <a:pt x="17" y="9"/>
                      <a:pt x="16" y="4"/>
                      <a:pt x="18" y="1"/>
                    </a:cubicBezTo>
                    <a:cubicBezTo>
                      <a:pt x="19" y="0"/>
                      <a:pt x="22" y="3"/>
                      <a:pt x="22" y="3"/>
                    </a:cubicBezTo>
                    <a:cubicBezTo>
                      <a:pt x="22" y="3"/>
                      <a:pt x="19" y="2"/>
                      <a:pt x="18" y="1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197" name="Freeform 10"/>
              <p:cNvSpPr>
                <a:spLocks noChangeAspect="1"/>
              </p:cNvSpPr>
              <p:nvPr/>
            </p:nvSpPr>
            <p:spPr bwMode="auto">
              <a:xfrm>
                <a:off x="3131" y="2136"/>
                <a:ext cx="52" cy="58"/>
              </a:xfrm>
              <a:custGeom>
                <a:avLst/>
                <a:gdLst>
                  <a:gd name="T0" fmla="*/ 35 w 52"/>
                  <a:gd name="T1" fmla="*/ 3 h 58"/>
                  <a:gd name="T2" fmla="*/ 51 w 52"/>
                  <a:gd name="T3" fmla="*/ 10 h 58"/>
                  <a:gd name="T4" fmla="*/ 44 w 52"/>
                  <a:gd name="T5" fmla="*/ 15 h 58"/>
                  <a:gd name="T6" fmla="*/ 33 w 52"/>
                  <a:gd name="T7" fmla="*/ 33 h 58"/>
                  <a:gd name="T8" fmla="*/ 18 w 52"/>
                  <a:gd name="T9" fmla="*/ 34 h 58"/>
                  <a:gd name="T10" fmla="*/ 11 w 52"/>
                  <a:gd name="T11" fmla="*/ 58 h 58"/>
                  <a:gd name="T12" fmla="*/ 14 w 52"/>
                  <a:gd name="T13" fmla="*/ 44 h 58"/>
                  <a:gd name="T14" fmla="*/ 0 w 52"/>
                  <a:gd name="T15" fmla="*/ 33 h 58"/>
                  <a:gd name="T16" fmla="*/ 15 w 52"/>
                  <a:gd name="T17" fmla="*/ 13 h 58"/>
                  <a:gd name="T18" fmla="*/ 35 w 52"/>
                  <a:gd name="T19" fmla="*/ 3 h 58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52"/>
                  <a:gd name="T31" fmla="*/ 0 h 58"/>
                  <a:gd name="T32" fmla="*/ 52 w 52"/>
                  <a:gd name="T33" fmla="*/ 58 h 58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52" h="58">
                    <a:moveTo>
                      <a:pt x="35" y="3"/>
                    </a:moveTo>
                    <a:cubicBezTo>
                      <a:pt x="41" y="4"/>
                      <a:pt x="45" y="8"/>
                      <a:pt x="51" y="10"/>
                    </a:cubicBezTo>
                    <a:cubicBezTo>
                      <a:pt x="49" y="19"/>
                      <a:pt x="52" y="10"/>
                      <a:pt x="44" y="15"/>
                    </a:cubicBezTo>
                    <a:cubicBezTo>
                      <a:pt x="38" y="19"/>
                      <a:pt x="41" y="30"/>
                      <a:pt x="33" y="33"/>
                    </a:cubicBezTo>
                    <a:cubicBezTo>
                      <a:pt x="29" y="30"/>
                      <a:pt x="18" y="34"/>
                      <a:pt x="18" y="34"/>
                    </a:cubicBezTo>
                    <a:cubicBezTo>
                      <a:pt x="15" y="42"/>
                      <a:pt x="18" y="53"/>
                      <a:pt x="11" y="58"/>
                    </a:cubicBezTo>
                    <a:cubicBezTo>
                      <a:pt x="3" y="55"/>
                      <a:pt x="10" y="47"/>
                      <a:pt x="14" y="44"/>
                    </a:cubicBezTo>
                    <a:cubicBezTo>
                      <a:pt x="11" y="32"/>
                      <a:pt x="6" y="42"/>
                      <a:pt x="0" y="33"/>
                    </a:cubicBezTo>
                    <a:cubicBezTo>
                      <a:pt x="2" y="24"/>
                      <a:pt x="5" y="16"/>
                      <a:pt x="15" y="13"/>
                    </a:cubicBezTo>
                    <a:cubicBezTo>
                      <a:pt x="18" y="0"/>
                      <a:pt x="17" y="3"/>
                      <a:pt x="35" y="3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198" name="Freeform 11"/>
              <p:cNvSpPr>
                <a:spLocks noChangeAspect="1"/>
              </p:cNvSpPr>
              <p:nvPr/>
            </p:nvSpPr>
            <p:spPr bwMode="auto">
              <a:xfrm>
                <a:off x="3177" y="2031"/>
                <a:ext cx="181" cy="157"/>
              </a:xfrm>
              <a:custGeom>
                <a:avLst/>
                <a:gdLst>
                  <a:gd name="T0" fmla="*/ 176 w 181"/>
                  <a:gd name="T1" fmla="*/ 145 h 157"/>
                  <a:gd name="T2" fmla="*/ 181 w 181"/>
                  <a:gd name="T3" fmla="*/ 121 h 157"/>
                  <a:gd name="T4" fmla="*/ 169 w 181"/>
                  <a:gd name="T5" fmla="*/ 101 h 157"/>
                  <a:gd name="T6" fmla="*/ 157 w 181"/>
                  <a:gd name="T7" fmla="*/ 82 h 157"/>
                  <a:gd name="T8" fmla="*/ 139 w 181"/>
                  <a:gd name="T9" fmla="*/ 58 h 157"/>
                  <a:gd name="T10" fmla="*/ 155 w 181"/>
                  <a:gd name="T11" fmla="*/ 45 h 157"/>
                  <a:gd name="T12" fmla="*/ 166 w 181"/>
                  <a:gd name="T13" fmla="*/ 41 h 157"/>
                  <a:gd name="T14" fmla="*/ 173 w 181"/>
                  <a:gd name="T15" fmla="*/ 21 h 157"/>
                  <a:gd name="T16" fmla="*/ 169 w 181"/>
                  <a:gd name="T17" fmla="*/ 5 h 157"/>
                  <a:gd name="T18" fmla="*/ 168 w 181"/>
                  <a:gd name="T19" fmla="*/ 1 h 157"/>
                  <a:gd name="T20" fmla="*/ 157 w 181"/>
                  <a:gd name="T21" fmla="*/ 7 h 157"/>
                  <a:gd name="T22" fmla="*/ 139 w 181"/>
                  <a:gd name="T23" fmla="*/ 12 h 157"/>
                  <a:gd name="T24" fmla="*/ 74 w 181"/>
                  <a:gd name="T25" fmla="*/ 18 h 157"/>
                  <a:gd name="T26" fmla="*/ 50 w 181"/>
                  <a:gd name="T27" fmla="*/ 33 h 157"/>
                  <a:gd name="T28" fmla="*/ 20 w 181"/>
                  <a:gd name="T29" fmla="*/ 49 h 157"/>
                  <a:gd name="T30" fmla="*/ 11 w 181"/>
                  <a:gd name="T31" fmla="*/ 55 h 157"/>
                  <a:gd name="T32" fmla="*/ 2 w 181"/>
                  <a:gd name="T33" fmla="*/ 65 h 157"/>
                  <a:gd name="T34" fmla="*/ 10 w 181"/>
                  <a:gd name="T35" fmla="*/ 89 h 157"/>
                  <a:gd name="T36" fmla="*/ 17 w 181"/>
                  <a:gd name="T37" fmla="*/ 101 h 157"/>
                  <a:gd name="T38" fmla="*/ 26 w 181"/>
                  <a:gd name="T39" fmla="*/ 111 h 157"/>
                  <a:gd name="T40" fmla="*/ 53 w 181"/>
                  <a:gd name="T41" fmla="*/ 114 h 157"/>
                  <a:gd name="T42" fmla="*/ 54 w 181"/>
                  <a:gd name="T43" fmla="*/ 126 h 157"/>
                  <a:gd name="T44" fmla="*/ 58 w 181"/>
                  <a:gd name="T45" fmla="*/ 132 h 157"/>
                  <a:gd name="T46" fmla="*/ 58 w 181"/>
                  <a:gd name="T47" fmla="*/ 144 h 157"/>
                  <a:gd name="T48" fmla="*/ 85 w 181"/>
                  <a:gd name="T49" fmla="*/ 131 h 157"/>
                  <a:gd name="T50" fmla="*/ 109 w 181"/>
                  <a:gd name="T51" fmla="*/ 138 h 157"/>
                  <a:gd name="T52" fmla="*/ 119 w 181"/>
                  <a:gd name="T53" fmla="*/ 147 h 157"/>
                  <a:gd name="T54" fmla="*/ 128 w 181"/>
                  <a:gd name="T55" fmla="*/ 150 h 157"/>
                  <a:gd name="T56" fmla="*/ 146 w 181"/>
                  <a:gd name="T57" fmla="*/ 154 h 157"/>
                  <a:gd name="T58" fmla="*/ 176 w 181"/>
                  <a:gd name="T59" fmla="*/ 145 h 157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w 181"/>
                  <a:gd name="T91" fmla="*/ 0 h 157"/>
                  <a:gd name="T92" fmla="*/ 181 w 181"/>
                  <a:gd name="T93" fmla="*/ 157 h 157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T90" t="T91" r="T92" b="T93"/>
                <a:pathLst>
                  <a:path w="181" h="157">
                    <a:moveTo>
                      <a:pt x="176" y="145"/>
                    </a:moveTo>
                    <a:cubicBezTo>
                      <a:pt x="165" y="141"/>
                      <a:pt x="179" y="128"/>
                      <a:pt x="181" y="121"/>
                    </a:cubicBezTo>
                    <a:cubicBezTo>
                      <a:pt x="179" y="111"/>
                      <a:pt x="178" y="107"/>
                      <a:pt x="169" y="101"/>
                    </a:cubicBezTo>
                    <a:cubicBezTo>
                      <a:pt x="166" y="95"/>
                      <a:pt x="162" y="87"/>
                      <a:pt x="157" y="82"/>
                    </a:cubicBezTo>
                    <a:cubicBezTo>
                      <a:pt x="154" y="73"/>
                      <a:pt x="142" y="68"/>
                      <a:pt x="139" y="58"/>
                    </a:cubicBezTo>
                    <a:cubicBezTo>
                      <a:pt x="140" y="45"/>
                      <a:pt x="143" y="46"/>
                      <a:pt x="155" y="45"/>
                    </a:cubicBezTo>
                    <a:cubicBezTo>
                      <a:pt x="158" y="43"/>
                      <a:pt x="166" y="41"/>
                      <a:pt x="166" y="41"/>
                    </a:cubicBezTo>
                    <a:cubicBezTo>
                      <a:pt x="169" y="37"/>
                      <a:pt x="172" y="27"/>
                      <a:pt x="173" y="21"/>
                    </a:cubicBezTo>
                    <a:cubicBezTo>
                      <a:pt x="175" y="15"/>
                      <a:pt x="174" y="8"/>
                      <a:pt x="169" y="5"/>
                    </a:cubicBezTo>
                    <a:cubicBezTo>
                      <a:pt x="169" y="4"/>
                      <a:pt x="169" y="1"/>
                      <a:pt x="168" y="1"/>
                    </a:cubicBezTo>
                    <a:cubicBezTo>
                      <a:pt x="164" y="0"/>
                      <a:pt x="157" y="7"/>
                      <a:pt x="157" y="7"/>
                    </a:cubicBezTo>
                    <a:cubicBezTo>
                      <a:pt x="153" y="18"/>
                      <a:pt x="157" y="13"/>
                      <a:pt x="139" y="12"/>
                    </a:cubicBezTo>
                    <a:cubicBezTo>
                      <a:pt x="116" y="14"/>
                      <a:pt x="98" y="17"/>
                      <a:pt x="74" y="18"/>
                    </a:cubicBezTo>
                    <a:cubicBezTo>
                      <a:pt x="69" y="26"/>
                      <a:pt x="58" y="28"/>
                      <a:pt x="50" y="33"/>
                    </a:cubicBezTo>
                    <a:cubicBezTo>
                      <a:pt x="40" y="39"/>
                      <a:pt x="29" y="43"/>
                      <a:pt x="20" y="49"/>
                    </a:cubicBezTo>
                    <a:cubicBezTo>
                      <a:pt x="17" y="53"/>
                      <a:pt x="15" y="52"/>
                      <a:pt x="11" y="55"/>
                    </a:cubicBezTo>
                    <a:cubicBezTo>
                      <a:pt x="10" y="58"/>
                      <a:pt x="5" y="63"/>
                      <a:pt x="2" y="65"/>
                    </a:cubicBezTo>
                    <a:cubicBezTo>
                      <a:pt x="0" y="74"/>
                      <a:pt x="2" y="84"/>
                      <a:pt x="10" y="89"/>
                    </a:cubicBezTo>
                    <a:cubicBezTo>
                      <a:pt x="11" y="94"/>
                      <a:pt x="13" y="98"/>
                      <a:pt x="17" y="101"/>
                    </a:cubicBezTo>
                    <a:cubicBezTo>
                      <a:pt x="18" y="106"/>
                      <a:pt x="21" y="109"/>
                      <a:pt x="26" y="111"/>
                    </a:cubicBezTo>
                    <a:cubicBezTo>
                      <a:pt x="31" y="118"/>
                      <a:pt x="46" y="113"/>
                      <a:pt x="53" y="114"/>
                    </a:cubicBezTo>
                    <a:cubicBezTo>
                      <a:pt x="60" y="119"/>
                      <a:pt x="47" y="116"/>
                      <a:pt x="54" y="126"/>
                    </a:cubicBezTo>
                    <a:cubicBezTo>
                      <a:pt x="55" y="128"/>
                      <a:pt x="58" y="132"/>
                      <a:pt x="58" y="132"/>
                    </a:cubicBezTo>
                    <a:cubicBezTo>
                      <a:pt x="58" y="136"/>
                      <a:pt x="55" y="141"/>
                      <a:pt x="58" y="144"/>
                    </a:cubicBezTo>
                    <a:cubicBezTo>
                      <a:pt x="62" y="144"/>
                      <a:pt x="77" y="132"/>
                      <a:pt x="85" y="131"/>
                    </a:cubicBezTo>
                    <a:cubicBezTo>
                      <a:pt x="93" y="132"/>
                      <a:pt x="101" y="131"/>
                      <a:pt x="109" y="138"/>
                    </a:cubicBezTo>
                    <a:cubicBezTo>
                      <a:pt x="110" y="141"/>
                      <a:pt x="115" y="145"/>
                      <a:pt x="119" y="147"/>
                    </a:cubicBezTo>
                    <a:cubicBezTo>
                      <a:pt x="122" y="148"/>
                      <a:pt x="128" y="150"/>
                      <a:pt x="128" y="150"/>
                    </a:cubicBezTo>
                    <a:cubicBezTo>
                      <a:pt x="135" y="157"/>
                      <a:pt x="134" y="155"/>
                      <a:pt x="146" y="154"/>
                    </a:cubicBezTo>
                    <a:cubicBezTo>
                      <a:pt x="160" y="149"/>
                      <a:pt x="151" y="150"/>
                      <a:pt x="176" y="145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</p:grpSp>
        <p:sp>
          <p:nvSpPr>
            <p:cNvPr id="81" name="Freeform 12"/>
            <p:cNvSpPr>
              <a:spLocks noChangeAspect="1"/>
            </p:cNvSpPr>
            <p:nvPr/>
          </p:nvSpPr>
          <p:spPr bwMode="auto">
            <a:xfrm>
              <a:off x="3185" y="1986"/>
              <a:ext cx="279" cy="252"/>
            </a:xfrm>
            <a:custGeom>
              <a:avLst/>
              <a:gdLst>
                <a:gd name="T0" fmla="*/ 0 w 1104"/>
                <a:gd name="T1" fmla="*/ 0 h 995"/>
                <a:gd name="T2" fmla="*/ 0 w 1104"/>
                <a:gd name="T3" fmla="*/ 0 h 995"/>
                <a:gd name="T4" fmla="*/ 0 w 1104"/>
                <a:gd name="T5" fmla="*/ 0 h 995"/>
                <a:gd name="T6" fmla="*/ 0 w 1104"/>
                <a:gd name="T7" fmla="*/ 0 h 995"/>
                <a:gd name="T8" fmla="*/ 0 w 1104"/>
                <a:gd name="T9" fmla="*/ 0 h 995"/>
                <a:gd name="T10" fmla="*/ 0 w 1104"/>
                <a:gd name="T11" fmla="*/ 0 h 995"/>
                <a:gd name="T12" fmla="*/ 0 w 1104"/>
                <a:gd name="T13" fmla="*/ 0 h 995"/>
                <a:gd name="T14" fmla="*/ 0 w 1104"/>
                <a:gd name="T15" fmla="*/ 0 h 995"/>
                <a:gd name="T16" fmla="*/ 0 w 1104"/>
                <a:gd name="T17" fmla="*/ 0 h 995"/>
                <a:gd name="T18" fmla="*/ 0 w 1104"/>
                <a:gd name="T19" fmla="*/ 0 h 995"/>
                <a:gd name="T20" fmla="*/ 0 w 1104"/>
                <a:gd name="T21" fmla="*/ 0 h 995"/>
                <a:gd name="T22" fmla="*/ 0 w 1104"/>
                <a:gd name="T23" fmla="*/ 0 h 995"/>
                <a:gd name="T24" fmla="*/ 0 w 1104"/>
                <a:gd name="T25" fmla="*/ 0 h 995"/>
                <a:gd name="T26" fmla="*/ 0 w 1104"/>
                <a:gd name="T27" fmla="*/ 0 h 995"/>
                <a:gd name="T28" fmla="*/ 0 w 1104"/>
                <a:gd name="T29" fmla="*/ 0 h 995"/>
                <a:gd name="T30" fmla="*/ 0 w 1104"/>
                <a:gd name="T31" fmla="*/ 0 h 995"/>
                <a:gd name="T32" fmla="*/ 0 w 1104"/>
                <a:gd name="T33" fmla="*/ 0 h 995"/>
                <a:gd name="T34" fmla="*/ 0 w 1104"/>
                <a:gd name="T35" fmla="*/ 0 h 995"/>
                <a:gd name="T36" fmla="*/ 0 w 1104"/>
                <a:gd name="T37" fmla="*/ 0 h 995"/>
                <a:gd name="T38" fmla="*/ 0 w 1104"/>
                <a:gd name="T39" fmla="*/ 0 h 995"/>
                <a:gd name="T40" fmla="*/ 0 w 1104"/>
                <a:gd name="T41" fmla="*/ 0 h 995"/>
                <a:gd name="T42" fmla="*/ 0 w 1104"/>
                <a:gd name="T43" fmla="*/ 0 h 995"/>
                <a:gd name="T44" fmla="*/ 0 w 1104"/>
                <a:gd name="T45" fmla="*/ 0 h 995"/>
                <a:gd name="T46" fmla="*/ 0 w 1104"/>
                <a:gd name="T47" fmla="*/ 0 h 995"/>
                <a:gd name="T48" fmla="*/ 0 w 1104"/>
                <a:gd name="T49" fmla="*/ 0 h 995"/>
                <a:gd name="T50" fmla="*/ 0 w 1104"/>
                <a:gd name="T51" fmla="*/ 0 h 995"/>
                <a:gd name="T52" fmla="*/ 0 w 1104"/>
                <a:gd name="T53" fmla="*/ 0 h 995"/>
                <a:gd name="T54" fmla="*/ 0 w 1104"/>
                <a:gd name="T55" fmla="*/ 0 h 995"/>
                <a:gd name="T56" fmla="*/ 0 w 1104"/>
                <a:gd name="T57" fmla="*/ 0 h 995"/>
                <a:gd name="T58" fmla="*/ 0 w 1104"/>
                <a:gd name="T59" fmla="*/ 0 h 995"/>
                <a:gd name="T60" fmla="*/ 0 w 1104"/>
                <a:gd name="T61" fmla="*/ 0 h 995"/>
                <a:gd name="T62" fmla="*/ 0 w 1104"/>
                <a:gd name="T63" fmla="*/ 0 h 995"/>
                <a:gd name="T64" fmla="*/ 0 w 1104"/>
                <a:gd name="T65" fmla="*/ 0 h 995"/>
                <a:gd name="T66" fmla="*/ 0 w 1104"/>
                <a:gd name="T67" fmla="*/ 0 h 995"/>
                <a:gd name="T68" fmla="*/ 0 w 1104"/>
                <a:gd name="T69" fmla="*/ 0 h 995"/>
                <a:gd name="T70" fmla="*/ 0 w 1104"/>
                <a:gd name="T71" fmla="*/ 0 h 995"/>
                <a:gd name="T72" fmla="*/ 0 w 1104"/>
                <a:gd name="T73" fmla="*/ 0 h 995"/>
                <a:gd name="T74" fmla="*/ 0 w 1104"/>
                <a:gd name="T75" fmla="*/ 0 h 995"/>
                <a:gd name="T76" fmla="*/ 0 w 1104"/>
                <a:gd name="T77" fmla="*/ 0 h 995"/>
                <a:gd name="T78" fmla="*/ 0 w 1104"/>
                <a:gd name="T79" fmla="*/ 0 h 995"/>
                <a:gd name="T80" fmla="*/ 0 w 1104"/>
                <a:gd name="T81" fmla="*/ 0 h 995"/>
                <a:gd name="T82" fmla="*/ 0 w 1104"/>
                <a:gd name="T83" fmla="*/ 0 h 995"/>
                <a:gd name="T84" fmla="*/ 0 w 1104"/>
                <a:gd name="T85" fmla="*/ 0 h 995"/>
                <a:gd name="T86" fmla="*/ 0 w 1104"/>
                <a:gd name="T87" fmla="*/ 0 h 995"/>
                <a:gd name="T88" fmla="*/ 0 w 1104"/>
                <a:gd name="T89" fmla="*/ 0 h 995"/>
                <a:gd name="T90" fmla="*/ 0 w 1104"/>
                <a:gd name="T91" fmla="*/ 0 h 995"/>
                <a:gd name="T92" fmla="*/ 0 w 1104"/>
                <a:gd name="T93" fmla="*/ 0 h 995"/>
                <a:gd name="T94" fmla="*/ 0 w 1104"/>
                <a:gd name="T95" fmla="*/ 0 h 995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1104"/>
                <a:gd name="T145" fmla="*/ 0 h 995"/>
                <a:gd name="T146" fmla="*/ 1104 w 1104"/>
                <a:gd name="T147" fmla="*/ 995 h 995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1104" h="995">
                  <a:moveTo>
                    <a:pt x="172" y="927"/>
                  </a:moveTo>
                  <a:cubicBezTo>
                    <a:pt x="228" y="935"/>
                    <a:pt x="260" y="955"/>
                    <a:pt x="312" y="967"/>
                  </a:cubicBezTo>
                  <a:cubicBezTo>
                    <a:pt x="336" y="971"/>
                    <a:pt x="352" y="983"/>
                    <a:pt x="372" y="991"/>
                  </a:cubicBezTo>
                  <a:cubicBezTo>
                    <a:pt x="376" y="991"/>
                    <a:pt x="384" y="995"/>
                    <a:pt x="384" y="995"/>
                  </a:cubicBezTo>
                  <a:cubicBezTo>
                    <a:pt x="412" y="987"/>
                    <a:pt x="404" y="983"/>
                    <a:pt x="428" y="967"/>
                  </a:cubicBezTo>
                  <a:cubicBezTo>
                    <a:pt x="440" y="927"/>
                    <a:pt x="448" y="875"/>
                    <a:pt x="480" y="843"/>
                  </a:cubicBezTo>
                  <a:cubicBezTo>
                    <a:pt x="500" y="823"/>
                    <a:pt x="532" y="823"/>
                    <a:pt x="552" y="803"/>
                  </a:cubicBezTo>
                  <a:cubicBezTo>
                    <a:pt x="564" y="763"/>
                    <a:pt x="532" y="695"/>
                    <a:pt x="576" y="679"/>
                  </a:cubicBezTo>
                  <a:cubicBezTo>
                    <a:pt x="604" y="687"/>
                    <a:pt x="636" y="703"/>
                    <a:pt x="660" y="719"/>
                  </a:cubicBezTo>
                  <a:cubicBezTo>
                    <a:pt x="688" y="715"/>
                    <a:pt x="724" y="727"/>
                    <a:pt x="748" y="711"/>
                  </a:cubicBezTo>
                  <a:cubicBezTo>
                    <a:pt x="808" y="671"/>
                    <a:pt x="732" y="667"/>
                    <a:pt x="756" y="639"/>
                  </a:cubicBezTo>
                  <a:cubicBezTo>
                    <a:pt x="764" y="627"/>
                    <a:pt x="792" y="615"/>
                    <a:pt x="792" y="615"/>
                  </a:cubicBezTo>
                  <a:cubicBezTo>
                    <a:pt x="944" y="631"/>
                    <a:pt x="872" y="627"/>
                    <a:pt x="1008" y="623"/>
                  </a:cubicBezTo>
                  <a:cubicBezTo>
                    <a:pt x="1024" y="615"/>
                    <a:pt x="1036" y="611"/>
                    <a:pt x="1052" y="603"/>
                  </a:cubicBezTo>
                  <a:cubicBezTo>
                    <a:pt x="1056" y="587"/>
                    <a:pt x="1060" y="579"/>
                    <a:pt x="1076" y="575"/>
                  </a:cubicBezTo>
                  <a:cubicBezTo>
                    <a:pt x="1084" y="555"/>
                    <a:pt x="1096" y="547"/>
                    <a:pt x="1104" y="527"/>
                  </a:cubicBezTo>
                  <a:cubicBezTo>
                    <a:pt x="1100" y="476"/>
                    <a:pt x="1068" y="352"/>
                    <a:pt x="1020" y="320"/>
                  </a:cubicBezTo>
                  <a:cubicBezTo>
                    <a:pt x="1008" y="296"/>
                    <a:pt x="984" y="280"/>
                    <a:pt x="972" y="252"/>
                  </a:cubicBezTo>
                  <a:cubicBezTo>
                    <a:pt x="960" y="184"/>
                    <a:pt x="956" y="116"/>
                    <a:pt x="936" y="52"/>
                  </a:cubicBezTo>
                  <a:cubicBezTo>
                    <a:pt x="932" y="44"/>
                    <a:pt x="956" y="8"/>
                    <a:pt x="948" y="4"/>
                  </a:cubicBezTo>
                  <a:cubicBezTo>
                    <a:pt x="932" y="0"/>
                    <a:pt x="888" y="0"/>
                    <a:pt x="872" y="0"/>
                  </a:cubicBezTo>
                  <a:cubicBezTo>
                    <a:pt x="816" y="4"/>
                    <a:pt x="764" y="8"/>
                    <a:pt x="708" y="16"/>
                  </a:cubicBezTo>
                  <a:cubicBezTo>
                    <a:pt x="680" y="36"/>
                    <a:pt x="688" y="24"/>
                    <a:pt x="680" y="48"/>
                  </a:cubicBezTo>
                  <a:cubicBezTo>
                    <a:pt x="680" y="76"/>
                    <a:pt x="660" y="236"/>
                    <a:pt x="632" y="256"/>
                  </a:cubicBezTo>
                  <a:cubicBezTo>
                    <a:pt x="600" y="280"/>
                    <a:pt x="480" y="276"/>
                    <a:pt x="476" y="276"/>
                  </a:cubicBezTo>
                  <a:cubicBezTo>
                    <a:pt x="392" y="272"/>
                    <a:pt x="324" y="260"/>
                    <a:pt x="244" y="252"/>
                  </a:cubicBezTo>
                  <a:cubicBezTo>
                    <a:pt x="212" y="252"/>
                    <a:pt x="176" y="252"/>
                    <a:pt x="144" y="256"/>
                  </a:cubicBezTo>
                  <a:cubicBezTo>
                    <a:pt x="128" y="260"/>
                    <a:pt x="108" y="280"/>
                    <a:pt x="108" y="280"/>
                  </a:cubicBezTo>
                  <a:cubicBezTo>
                    <a:pt x="84" y="316"/>
                    <a:pt x="16" y="440"/>
                    <a:pt x="0" y="480"/>
                  </a:cubicBezTo>
                  <a:cubicBezTo>
                    <a:pt x="0" y="488"/>
                    <a:pt x="0" y="499"/>
                    <a:pt x="4" y="507"/>
                  </a:cubicBezTo>
                  <a:cubicBezTo>
                    <a:pt x="8" y="511"/>
                    <a:pt x="8" y="499"/>
                    <a:pt x="12" y="496"/>
                  </a:cubicBezTo>
                  <a:cubicBezTo>
                    <a:pt x="20" y="488"/>
                    <a:pt x="36" y="480"/>
                    <a:pt x="36" y="480"/>
                  </a:cubicBezTo>
                  <a:cubicBezTo>
                    <a:pt x="44" y="468"/>
                    <a:pt x="48" y="448"/>
                    <a:pt x="60" y="444"/>
                  </a:cubicBezTo>
                  <a:cubicBezTo>
                    <a:pt x="68" y="440"/>
                    <a:pt x="84" y="436"/>
                    <a:pt x="84" y="436"/>
                  </a:cubicBezTo>
                  <a:cubicBezTo>
                    <a:pt x="128" y="444"/>
                    <a:pt x="120" y="488"/>
                    <a:pt x="140" y="519"/>
                  </a:cubicBezTo>
                  <a:cubicBezTo>
                    <a:pt x="156" y="583"/>
                    <a:pt x="136" y="551"/>
                    <a:pt x="248" y="543"/>
                  </a:cubicBezTo>
                  <a:cubicBezTo>
                    <a:pt x="276" y="535"/>
                    <a:pt x="264" y="539"/>
                    <a:pt x="284" y="527"/>
                  </a:cubicBezTo>
                  <a:cubicBezTo>
                    <a:pt x="308" y="527"/>
                    <a:pt x="340" y="515"/>
                    <a:pt x="356" y="535"/>
                  </a:cubicBezTo>
                  <a:cubicBezTo>
                    <a:pt x="364" y="547"/>
                    <a:pt x="368" y="575"/>
                    <a:pt x="368" y="575"/>
                  </a:cubicBezTo>
                  <a:cubicBezTo>
                    <a:pt x="320" y="623"/>
                    <a:pt x="268" y="623"/>
                    <a:pt x="216" y="631"/>
                  </a:cubicBezTo>
                  <a:cubicBezTo>
                    <a:pt x="208" y="635"/>
                    <a:pt x="200" y="635"/>
                    <a:pt x="192" y="639"/>
                  </a:cubicBezTo>
                  <a:cubicBezTo>
                    <a:pt x="188" y="643"/>
                    <a:pt x="184" y="647"/>
                    <a:pt x="180" y="647"/>
                  </a:cubicBezTo>
                  <a:cubicBezTo>
                    <a:pt x="166" y="664"/>
                    <a:pt x="118" y="720"/>
                    <a:pt x="108" y="743"/>
                  </a:cubicBezTo>
                  <a:cubicBezTo>
                    <a:pt x="104" y="763"/>
                    <a:pt x="100" y="775"/>
                    <a:pt x="120" y="783"/>
                  </a:cubicBezTo>
                  <a:cubicBezTo>
                    <a:pt x="124" y="803"/>
                    <a:pt x="124" y="811"/>
                    <a:pt x="140" y="823"/>
                  </a:cubicBezTo>
                  <a:cubicBezTo>
                    <a:pt x="148" y="855"/>
                    <a:pt x="124" y="895"/>
                    <a:pt x="108" y="923"/>
                  </a:cubicBezTo>
                  <a:cubicBezTo>
                    <a:pt x="112" y="927"/>
                    <a:pt x="112" y="931"/>
                    <a:pt x="116" y="935"/>
                  </a:cubicBezTo>
                  <a:cubicBezTo>
                    <a:pt x="128" y="935"/>
                    <a:pt x="140" y="923"/>
                    <a:pt x="172" y="927"/>
                  </a:cubicBez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  <p:grpSp>
          <p:nvGrpSpPr>
            <p:cNvPr id="82" name="Group 13"/>
            <p:cNvGrpSpPr>
              <a:grpSpLocks/>
            </p:cNvGrpSpPr>
            <p:nvPr/>
          </p:nvGrpSpPr>
          <p:grpSpPr bwMode="auto">
            <a:xfrm>
              <a:off x="3091" y="3473"/>
              <a:ext cx="555" cy="524"/>
              <a:chOff x="4862" y="8018"/>
              <a:chExt cx="2196" cy="2072"/>
            </a:xfrm>
            <a:grpFill/>
          </p:grpSpPr>
          <p:sp>
            <p:nvSpPr>
              <p:cNvPr id="174" name="Freeform 14"/>
              <p:cNvSpPr>
                <a:spLocks noChangeAspect="1"/>
              </p:cNvSpPr>
              <p:nvPr/>
            </p:nvSpPr>
            <p:spPr bwMode="auto">
              <a:xfrm>
                <a:off x="5802" y="9746"/>
                <a:ext cx="60" cy="96"/>
              </a:xfrm>
              <a:custGeom>
                <a:avLst/>
                <a:gdLst>
                  <a:gd name="T0" fmla="*/ 2147483647 w 15"/>
                  <a:gd name="T1" fmla="*/ 0 h 24"/>
                  <a:gd name="T2" fmla="*/ 2147483647 w 15"/>
                  <a:gd name="T3" fmla="*/ 2147483647 h 24"/>
                  <a:gd name="T4" fmla="*/ 2147483647 w 15"/>
                  <a:gd name="T5" fmla="*/ 2147483647 h 24"/>
                  <a:gd name="T6" fmla="*/ 2147483647 w 15"/>
                  <a:gd name="T7" fmla="*/ 2147483647 h 24"/>
                  <a:gd name="T8" fmla="*/ 0 w 15"/>
                  <a:gd name="T9" fmla="*/ 2147483647 h 24"/>
                  <a:gd name="T10" fmla="*/ 2147483647 w 15"/>
                  <a:gd name="T11" fmla="*/ 0 h 2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5"/>
                  <a:gd name="T19" fmla="*/ 0 h 24"/>
                  <a:gd name="T20" fmla="*/ 15 w 15"/>
                  <a:gd name="T21" fmla="*/ 24 h 2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5" h="24">
                    <a:moveTo>
                      <a:pt x="3" y="0"/>
                    </a:moveTo>
                    <a:cubicBezTo>
                      <a:pt x="11" y="1"/>
                      <a:pt x="13" y="0"/>
                      <a:pt x="14" y="8"/>
                    </a:cubicBezTo>
                    <a:cubicBezTo>
                      <a:pt x="12" y="19"/>
                      <a:pt x="15" y="12"/>
                      <a:pt x="10" y="18"/>
                    </a:cubicBezTo>
                    <a:cubicBezTo>
                      <a:pt x="9" y="20"/>
                      <a:pt x="6" y="24"/>
                      <a:pt x="6" y="24"/>
                    </a:cubicBezTo>
                    <a:cubicBezTo>
                      <a:pt x="3" y="21"/>
                      <a:pt x="0" y="12"/>
                      <a:pt x="0" y="12"/>
                    </a:cubicBezTo>
                    <a:cubicBezTo>
                      <a:pt x="1" y="8"/>
                      <a:pt x="2" y="4"/>
                      <a:pt x="3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175" name="Freeform 15"/>
              <p:cNvSpPr>
                <a:spLocks noChangeAspect="1"/>
              </p:cNvSpPr>
              <p:nvPr/>
            </p:nvSpPr>
            <p:spPr bwMode="auto">
              <a:xfrm>
                <a:off x="4862" y="8862"/>
                <a:ext cx="136" cy="116"/>
              </a:xfrm>
              <a:custGeom>
                <a:avLst/>
                <a:gdLst>
                  <a:gd name="T0" fmla="*/ 2147483647 w 34"/>
                  <a:gd name="T1" fmla="*/ 2147483647 h 29"/>
                  <a:gd name="T2" fmla="*/ 2147483647 w 34"/>
                  <a:gd name="T3" fmla="*/ 2147483647 h 29"/>
                  <a:gd name="T4" fmla="*/ 2147483647 w 34"/>
                  <a:gd name="T5" fmla="*/ 2147483647 h 29"/>
                  <a:gd name="T6" fmla="*/ 2147483647 w 34"/>
                  <a:gd name="T7" fmla="*/ 2147483647 h 29"/>
                  <a:gd name="T8" fmla="*/ 2147483647 w 34"/>
                  <a:gd name="T9" fmla="*/ 2147483647 h 29"/>
                  <a:gd name="T10" fmla="*/ 2147483647 w 34"/>
                  <a:gd name="T11" fmla="*/ 2147483647 h 29"/>
                  <a:gd name="T12" fmla="*/ 2147483647 w 34"/>
                  <a:gd name="T13" fmla="*/ 0 h 29"/>
                  <a:gd name="T14" fmla="*/ 2147483647 w 34"/>
                  <a:gd name="T15" fmla="*/ 2147483647 h 2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"/>
                  <a:gd name="T25" fmla="*/ 0 h 29"/>
                  <a:gd name="T26" fmla="*/ 34 w 34"/>
                  <a:gd name="T27" fmla="*/ 29 h 29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" h="29">
                    <a:moveTo>
                      <a:pt x="16" y="1"/>
                    </a:moveTo>
                    <a:cubicBezTo>
                      <a:pt x="2" y="3"/>
                      <a:pt x="0" y="8"/>
                      <a:pt x="14" y="13"/>
                    </a:cubicBezTo>
                    <a:cubicBezTo>
                      <a:pt x="17" y="16"/>
                      <a:pt x="20" y="17"/>
                      <a:pt x="23" y="19"/>
                    </a:cubicBezTo>
                    <a:cubicBezTo>
                      <a:pt x="26" y="28"/>
                      <a:pt x="25" y="29"/>
                      <a:pt x="34" y="26"/>
                    </a:cubicBezTo>
                    <a:cubicBezTo>
                      <a:pt x="33" y="22"/>
                      <a:pt x="27" y="21"/>
                      <a:pt x="23" y="17"/>
                    </a:cubicBezTo>
                    <a:cubicBezTo>
                      <a:pt x="22" y="14"/>
                      <a:pt x="21" y="4"/>
                      <a:pt x="19" y="2"/>
                    </a:cubicBezTo>
                    <a:cubicBezTo>
                      <a:pt x="17" y="0"/>
                      <a:pt x="11" y="0"/>
                      <a:pt x="11" y="0"/>
                    </a:cubicBezTo>
                    <a:cubicBezTo>
                      <a:pt x="11" y="0"/>
                      <a:pt x="14" y="1"/>
                      <a:pt x="16" y="1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176" name="Freeform 16"/>
              <p:cNvSpPr>
                <a:spLocks noChangeAspect="1"/>
              </p:cNvSpPr>
              <p:nvPr/>
            </p:nvSpPr>
            <p:spPr bwMode="auto">
              <a:xfrm>
                <a:off x="5122" y="9110"/>
                <a:ext cx="64" cy="92"/>
              </a:xfrm>
              <a:custGeom>
                <a:avLst/>
                <a:gdLst>
                  <a:gd name="T0" fmla="*/ 2147483647 w 16"/>
                  <a:gd name="T1" fmla="*/ 0 h 23"/>
                  <a:gd name="T2" fmla="*/ 2147483647 w 16"/>
                  <a:gd name="T3" fmla="*/ 2147483647 h 23"/>
                  <a:gd name="T4" fmla="*/ 2147483647 w 16"/>
                  <a:gd name="T5" fmla="*/ 2147483647 h 23"/>
                  <a:gd name="T6" fmla="*/ 0 w 16"/>
                  <a:gd name="T7" fmla="*/ 2147483647 h 23"/>
                  <a:gd name="T8" fmla="*/ 2147483647 w 16"/>
                  <a:gd name="T9" fmla="*/ 0 h 2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6"/>
                  <a:gd name="T16" fmla="*/ 0 h 23"/>
                  <a:gd name="T17" fmla="*/ 16 w 16"/>
                  <a:gd name="T18" fmla="*/ 23 h 2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6" h="23">
                    <a:moveTo>
                      <a:pt x="8" y="0"/>
                    </a:moveTo>
                    <a:cubicBezTo>
                      <a:pt x="11" y="3"/>
                      <a:pt x="14" y="4"/>
                      <a:pt x="15" y="8"/>
                    </a:cubicBezTo>
                    <a:cubicBezTo>
                      <a:pt x="14" y="19"/>
                      <a:pt x="16" y="20"/>
                      <a:pt x="8" y="23"/>
                    </a:cubicBezTo>
                    <a:cubicBezTo>
                      <a:pt x="2" y="22"/>
                      <a:pt x="5" y="19"/>
                      <a:pt x="0" y="16"/>
                    </a:cubicBezTo>
                    <a:cubicBezTo>
                      <a:pt x="1" y="13"/>
                      <a:pt x="8" y="0"/>
                      <a:pt x="8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177" name="Freeform 17"/>
              <p:cNvSpPr>
                <a:spLocks noChangeAspect="1"/>
              </p:cNvSpPr>
              <p:nvPr/>
            </p:nvSpPr>
            <p:spPr bwMode="auto">
              <a:xfrm>
                <a:off x="5098" y="9198"/>
                <a:ext cx="124" cy="144"/>
              </a:xfrm>
              <a:custGeom>
                <a:avLst/>
                <a:gdLst>
                  <a:gd name="T0" fmla="*/ 2147483647 w 31"/>
                  <a:gd name="T1" fmla="*/ 2147483647 h 36"/>
                  <a:gd name="T2" fmla="*/ 2147483647 w 31"/>
                  <a:gd name="T3" fmla="*/ 2147483647 h 36"/>
                  <a:gd name="T4" fmla="*/ 2147483647 w 31"/>
                  <a:gd name="T5" fmla="*/ 2147483647 h 36"/>
                  <a:gd name="T6" fmla="*/ 2147483647 w 31"/>
                  <a:gd name="T7" fmla="*/ 2147483647 h 36"/>
                  <a:gd name="T8" fmla="*/ 2147483647 w 31"/>
                  <a:gd name="T9" fmla="*/ 2147483647 h 36"/>
                  <a:gd name="T10" fmla="*/ 2147483647 w 31"/>
                  <a:gd name="T11" fmla="*/ 2147483647 h 36"/>
                  <a:gd name="T12" fmla="*/ 0 w 31"/>
                  <a:gd name="T13" fmla="*/ 2147483647 h 36"/>
                  <a:gd name="T14" fmla="*/ 2147483647 w 31"/>
                  <a:gd name="T15" fmla="*/ 2147483647 h 36"/>
                  <a:gd name="T16" fmla="*/ 2147483647 w 31"/>
                  <a:gd name="T17" fmla="*/ 2147483647 h 36"/>
                  <a:gd name="T18" fmla="*/ 2147483647 w 31"/>
                  <a:gd name="T19" fmla="*/ 2147483647 h 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31"/>
                  <a:gd name="T31" fmla="*/ 0 h 36"/>
                  <a:gd name="T32" fmla="*/ 31 w 31"/>
                  <a:gd name="T33" fmla="*/ 36 h 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31" h="36">
                    <a:moveTo>
                      <a:pt x="16" y="6"/>
                    </a:moveTo>
                    <a:cubicBezTo>
                      <a:pt x="20" y="8"/>
                      <a:pt x="23" y="9"/>
                      <a:pt x="24" y="13"/>
                    </a:cubicBezTo>
                    <a:cubicBezTo>
                      <a:pt x="23" y="19"/>
                      <a:pt x="21" y="22"/>
                      <a:pt x="27" y="24"/>
                    </a:cubicBezTo>
                    <a:cubicBezTo>
                      <a:pt x="28" y="29"/>
                      <a:pt x="31" y="34"/>
                      <a:pt x="24" y="36"/>
                    </a:cubicBezTo>
                    <a:cubicBezTo>
                      <a:pt x="21" y="35"/>
                      <a:pt x="17" y="34"/>
                      <a:pt x="14" y="34"/>
                    </a:cubicBezTo>
                    <a:cubicBezTo>
                      <a:pt x="12" y="34"/>
                      <a:pt x="8" y="36"/>
                      <a:pt x="8" y="36"/>
                    </a:cubicBezTo>
                    <a:cubicBezTo>
                      <a:pt x="5" y="31"/>
                      <a:pt x="3" y="33"/>
                      <a:pt x="0" y="28"/>
                    </a:cubicBezTo>
                    <a:cubicBezTo>
                      <a:pt x="3" y="23"/>
                      <a:pt x="6" y="21"/>
                      <a:pt x="11" y="19"/>
                    </a:cubicBezTo>
                    <a:cubicBezTo>
                      <a:pt x="11" y="13"/>
                      <a:pt x="11" y="8"/>
                      <a:pt x="12" y="2"/>
                    </a:cubicBezTo>
                    <a:cubicBezTo>
                      <a:pt x="12" y="0"/>
                      <a:pt x="16" y="4"/>
                      <a:pt x="16" y="6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178" name="Freeform 18"/>
              <p:cNvSpPr>
                <a:spLocks noChangeAspect="1"/>
              </p:cNvSpPr>
              <p:nvPr/>
            </p:nvSpPr>
            <p:spPr bwMode="auto">
              <a:xfrm>
                <a:off x="5182" y="9370"/>
                <a:ext cx="104" cy="88"/>
              </a:xfrm>
              <a:custGeom>
                <a:avLst/>
                <a:gdLst>
                  <a:gd name="T0" fmla="*/ 2147483647 w 26"/>
                  <a:gd name="T1" fmla="*/ 2147483647 h 22"/>
                  <a:gd name="T2" fmla="*/ 2147483647 w 26"/>
                  <a:gd name="T3" fmla="*/ 2147483647 h 22"/>
                  <a:gd name="T4" fmla="*/ 2147483647 w 26"/>
                  <a:gd name="T5" fmla="*/ 2147483647 h 22"/>
                  <a:gd name="T6" fmla="*/ 2147483647 w 26"/>
                  <a:gd name="T7" fmla="*/ 2147483647 h 22"/>
                  <a:gd name="T8" fmla="*/ 2147483647 w 26"/>
                  <a:gd name="T9" fmla="*/ 2147483647 h 22"/>
                  <a:gd name="T10" fmla="*/ 2147483647 w 26"/>
                  <a:gd name="T11" fmla="*/ 2147483647 h 22"/>
                  <a:gd name="T12" fmla="*/ 2147483647 w 26"/>
                  <a:gd name="T13" fmla="*/ 2147483647 h 22"/>
                  <a:gd name="T14" fmla="*/ 2147483647 w 26"/>
                  <a:gd name="T15" fmla="*/ 2147483647 h 2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6"/>
                  <a:gd name="T25" fmla="*/ 0 h 22"/>
                  <a:gd name="T26" fmla="*/ 26 w 26"/>
                  <a:gd name="T27" fmla="*/ 22 h 2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6" h="22">
                    <a:moveTo>
                      <a:pt x="5" y="4"/>
                    </a:moveTo>
                    <a:cubicBezTo>
                      <a:pt x="15" y="5"/>
                      <a:pt x="17" y="12"/>
                      <a:pt x="26" y="15"/>
                    </a:cubicBezTo>
                    <a:cubicBezTo>
                      <a:pt x="24" y="20"/>
                      <a:pt x="24" y="21"/>
                      <a:pt x="18" y="22"/>
                    </a:cubicBezTo>
                    <a:cubicBezTo>
                      <a:pt x="16" y="22"/>
                      <a:pt x="14" y="22"/>
                      <a:pt x="13" y="21"/>
                    </a:cubicBezTo>
                    <a:cubicBezTo>
                      <a:pt x="12" y="20"/>
                      <a:pt x="12" y="19"/>
                      <a:pt x="11" y="18"/>
                    </a:cubicBezTo>
                    <a:cubicBezTo>
                      <a:pt x="8" y="16"/>
                      <a:pt x="2" y="15"/>
                      <a:pt x="2" y="15"/>
                    </a:cubicBezTo>
                    <a:cubicBezTo>
                      <a:pt x="0" y="10"/>
                      <a:pt x="1" y="8"/>
                      <a:pt x="5" y="5"/>
                    </a:cubicBezTo>
                    <a:cubicBezTo>
                      <a:pt x="6" y="0"/>
                      <a:pt x="6" y="0"/>
                      <a:pt x="5" y="4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179" name="Freeform 19"/>
              <p:cNvSpPr>
                <a:spLocks noChangeAspect="1"/>
              </p:cNvSpPr>
              <p:nvPr/>
            </p:nvSpPr>
            <p:spPr bwMode="auto">
              <a:xfrm>
                <a:off x="5690" y="8950"/>
                <a:ext cx="316" cy="204"/>
              </a:xfrm>
              <a:custGeom>
                <a:avLst/>
                <a:gdLst>
                  <a:gd name="T0" fmla="*/ 2147483647 w 79"/>
                  <a:gd name="T1" fmla="*/ 2147483647 h 51"/>
                  <a:gd name="T2" fmla="*/ 2147483647 w 79"/>
                  <a:gd name="T3" fmla="*/ 2147483647 h 51"/>
                  <a:gd name="T4" fmla="*/ 2147483647 w 79"/>
                  <a:gd name="T5" fmla="*/ 2147483647 h 51"/>
                  <a:gd name="T6" fmla="*/ 2147483647 w 79"/>
                  <a:gd name="T7" fmla="*/ 2147483647 h 51"/>
                  <a:gd name="T8" fmla="*/ 2147483647 w 79"/>
                  <a:gd name="T9" fmla="*/ 2147483647 h 51"/>
                  <a:gd name="T10" fmla="*/ 2147483647 w 79"/>
                  <a:gd name="T11" fmla="*/ 2147483647 h 51"/>
                  <a:gd name="T12" fmla="*/ 2147483647 w 79"/>
                  <a:gd name="T13" fmla="*/ 2147483647 h 51"/>
                  <a:gd name="T14" fmla="*/ 2147483647 w 79"/>
                  <a:gd name="T15" fmla="*/ 2147483647 h 51"/>
                  <a:gd name="T16" fmla="*/ 2147483647 w 79"/>
                  <a:gd name="T17" fmla="*/ 2147483647 h 51"/>
                  <a:gd name="T18" fmla="*/ 2147483647 w 79"/>
                  <a:gd name="T19" fmla="*/ 2147483647 h 51"/>
                  <a:gd name="T20" fmla="*/ 2147483647 w 79"/>
                  <a:gd name="T21" fmla="*/ 2147483647 h 51"/>
                  <a:gd name="T22" fmla="*/ 2147483647 w 79"/>
                  <a:gd name="T23" fmla="*/ 2147483647 h 51"/>
                  <a:gd name="T24" fmla="*/ 2147483647 w 79"/>
                  <a:gd name="T25" fmla="*/ 2147483647 h 51"/>
                  <a:gd name="T26" fmla="*/ 0 w 79"/>
                  <a:gd name="T27" fmla="*/ 2147483647 h 51"/>
                  <a:gd name="T28" fmla="*/ 2147483647 w 79"/>
                  <a:gd name="T29" fmla="*/ 0 h 51"/>
                  <a:gd name="T30" fmla="*/ 2147483647 w 79"/>
                  <a:gd name="T31" fmla="*/ 2147483647 h 51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79"/>
                  <a:gd name="T49" fmla="*/ 0 h 51"/>
                  <a:gd name="T50" fmla="*/ 79 w 79"/>
                  <a:gd name="T51" fmla="*/ 51 h 51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79" h="51">
                    <a:moveTo>
                      <a:pt x="12" y="3"/>
                    </a:moveTo>
                    <a:cubicBezTo>
                      <a:pt x="25" y="4"/>
                      <a:pt x="21" y="3"/>
                      <a:pt x="28" y="10"/>
                    </a:cubicBezTo>
                    <a:cubicBezTo>
                      <a:pt x="30" y="20"/>
                      <a:pt x="40" y="20"/>
                      <a:pt x="49" y="21"/>
                    </a:cubicBezTo>
                    <a:cubicBezTo>
                      <a:pt x="54" y="22"/>
                      <a:pt x="64" y="19"/>
                      <a:pt x="64" y="19"/>
                    </a:cubicBezTo>
                    <a:cubicBezTo>
                      <a:pt x="72" y="21"/>
                      <a:pt x="71" y="28"/>
                      <a:pt x="76" y="33"/>
                    </a:cubicBezTo>
                    <a:cubicBezTo>
                      <a:pt x="77" y="37"/>
                      <a:pt x="79" y="44"/>
                      <a:pt x="79" y="44"/>
                    </a:cubicBezTo>
                    <a:cubicBezTo>
                      <a:pt x="78" y="47"/>
                      <a:pt x="79" y="51"/>
                      <a:pt x="74" y="51"/>
                    </a:cubicBezTo>
                    <a:cubicBezTo>
                      <a:pt x="72" y="51"/>
                      <a:pt x="68" y="49"/>
                      <a:pt x="68" y="49"/>
                    </a:cubicBezTo>
                    <a:cubicBezTo>
                      <a:pt x="66" y="43"/>
                      <a:pt x="60" y="45"/>
                      <a:pt x="54" y="44"/>
                    </a:cubicBezTo>
                    <a:cubicBezTo>
                      <a:pt x="49" y="42"/>
                      <a:pt x="49" y="38"/>
                      <a:pt x="43" y="36"/>
                    </a:cubicBezTo>
                    <a:cubicBezTo>
                      <a:pt x="40" y="33"/>
                      <a:pt x="31" y="30"/>
                      <a:pt x="31" y="30"/>
                    </a:cubicBezTo>
                    <a:cubicBezTo>
                      <a:pt x="26" y="25"/>
                      <a:pt x="21" y="25"/>
                      <a:pt x="14" y="24"/>
                    </a:cubicBezTo>
                    <a:cubicBezTo>
                      <a:pt x="11" y="22"/>
                      <a:pt x="8" y="21"/>
                      <a:pt x="5" y="19"/>
                    </a:cubicBezTo>
                    <a:cubicBezTo>
                      <a:pt x="4" y="14"/>
                      <a:pt x="1" y="14"/>
                      <a:pt x="0" y="10"/>
                    </a:cubicBezTo>
                    <a:cubicBezTo>
                      <a:pt x="4" y="4"/>
                      <a:pt x="4" y="2"/>
                      <a:pt x="10" y="0"/>
                    </a:cubicBezTo>
                    <a:cubicBezTo>
                      <a:pt x="17" y="1"/>
                      <a:pt x="18" y="0"/>
                      <a:pt x="12" y="3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180" name="Freeform 20"/>
              <p:cNvSpPr>
                <a:spLocks noChangeAspect="1"/>
              </p:cNvSpPr>
              <p:nvPr/>
            </p:nvSpPr>
            <p:spPr bwMode="auto">
              <a:xfrm>
                <a:off x="5998" y="9150"/>
                <a:ext cx="136" cy="88"/>
              </a:xfrm>
              <a:custGeom>
                <a:avLst/>
                <a:gdLst>
                  <a:gd name="T0" fmla="*/ 2147483647 w 34"/>
                  <a:gd name="T1" fmla="*/ 0 h 22"/>
                  <a:gd name="T2" fmla="*/ 2147483647 w 34"/>
                  <a:gd name="T3" fmla="*/ 0 h 22"/>
                  <a:gd name="T4" fmla="*/ 2147483647 w 34"/>
                  <a:gd name="T5" fmla="*/ 2147483647 h 22"/>
                  <a:gd name="T6" fmla="*/ 2147483647 w 34"/>
                  <a:gd name="T7" fmla="*/ 2147483647 h 22"/>
                  <a:gd name="T8" fmla="*/ 2147483647 w 34"/>
                  <a:gd name="T9" fmla="*/ 2147483647 h 22"/>
                  <a:gd name="T10" fmla="*/ 2147483647 w 34"/>
                  <a:gd name="T11" fmla="*/ 0 h 2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4"/>
                  <a:gd name="T19" fmla="*/ 0 h 22"/>
                  <a:gd name="T20" fmla="*/ 34 w 34"/>
                  <a:gd name="T21" fmla="*/ 22 h 22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4" h="22">
                    <a:moveTo>
                      <a:pt x="6" y="0"/>
                    </a:moveTo>
                    <a:cubicBezTo>
                      <a:pt x="14" y="2"/>
                      <a:pt x="19" y="2"/>
                      <a:pt x="27" y="0"/>
                    </a:cubicBezTo>
                    <a:cubicBezTo>
                      <a:pt x="34" y="2"/>
                      <a:pt x="30" y="10"/>
                      <a:pt x="26" y="14"/>
                    </a:cubicBezTo>
                    <a:cubicBezTo>
                      <a:pt x="23" y="22"/>
                      <a:pt x="16" y="20"/>
                      <a:pt x="9" y="19"/>
                    </a:cubicBezTo>
                    <a:cubicBezTo>
                      <a:pt x="6" y="15"/>
                      <a:pt x="6" y="11"/>
                      <a:pt x="2" y="7"/>
                    </a:cubicBezTo>
                    <a:cubicBezTo>
                      <a:pt x="0" y="2"/>
                      <a:pt x="0" y="5"/>
                      <a:pt x="6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181" name="Freeform 21"/>
              <p:cNvSpPr>
                <a:spLocks noChangeAspect="1"/>
              </p:cNvSpPr>
              <p:nvPr/>
            </p:nvSpPr>
            <p:spPr bwMode="auto">
              <a:xfrm>
                <a:off x="6106" y="9202"/>
                <a:ext cx="100" cy="72"/>
              </a:xfrm>
              <a:custGeom>
                <a:avLst/>
                <a:gdLst>
                  <a:gd name="T0" fmla="*/ 2147483647 w 25"/>
                  <a:gd name="T1" fmla="*/ 0 h 18"/>
                  <a:gd name="T2" fmla="*/ 2147483647 w 25"/>
                  <a:gd name="T3" fmla="*/ 2147483647 h 18"/>
                  <a:gd name="T4" fmla="*/ 2147483647 w 25"/>
                  <a:gd name="T5" fmla="*/ 2147483647 h 18"/>
                  <a:gd name="T6" fmla="*/ 2147483647 w 25"/>
                  <a:gd name="T7" fmla="*/ 2147483647 h 18"/>
                  <a:gd name="T8" fmla="*/ 2147483647 w 25"/>
                  <a:gd name="T9" fmla="*/ 2147483647 h 18"/>
                  <a:gd name="T10" fmla="*/ 2147483647 w 25"/>
                  <a:gd name="T11" fmla="*/ 2147483647 h 18"/>
                  <a:gd name="T12" fmla="*/ 2147483647 w 25"/>
                  <a:gd name="T13" fmla="*/ 0 h 1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5"/>
                  <a:gd name="T22" fmla="*/ 0 h 18"/>
                  <a:gd name="T23" fmla="*/ 25 w 25"/>
                  <a:gd name="T24" fmla="*/ 18 h 18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5" h="18">
                    <a:moveTo>
                      <a:pt x="9" y="0"/>
                    </a:moveTo>
                    <a:cubicBezTo>
                      <a:pt x="13" y="0"/>
                      <a:pt x="16" y="0"/>
                      <a:pt x="20" y="1"/>
                    </a:cubicBezTo>
                    <a:cubicBezTo>
                      <a:pt x="23" y="2"/>
                      <a:pt x="24" y="10"/>
                      <a:pt x="24" y="10"/>
                    </a:cubicBezTo>
                    <a:cubicBezTo>
                      <a:pt x="24" y="12"/>
                      <a:pt x="25" y="16"/>
                      <a:pt x="23" y="17"/>
                    </a:cubicBezTo>
                    <a:cubicBezTo>
                      <a:pt x="22" y="18"/>
                      <a:pt x="21" y="14"/>
                      <a:pt x="20" y="13"/>
                    </a:cubicBezTo>
                    <a:cubicBezTo>
                      <a:pt x="18" y="11"/>
                      <a:pt x="11" y="9"/>
                      <a:pt x="11" y="9"/>
                    </a:cubicBezTo>
                    <a:cubicBezTo>
                      <a:pt x="8" y="5"/>
                      <a:pt x="0" y="2"/>
                      <a:pt x="9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182" name="Freeform 22"/>
              <p:cNvSpPr>
                <a:spLocks noChangeAspect="1"/>
              </p:cNvSpPr>
              <p:nvPr/>
            </p:nvSpPr>
            <p:spPr bwMode="auto">
              <a:xfrm>
                <a:off x="6574" y="9126"/>
                <a:ext cx="128" cy="76"/>
              </a:xfrm>
              <a:custGeom>
                <a:avLst/>
                <a:gdLst>
                  <a:gd name="T0" fmla="*/ 2147483647 w 32"/>
                  <a:gd name="T1" fmla="*/ 2147483647 h 19"/>
                  <a:gd name="T2" fmla="*/ 2147483647 w 32"/>
                  <a:gd name="T3" fmla="*/ 2147483647 h 19"/>
                  <a:gd name="T4" fmla="*/ 2147483647 w 32"/>
                  <a:gd name="T5" fmla="*/ 2147483647 h 19"/>
                  <a:gd name="T6" fmla="*/ 2147483647 w 32"/>
                  <a:gd name="T7" fmla="*/ 2147483647 h 19"/>
                  <a:gd name="T8" fmla="*/ 2147483647 w 32"/>
                  <a:gd name="T9" fmla="*/ 2147483647 h 19"/>
                  <a:gd name="T10" fmla="*/ 2147483647 w 32"/>
                  <a:gd name="T11" fmla="*/ 2147483647 h 19"/>
                  <a:gd name="T12" fmla="*/ 2147483647 w 32"/>
                  <a:gd name="T13" fmla="*/ 2147483647 h 1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2"/>
                  <a:gd name="T22" fmla="*/ 0 h 19"/>
                  <a:gd name="T23" fmla="*/ 32 w 32"/>
                  <a:gd name="T24" fmla="*/ 19 h 1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2" h="19">
                    <a:moveTo>
                      <a:pt x="29" y="2"/>
                    </a:moveTo>
                    <a:cubicBezTo>
                      <a:pt x="20" y="0"/>
                      <a:pt x="23" y="4"/>
                      <a:pt x="17" y="6"/>
                    </a:cubicBezTo>
                    <a:cubicBezTo>
                      <a:pt x="12" y="5"/>
                      <a:pt x="8" y="6"/>
                      <a:pt x="3" y="8"/>
                    </a:cubicBezTo>
                    <a:cubicBezTo>
                      <a:pt x="0" y="19"/>
                      <a:pt x="3" y="18"/>
                      <a:pt x="14" y="19"/>
                    </a:cubicBezTo>
                    <a:cubicBezTo>
                      <a:pt x="26" y="17"/>
                      <a:pt x="15" y="15"/>
                      <a:pt x="23" y="10"/>
                    </a:cubicBezTo>
                    <a:cubicBezTo>
                      <a:pt x="25" y="9"/>
                      <a:pt x="29" y="10"/>
                      <a:pt x="31" y="8"/>
                    </a:cubicBezTo>
                    <a:cubicBezTo>
                      <a:pt x="32" y="6"/>
                      <a:pt x="30" y="4"/>
                      <a:pt x="29" y="2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183" name="Freeform 23"/>
              <p:cNvSpPr>
                <a:spLocks noChangeAspect="1"/>
              </p:cNvSpPr>
              <p:nvPr/>
            </p:nvSpPr>
            <p:spPr bwMode="auto">
              <a:xfrm>
                <a:off x="5266" y="9210"/>
                <a:ext cx="636" cy="580"/>
              </a:xfrm>
              <a:custGeom>
                <a:avLst/>
                <a:gdLst>
                  <a:gd name="T0" fmla="*/ 2147483647 w 159"/>
                  <a:gd name="T1" fmla="*/ 2147483647 h 145"/>
                  <a:gd name="T2" fmla="*/ 2147483647 w 159"/>
                  <a:gd name="T3" fmla="*/ 2147483647 h 145"/>
                  <a:gd name="T4" fmla="*/ 2147483647 w 159"/>
                  <a:gd name="T5" fmla="*/ 2147483647 h 145"/>
                  <a:gd name="T6" fmla="*/ 2147483647 w 159"/>
                  <a:gd name="T7" fmla="*/ 2147483647 h 145"/>
                  <a:gd name="T8" fmla="*/ 0 w 159"/>
                  <a:gd name="T9" fmla="*/ 2147483647 h 145"/>
                  <a:gd name="T10" fmla="*/ 2147483647 w 159"/>
                  <a:gd name="T11" fmla="*/ 2147483647 h 145"/>
                  <a:gd name="T12" fmla="*/ 2147483647 w 159"/>
                  <a:gd name="T13" fmla="*/ 2147483647 h 145"/>
                  <a:gd name="T14" fmla="*/ 2147483647 w 159"/>
                  <a:gd name="T15" fmla="*/ 2147483647 h 145"/>
                  <a:gd name="T16" fmla="*/ 2147483647 w 159"/>
                  <a:gd name="T17" fmla="*/ 2147483647 h 145"/>
                  <a:gd name="T18" fmla="*/ 2147483647 w 159"/>
                  <a:gd name="T19" fmla="*/ 2147483647 h 145"/>
                  <a:gd name="T20" fmla="*/ 2147483647 w 159"/>
                  <a:gd name="T21" fmla="*/ 2147483647 h 145"/>
                  <a:gd name="T22" fmla="*/ 2147483647 w 159"/>
                  <a:gd name="T23" fmla="*/ 2147483647 h 145"/>
                  <a:gd name="T24" fmla="*/ 2147483647 w 159"/>
                  <a:gd name="T25" fmla="*/ 2147483647 h 145"/>
                  <a:gd name="T26" fmla="*/ 2147483647 w 159"/>
                  <a:gd name="T27" fmla="*/ 2147483647 h 145"/>
                  <a:gd name="T28" fmla="*/ 2147483647 w 159"/>
                  <a:gd name="T29" fmla="*/ 2147483647 h 145"/>
                  <a:gd name="T30" fmla="*/ 2147483647 w 159"/>
                  <a:gd name="T31" fmla="*/ 2147483647 h 145"/>
                  <a:gd name="T32" fmla="*/ 2147483647 w 159"/>
                  <a:gd name="T33" fmla="*/ 2147483647 h 145"/>
                  <a:gd name="T34" fmla="*/ 2147483647 w 159"/>
                  <a:gd name="T35" fmla="*/ 2147483647 h 145"/>
                  <a:gd name="T36" fmla="*/ 2147483647 w 159"/>
                  <a:gd name="T37" fmla="*/ 2147483647 h 145"/>
                  <a:gd name="T38" fmla="*/ 2147483647 w 159"/>
                  <a:gd name="T39" fmla="*/ 2147483647 h 145"/>
                  <a:gd name="T40" fmla="*/ 2147483647 w 159"/>
                  <a:gd name="T41" fmla="*/ 2147483647 h 145"/>
                  <a:gd name="T42" fmla="*/ 2147483647 w 159"/>
                  <a:gd name="T43" fmla="*/ 2147483647 h 145"/>
                  <a:gd name="T44" fmla="*/ 2147483647 w 159"/>
                  <a:gd name="T45" fmla="*/ 2147483647 h 145"/>
                  <a:gd name="T46" fmla="*/ 2147483647 w 159"/>
                  <a:gd name="T47" fmla="*/ 2147483647 h 145"/>
                  <a:gd name="T48" fmla="*/ 2147483647 w 159"/>
                  <a:gd name="T49" fmla="*/ 2147483647 h 145"/>
                  <a:gd name="T50" fmla="*/ 2147483647 w 159"/>
                  <a:gd name="T51" fmla="*/ 2147483647 h 145"/>
                  <a:gd name="T52" fmla="*/ 2147483647 w 159"/>
                  <a:gd name="T53" fmla="*/ 2147483647 h 145"/>
                  <a:gd name="T54" fmla="*/ 2147483647 w 159"/>
                  <a:gd name="T55" fmla="*/ 2147483647 h 145"/>
                  <a:gd name="T56" fmla="*/ 2147483647 w 159"/>
                  <a:gd name="T57" fmla="*/ 2147483647 h 145"/>
                  <a:gd name="T58" fmla="*/ 2147483647 w 159"/>
                  <a:gd name="T59" fmla="*/ 2147483647 h 145"/>
                  <a:gd name="T60" fmla="*/ 2147483647 w 159"/>
                  <a:gd name="T61" fmla="*/ 2147483647 h 145"/>
                  <a:gd name="T62" fmla="*/ 2147483647 w 159"/>
                  <a:gd name="T63" fmla="*/ 2147483647 h 145"/>
                  <a:gd name="T64" fmla="*/ 2147483647 w 159"/>
                  <a:gd name="T65" fmla="*/ 2147483647 h 145"/>
                  <a:gd name="T66" fmla="*/ 2147483647 w 159"/>
                  <a:gd name="T67" fmla="*/ 2147483647 h 145"/>
                  <a:gd name="T68" fmla="*/ 2147483647 w 159"/>
                  <a:gd name="T69" fmla="*/ 2147483647 h 145"/>
                  <a:gd name="T70" fmla="*/ 2147483647 w 159"/>
                  <a:gd name="T71" fmla="*/ 2147483647 h 145"/>
                  <a:gd name="T72" fmla="*/ 2147483647 w 159"/>
                  <a:gd name="T73" fmla="*/ 2147483647 h 145"/>
                  <a:gd name="T74" fmla="*/ 2147483647 w 159"/>
                  <a:gd name="T75" fmla="*/ 2147483647 h 145"/>
                  <a:gd name="T76" fmla="*/ 2147483647 w 159"/>
                  <a:gd name="T77" fmla="*/ 2147483647 h 145"/>
                  <a:gd name="T78" fmla="*/ 2147483647 w 159"/>
                  <a:gd name="T79" fmla="*/ 2147483647 h 145"/>
                  <a:gd name="T80" fmla="*/ 2147483647 w 159"/>
                  <a:gd name="T81" fmla="*/ 2147483647 h 145"/>
                  <a:gd name="T82" fmla="*/ 2147483647 w 159"/>
                  <a:gd name="T83" fmla="*/ 2147483647 h 145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159"/>
                  <a:gd name="T127" fmla="*/ 0 h 145"/>
                  <a:gd name="T128" fmla="*/ 159 w 159"/>
                  <a:gd name="T129" fmla="*/ 145 h 145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159" h="145">
                    <a:moveTo>
                      <a:pt x="47" y="3"/>
                    </a:moveTo>
                    <a:cubicBezTo>
                      <a:pt x="41" y="5"/>
                      <a:pt x="42" y="10"/>
                      <a:pt x="39" y="13"/>
                    </a:cubicBezTo>
                    <a:cubicBezTo>
                      <a:pt x="34" y="18"/>
                      <a:pt x="28" y="18"/>
                      <a:pt x="21" y="20"/>
                    </a:cubicBezTo>
                    <a:cubicBezTo>
                      <a:pt x="20" y="27"/>
                      <a:pt x="18" y="32"/>
                      <a:pt x="11" y="34"/>
                    </a:cubicBezTo>
                    <a:cubicBezTo>
                      <a:pt x="7" y="38"/>
                      <a:pt x="5" y="38"/>
                      <a:pt x="0" y="40"/>
                    </a:cubicBezTo>
                    <a:cubicBezTo>
                      <a:pt x="5" y="47"/>
                      <a:pt x="7" y="45"/>
                      <a:pt x="17" y="46"/>
                    </a:cubicBezTo>
                    <a:cubicBezTo>
                      <a:pt x="18" y="50"/>
                      <a:pt x="24" y="55"/>
                      <a:pt x="24" y="55"/>
                    </a:cubicBezTo>
                    <a:cubicBezTo>
                      <a:pt x="27" y="60"/>
                      <a:pt x="30" y="59"/>
                      <a:pt x="36" y="61"/>
                    </a:cubicBezTo>
                    <a:cubicBezTo>
                      <a:pt x="40" y="63"/>
                      <a:pt x="42" y="66"/>
                      <a:pt x="44" y="70"/>
                    </a:cubicBezTo>
                    <a:cubicBezTo>
                      <a:pt x="45" y="74"/>
                      <a:pt x="46" y="77"/>
                      <a:pt x="47" y="81"/>
                    </a:cubicBezTo>
                    <a:cubicBezTo>
                      <a:pt x="46" y="93"/>
                      <a:pt x="42" y="97"/>
                      <a:pt x="53" y="101"/>
                    </a:cubicBezTo>
                    <a:cubicBezTo>
                      <a:pt x="54" y="110"/>
                      <a:pt x="55" y="118"/>
                      <a:pt x="64" y="121"/>
                    </a:cubicBezTo>
                    <a:cubicBezTo>
                      <a:pt x="72" y="118"/>
                      <a:pt x="73" y="116"/>
                      <a:pt x="68" y="109"/>
                    </a:cubicBezTo>
                    <a:cubicBezTo>
                      <a:pt x="69" y="102"/>
                      <a:pt x="68" y="101"/>
                      <a:pt x="74" y="98"/>
                    </a:cubicBezTo>
                    <a:cubicBezTo>
                      <a:pt x="79" y="90"/>
                      <a:pt x="81" y="102"/>
                      <a:pt x="82" y="106"/>
                    </a:cubicBezTo>
                    <a:cubicBezTo>
                      <a:pt x="94" y="103"/>
                      <a:pt x="96" y="104"/>
                      <a:pt x="98" y="116"/>
                    </a:cubicBezTo>
                    <a:cubicBezTo>
                      <a:pt x="95" y="125"/>
                      <a:pt x="100" y="139"/>
                      <a:pt x="108" y="145"/>
                    </a:cubicBezTo>
                    <a:cubicBezTo>
                      <a:pt x="108" y="136"/>
                      <a:pt x="102" y="109"/>
                      <a:pt x="117" y="106"/>
                    </a:cubicBezTo>
                    <a:cubicBezTo>
                      <a:pt x="125" y="100"/>
                      <a:pt x="127" y="117"/>
                      <a:pt x="131" y="121"/>
                    </a:cubicBezTo>
                    <a:cubicBezTo>
                      <a:pt x="136" y="126"/>
                      <a:pt x="141" y="127"/>
                      <a:pt x="147" y="129"/>
                    </a:cubicBezTo>
                    <a:cubicBezTo>
                      <a:pt x="153" y="128"/>
                      <a:pt x="158" y="126"/>
                      <a:pt x="150" y="123"/>
                    </a:cubicBezTo>
                    <a:cubicBezTo>
                      <a:pt x="146" y="118"/>
                      <a:pt x="142" y="116"/>
                      <a:pt x="137" y="113"/>
                    </a:cubicBezTo>
                    <a:cubicBezTo>
                      <a:pt x="134" y="108"/>
                      <a:pt x="135" y="107"/>
                      <a:pt x="140" y="106"/>
                    </a:cubicBezTo>
                    <a:cubicBezTo>
                      <a:pt x="143" y="102"/>
                      <a:pt x="143" y="101"/>
                      <a:pt x="138" y="99"/>
                    </a:cubicBezTo>
                    <a:cubicBezTo>
                      <a:pt x="136" y="94"/>
                      <a:pt x="132" y="93"/>
                      <a:pt x="129" y="89"/>
                    </a:cubicBezTo>
                    <a:cubicBezTo>
                      <a:pt x="127" y="83"/>
                      <a:pt x="125" y="80"/>
                      <a:pt x="120" y="77"/>
                    </a:cubicBezTo>
                    <a:cubicBezTo>
                      <a:pt x="118" y="70"/>
                      <a:pt x="114" y="67"/>
                      <a:pt x="111" y="61"/>
                    </a:cubicBezTo>
                    <a:cubicBezTo>
                      <a:pt x="110" y="58"/>
                      <a:pt x="108" y="52"/>
                      <a:pt x="108" y="52"/>
                    </a:cubicBezTo>
                    <a:cubicBezTo>
                      <a:pt x="109" y="50"/>
                      <a:pt x="109" y="48"/>
                      <a:pt x="111" y="47"/>
                    </a:cubicBezTo>
                    <a:cubicBezTo>
                      <a:pt x="112" y="47"/>
                      <a:pt x="125" y="53"/>
                      <a:pt x="130" y="55"/>
                    </a:cubicBezTo>
                    <a:cubicBezTo>
                      <a:pt x="132" y="60"/>
                      <a:pt x="132" y="67"/>
                      <a:pt x="137" y="70"/>
                    </a:cubicBezTo>
                    <a:cubicBezTo>
                      <a:pt x="139" y="54"/>
                      <a:pt x="143" y="60"/>
                      <a:pt x="153" y="53"/>
                    </a:cubicBezTo>
                    <a:cubicBezTo>
                      <a:pt x="159" y="44"/>
                      <a:pt x="140" y="43"/>
                      <a:pt x="136" y="43"/>
                    </a:cubicBezTo>
                    <a:cubicBezTo>
                      <a:pt x="123" y="36"/>
                      <a:pt x="134" y="24"/>
                      <a:pt x="118" y="22"/>
                    </a:cubicBezTo>
                    <a:cubicBezTo>
                      <a:pt x="116" y="20"/>
                      <a:pt x="114" y="16"/>
                      <a:pt x="111" y="17"/>
                    </a:cubicBezTo>
                    <a:cubicBezTo>
                      <a:pt x="109" y="18"/>
                      <a:pt x="105" y="21"/>
                      <a:pt x="105" y="21"/>
                    </a:cubicBezTo>
                    <a:cubicBezTo>
                      <a:pt x="101" y="18"/>
                      <a:pt x="102" y="16"/>
                      <a:pt x="99" y="13"/>
                    </a:cubicBezTo>
                    <a:cubicBezTo>
                      <a:pt x="97" y="11"/>
                      <a:pt x="90" y="9"/>
                      <a:pt x="90" y="9"/>
                    </a:cubicBezTo>
                    <a:cubicBezTo>
                      <a:pt x="83" y="11"/>
                      <a:pt x="86" y="10"/>
                      <a:pt x="81" y="13"/>
                    </a:cubicBezTo>
                    <a:cubicBezTo>
                      <a:pt x="75" y="11"/>
                      <a:pt x="65" y="11"/>
                      <a:pt x="59" y="7"/>
                    </a:cubicBezTo>
                    <a:cubicBezTo>
                      <a:pt x="57" y="0"/>
                      <a:pt x="52" y="2"/>
                      <a:pt x="47" y="4"/>
                    </a:cubicBezTo>
                    <a:cubicBezTo>
                      <a:pt x="45" y="7"/>
                      <a:pt x="39" y="9"/>
                      <a:pt x="39" y="9"/>
                    </a:cubicBezTo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184" name="Freeform 24"/>
              <p:cNvSpPr>
                <a:spLocks noChangeAspect="1"/>
              </p:cNvSpPr>
              <p:nvPr/>
            </p:nvSpPr>
            <p:spPr bwMode="auto">
              <a:xfrm>
                <a:off x="5910" y="8378"/>
                <a:ext cx="76" cy="68"/>
              </a:xfrm>
              <a:custGeom>
                <a:avLst/>
                <a:gdLst>
                  <a:gd name="T0" fmla="*/ 2147483647 w 19"/>
                  <a:gd name="T1" fmla="*/ 0 h 17"/>
                  <a:gd name="T2" fmla="*/ 2147483647 w 19"/>
                  <a:gd name="T3" fmla="*/ 2147483647 h 17"/>
                  <a:gd name="T4" fmla="*/ 2147483647 w 19"/>
                  <a:gd name="T5" fmla="*/ 2147483647 h 17"/>
                  <a:gd name="T6" fmla="*/ 2147483647 w 19"/>
                  <a:gd name="T7" fmla="*/ 2147483647 h 17"/>
                  <a:gd name="T8" fmla="*/ 2147483647 w 19"/>
                  <a:gd name="T9" fmla="*/ 2147483647 h 17"/>
                  <a:gd name="T10" fmla="*/ 2147483647 w 19"/>
                  <a:gd name="T11" fmla="*/ 2147483647 h 17"/>
                  <a:gd name="T12" fmla="*/ 2147483647 w 19"/>
                  <a:gd name="T13" fmla="*/ 0 h 1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9"/>
                  <a:gd name="T22" fmla="*/ 0 h 17"/>
                  <a:gd name="T23" fmla="*/ 19 w 19"/>
                  <a:gd name="T24" fmla="*/ 17 h 17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9" h="17">
                    <a:moveTo>
                      <a:pt x="16" y="0"/>
                    </a:moveTo>
                    <a:cubicBezTo>
                      <a:pt x="13" y="1"/>
                      <a:pt x="9" y="2"/>
                      <a:pt x="6" y="3"/>
                    </a:cubicBezTo>
                    <a:cubicBezTo>
                      <a:pt x="5" y="5"/>
                      <a:pt x="2" y="6"/>
                      <a:pt x="1" y="9"/>
                    </a:cubicBezTo>
                    <a:cubicBezTo>
                      <a:pt x="0" y="13"/>
                      <a:pt x="9" y="15"/>
                      <a:pt x="12" y="17"/>
                    </a:cubicBezTo>
                    <a:cubicBezTo>
                      <a:pt x="14" y="16"/>
                      <a:pt x="16" y="16"/>
                      <a:pt x="17" y="15"/>
                    </a:cubicBezTo>
                    <a:cubicBezTo>
                      <a:pt x="18" y="13"/>
                      <a:pt x="19" y="9"/>
                      <a:pt x="19" y="9"/>
                    </a:cubicBezTo>
                    <a:cubicBezTo>
                      <a:pt x="19" y="7"/>
                      <a:pt x="16" y="0"/>
                      <a:pt x="16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185" name="Freeform 25"/>
              <p:cNvSpPr>
                <a:spLocks noChangeAspect="1"/>
              </p:cNvSpPr>
              <p:nvPr/>
            </p:nvSpPr>
            <p:spPr bwMode="auto">
              <a:xfrm>
                <a:off x="6134" y="8402"/>
                <a:ext cx="68" cy="52"/>
              </a:xfrm>
              <a:custGeom>
                <a:avLst/>
                <a:gdLst>
                  <a:gd name="T0" fmla="*/ 2147483647 w 17"/>
                  <a:gd name="T1" fmla="*/ 2147483647 h 13"/>
                  <a:gd name="T2" fmla="*/ 2147483647 w 17"/>
                  <a:gd name="T3" fmla="*/ 2147483647 h 13"/>
                  <a:gd name="T4" fmla="*/ 2147483647 w 17"/>
                  <a:gd name="T5" fmla="*/ 2147483647 h 13"/>
                  <a:gd name="T6" fmla="*/ 0 60000 65536"/>
                  <a:gd name="T7" fmla="*/ 0 60000 65536"/>
                  <a:gd name="T8" fmla="*/ 0 60000 65536"/>
                  <a:gd name="T9" fmla="*/ 0 w 17"/>
                  <a:gd name="T10" fmla="*/ 0 h 13"/>
                  <a:gd name="T11" fmla="*/ 17 w 17"/>
                  <a:gd name="T12" fmla="*/ 13 h 13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7" h="13">
                    <a:moveTo>
                      <a:pt x="15" y="3"/>
                    </a:moveTo>
                    <a:cubicBezTo>
                      <a:pt x="3" y="0"/>
                      <a:pt x="0" y="9"/>
                      <a:pt x="11" y="13"/>
                    </a:cubicBezTo>
                    <a:cubicBezTo>
                      <a:pt x="17" y="11"/>
                      <a:pt x="15" y="8"/>
                      <a:pt x="15" y="3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186" name="Freeform 26"/>
              <p:cNvSpPr>
                <a:spLocks noChangeAspect="1"/>
              </p:cNvSpPr>
              <p:nvPr/>
            </p:nvSpPr>
            <p:spPr bwMode="auto">
              <a:xfrm>
                <a:off x="6050" y="8570"/>
                <a:ext cx="120" cy="96"/>
              </a:xfrm>
              <a:custGeom>
                <a:avLst/>
                <a:gdLst>
                  <a:gd name="T0" fmla="*/ 2147483647 w 30"/>
                  <a:gd name="T1" fmla="*/ 0 h 24"/>
                  <a:gd name="T2" fmla="*/ 2147483647 w 30"/>
                  <a:gd name="T3" fmla="*/ 2147483647 h 24"/>
                  <a:gd name="T4" fmla="*/ 2147483647 w 30"/>
                  <a:gd name="T5" fmla="*/ 2147483647 h 24"/>
                  <a:gd name="T6" fmla="*/ 2147483647 w 30"/>
                  <a:gd name="T7" fmla="*/ 2147483647 h 24"/>
                  <a:gd name="T8" fmla="*/ 2147483647 w 30"/>
                  <a:gd name="T9" fmla="*/ 2147483647 h 24"/>
                  <a:gd name="T10" fmla="*/ 2147483647 w 30"/>
                  <a:gd name="T11" fmla="*/ 0 h 2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0"/>
                  <a:gd name="T19" fmla="*/ 0 h 24"/>
                  <a:gd name="T20" fmla="*/ 30 w 30"/>
                  <a:gd name="T21" fmla="*/ 24 h 2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0" h="24">
                    <a:moveTo>
                      <a:pt x="29" y="0"/>
                    </a:moveTo>
                    <a:cubicBezTo>
                      <a:pt x="28" y="3"/>
                      <a:pt x="26" y="6"/>
                      <a:pt x="25" y="9"/>
                    </a:cubicBezTo>
                    <a:cubicBezTo>
                      <a:pt x="22" y="8"/>
                      <a:pt x="16" y="6"/>
                      <a:pt x="16" y="6"/>
                    </a:cubicBezTo>
                    <a:cubicBezTo>
                      <a:pt x="10" y="7"/>
                      <a:pt x="0" y="8"/>
                      <a:pt x="10" y="13"/>
                    </a:cubicBezTo>
                    <a:cubicBezTo>
                      <a:pt x="12" y="24"/>
                      <a:pt x="16" y="20"/>
                      <a:pt x="28" y="19"/>
                    </a:cubicBezTo>
                    <a:cubicBezTo>
                      <a:pt x="30" y="12"/>
                      <a:pt x="30" y="7"/>
                      <a:pt x="29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187" name="Freeform 27"/>
              <p:cNvSpPr>
                <a:spLocks noChangeAspect="1"/>
              </p:cNvSpPr>
              <p:nvPr/>
            </p:nvSpPr>
            <p:spPr bwMode="auto">
              <a:xfrm>
                <a:off x="6330" y="9390"/>
                <a:ext cx="64" cy="88"/>
              </a:xfrm>
              <a:custGeom>
                <a:avLst/>
                <a:gdLst>
                  <a:gd name="T0" fmla="*/ 2147483647 w 16"/>
                  <a:gd name="T1" fmla="*/ 0 h 22"/>
                  <a:gd name="T2" fmla="*/ 2147483647 w 16"/>
                  <a:gd name="T3" fmla="*/ 2147483647 h 22"/>
                  <a:gd name="T4" fmla="*/ 2147483647 w 16"/>
                  <a:gd name="T5" fmla="*/ 2147483647 h 22"/>
                  <a:gd name="T6" fmla="*/ 2147483647 w 16"/>
                  <a:gd name="T7" fmla="*/ 2147483647 h 22"/>
                  <a:gd name="T8" fmla="*/ 2147483647 w 16"/>
                  <a:gd name="T9" fmla="*/ 0 h 2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6"/>
                  <a:gd name="T16" fmla="*/ 0 h 22"/>
                  <a:gd name="T17" fmla="*/ 16 w 16"/>
                  <a:gd name="T18" fmla="*/ 22 h 2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6" h="22">
                    <a:moveTo>
                      <a:pt x="6" y="0"/>
                    </a:moveTo>
                    <a:cubicBezTo>
                      <a:pt x="13" y="2"/>
                      <a:pt x="14" y="4"/>
                      <a:pt x="16" y="11"/>
                    </a:cubicBezTo>
                    <a:cubicBezTo>
                      <a:pt x="14" y="19"/>
                      <a:pt x="13" y="18"/>
                      <a:pt x="7" y="22"/>
                    </a:cubicBezTo>
                    <a:cubicBezTo>
                      <a:pt x="5" y="15"/>
                      <a:pt x="0" y="12"/>
                      <a:pt x="7" y="5"/>
                    </a:cubicBezTo>
                    <a:cubicBezTo>
                      <a:pt x="8" y="1"/>
                      <a:pt x="9" y="3"/>
                      <a:pt x="6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188" name="Freeform 28"/>
              <p:cNvSpPr>
                <a:spLocks noChangeAspect="1"/>
              </p:cNvSpPr>
              <p:nvPr/>
            </p:nvSpPr>
            <p:spPr bwMode="auto">
              <a:xfrm>
                <a:off x="6310" y="8702"/>
                <a:ext cx="180" cy="136"/>
              </a:xfrm>
              <a:custGeom>
                <a:avLst/>
                <a:gdLst>
                  <a:gd name="T0" fmla="*/ 2147483647 w 45"/>
                  <a:gd name="T1" fmla="*/ 0 h 34"/>
                  <a:gd name="T2" fmla="*/ 2147483647 w 45"/>
                  <a:gd name="T3" fmla="*/ 2147483647 h 34"/>
                  <a:gd name="T4" fmla="*/ 2147483647 w 45"/>
                  <a:gd name="T5" fmla="*/ 2147483647 h 34"/>
                  <a:gd name="T6" fmla="*/ 2147483647 w 45"/>
                  <a:gd name="T7" fmla="*/ 2147483647 h 34"/>
                  <a:gd name="T8" fmla="*/ 2147483647 w 45"/>
                  <a:gd name="T9" fmla="*/ 2147483647 h 34"/>
                  <a:gd name="T10" fmla="*/ 2147483647 w 45"/>
                  <a:gd name="T11" fmla="*/ 2147483647 h 34"/>
                  <a:gd name="T12" fmla="*/ 2147483647 w 45"/>
                  <a:gd name="T13" fmla="*/ 2147483647 h 34"/>
                  <a:gd name="T14" fmla="*/ 2147483647 w 45"/>
                  <a:gd name="T15" fmla="*/ 2147483647 h 34"/>
                  <a:gd name="T16" fmla="*/ 2147483647 w 45"/>
                  <a:gd name="T17" fmla="*/ 2147483647 h 34"/>
                  <a:gd name="T18" fmla="*/ 0 w 45"/>
                  <a:gd name="T19" fmla="*/ 2147483647 h 34"/>
                  <a:gd name="T20" fmla="*/ 2147483647 w 45"/>
                  <a:gd name="T21" fmla="*/ 2147483647 h 34"/>
                  <a:gd name="T22" fmla="*/ 2147483647 w 45"/>
                  <a:gd name="T23" fmla="*/ 2147483647 h 34"/>
                  <a:gd name="T24" fmla="*/ 2147483647 w 45"/>
                  <a:gd name="T25" fmla="*/ 0 h 34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45"/>
                  <a:gd name="T40" fmla="*/ 0 h 34"/>
                  <a:gd name="T41" fmla="*/ 45 w 45"/>
                  <a:gd name="T42" fmla="*/ 34 h 34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45" h="34">
                    <a:moveTo>
                      <a:pt x="26" y="0"/>
                    </a:moveTo>
                    <a:cubicBezTo>
                      <a:pt x="27" y="4"/>
                      <a:pt x="31" y="8"/>
                      <a:pt x="35" y="10"/>
                    </a:cubicBezTo>
                    <a:cubicBezTo>
                      <a:pt x="37" y="11"/>
                      <a:pt x="41" y="14"/>
                      <a:pt x="41" y="14"/>
                    </a:cubicBezTo>
                    <a:cubicBezTo>
                      <a:pt x="43" y="17"/>
                      <a:pt x="45" y="23"/>
                      <a:pt x="45" y="23"/>
                    </a:cubicBezTo>
                    <a:cubicBezTo>
                      <a:pt x="43" y="29"/>
                      <a:pt x="37" y="31"/>
                      <a:pt x="32" y="33"/>
                    </a:cubicBezTo>
                    <a:cubicBezTo>
                      <a:pt x="29" y="33"/>
                      <a:pt x="25" y="34"/>
                      <a:pt x="23" y="32"/>
                    </a:cubicBezTo>
                    <a:cubicBezTo>
                      <a:pt x="19" y="28"/>
                      <a:pt x="29" y="17"/>
                      <a:pt x="29" y="17"/>
                    </a:cubicBezTo>
                    <a:cubicBezTo>
                      <a:pt x="26" y="10"/>
                      <a:pt x="26" y="11"/>
                      <a:pt x="19" y="12"/>
                    </a:cubicBezTo>
                    <a:cubicBezTo>
                      <a:pt x="17" y="19"/>
                      <a:pt x="16" y="26"/>
                      <a:pt x="8" y="28"/>
                    </a:cubicBezTo>
                    <a:cubicBezTo>
                      <a:pt x="4" y="27"/>
                      <a:pt x="0" y="18"/>
                      <a:pt x="0" y="18"/>
                    </a:cubicBezTo>
                    <a:cubicBezTo>
                      <a:pt x="2" y="12"/>
                      <a:pt x="5" y="12"/>
                      <a:pt x="11" y="11"/>
                    </a:cubicBezTo>
                    <a:cubicBezTo>
                      <a:pt x="13" y="10"/>
                      <a:pt x="15" y="10"/>
                      <a:pt x="17" y="8"/>
                    </a:cubicBezTo>
                    <a:cubicBezTo>
                      <a:pt x="21" y="4"/>
                      <a:pt x="19" y="0"/>
                      <a:pt x="26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189" name="Freeform 29"/>
              <p:cNvSpPr>
                <a:spLocks noChangeAspect="1"/>
              </p:cNvSpPr>
              <p:nvPr/>
            </p:nvSpPr>
            <p:spPr bwMode="auto">
              <a:xfrm>
                <a:off x="6342" y="8942"/>
                <a:ext cx="108" cy="140"/>
              </a:xfrm>
              <a:custGeom>
                <a:avLst/>
                <a:gdLst>
                  <a:gd name="T0" fmla="*/ 2147483647 w 27"/>
                  <a:gd name="T1" fmla="*/ 2147483647 h 35"/>
                  <a:gd name="T2" fmla="*/ 2147483647 w 27"/>
                  <a:gd name="T3" fmla="*/ 2147483647 h 35"/>
                  <a:gd name="T4" fmla="*/ 2147483647 w 27"/>
                  <a:gd name="T5" fmla="*/ 2147483647 h 35"/>
                  <a:gd name="T6" fmla="*/ 2147483647 w 27"/>
                  <a:gd name="T7" fmla="*/ 2147483647 h 35"/>
                  <a:gd name="T8" fmla="*/ 0 w 27"/>
                  <a:gd name="T9" fmla="*/ 2147483647 h 35"/>
                  <a:gd name="T10" fmla="*/ 2147483647 w 27"/>
                  <a:gd name="T11" fmla="*/ 2147483647 h 3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7"/>
                  <a:gd name="T19" fmla="*/ 0 h 35"/>
                  <a:gd name="T20" fmla="*/ 27 w 27"/>
                  <a:gd name="T21" fmla="*/ 35 h 3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7" h="35">
                    <a:moveTo>
                      <a:pt x="13" y="4"/>
                    </a:moveTo>
                    <a:cubicBezTo>
                      <a:pt x="18" y="5"/>
                      <a:pt x="22" y="10"/>
                      <a:pt x="25" y="14"/>
                    </a:cubicBezTo>
                    <a:cubicBezTo>
                      <a:pt x="24" y="24"/>
                      <a:pt x="26" y="32"/>
                      <a:pt x="16" y="35"/>
                    </a:cubicBezTo>
                    <a:cubicBezTo>
                      <a:pt x="11" y="34"/>
                      <a:pt x="10" y="33"/>
                      <a:pt x="7" y="29"/>
                    </a:cubicBezTo>
                    <a:cubicBezTo>
                      <a:pt x="17" y="23"/>
                      <a:pt x="7" y="13"/>
                      <a:pt x="0" y="10"/>
                    </a:cubicBezTo>
                    <a:cubicBezTo>
                      <a:pt x="3" y="0"/>
                      <a:pt x="27" y="9"/>
                      <a:pt x="13" y="4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190" name="Freeform 30"/>
              <p:cNvSpPr>
                <a:spLocks noChangeAspect="1"/>
              </p:cNvSpPr>
              <p:nvPr/>
            </p:nvSpPr>
            <p:spPr bwMode="auto">
              <a:xfrm>
                <a:off x="6950" y="9454"/>
                <a:ext cx="108" cy="208"/>
              </a:xfrm>
              <a:custGeom>
                <a:avLst/>
                <a:gdLst>
                  <a:gd name="T0" fmla="*/ 2147483647 w 27"/>
                  <a:gd name="T1" fmla="*/ 2147483647 h 52"/>
                  <a:gd name="T2" fmla="*/ 2147483647 w 27"/>
                  <a:gd name="T3" fmla="*/ 2147483647 h 52"/>
                  <a:gd name="T4" fmla="*/ 2147483647 w 27"/>
                  <a:gd name="T5" fmla="*/ 2147483647 h 52"/>
                  <a:gd name="T6" fmla="*/ 2147483647 w 27"/>
                  <a:gd name="T7" fmla="*/ 2147483647 h 52"/>
                  <a:gd name="T8" fmla="*/ 2147483647 w 27"/>
                  <a:gd name="T9" fmla="*/ 2147483647 h 52"/>
                  <a:gd name="T10" fmla="*/ 2147483647 w 27"/>
                  <a:gd name="T11" fmla="*/ 2147483647 h 52"/>
                  <a:gd name="T12" fmla="*/ 2147483647 w 27"/>
                  <a:gd name="T13" fmla="*/ 2147483647 h 52"/>
                  <a:gd name="T14" fmla="*/ 2147483647 w 27"/>
                  <a:gd name="T15" fmla="*/ 2147483647 h 52"/>
                  <a:gd name="T16" fmla="*/ 2147483647 w 27"/>
                  <a:gd name="T17" fmla="*/ 2147483647 h 52"/>
                  <a:gd name="T18" fmla="*/ 2147483647 w 27"/>
                  <a:gd name="T19" fmla="*/ 2147483647 h 52"/>
                  <a:gd name="T20" fmla="*/ 2147483647 w 27"/>
                  <a:gd name="T21" fmla="*/ 2147483647 h 52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27"/>
                  <a:gd name="T34" fmla="*/ 0 h 52"/>
                  <a:gd name="T35" fmla="*/ 27 w 27"/>
                  <a:gd name="T36" fmla="*/ 52 h 52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27" h="52">
                    <a:moveTo>
                      <a:pt x="25" y="2"/>
                    </a:moveTo>
                    <a:cubicBezTo>
                      <a:pt x="20" y="4"/>
                      <a:pt x="19" y="9"/>
                      <a:pt x="14" y="12"/>
                    </a:cubicBezTo>
                    <a:cubicBezTo>
                      <a:pt x="11" y="14"/>
                      <a:pt x="5" y="15"/>
                      <a:pt x="5" y="15"/>
                    </a:cubicBezTo>
                    <a:cubicBezTo>
                      <a:pt x="2" y="24"/>
                      <a:pt x="0" y="40"/>
                      <a:pt x="8" y="46"/>
                    </a:cubicBezTo>
                    <a:cubicBezTo>
                      <a:pt x="12" y="52"/>
                      <a:pt x="15" y="46"/>
                      <a:pt x="19" y="43"/>
                    </a:cubicBezTo>
                    <a:cubicBezTo>
                      <a:pt x="21" y="38"/>
                      <a:pt x="22" y="33"/>
                      <a:pt x="23" y="28"/>
                    </a:cubicBezTo>
                    <a:cubicBezTo>
                      <a:pt x="22" y="21"/>
                      <a:pt x="22" y="19"/>
                      <a:pt x="25" y="13"/>
                    </a:cubicBezTo>
                    <a:cubicBezTo>
                      <a:pt x="26" y="11"/>
                      <a:pt x="27" y="7"/>
                      <a:pt x="27" y="7"/>
                    </a:cubicBezTo>
                    <a:cubicBezTo>
                      <a:pt x="26" y="5"/>
                      <a:pt x="27" y="2"/>
                      <a:pt x="25" y="1"/>
                    </a:cubicBezTo>
                    <a:cubicBezTo>
                      <a:pt x="24" y="0"/>
                      <a:pt x="22" y="3"/>
                      <a:pt x="22" y="4"/>
                    </a:cubicBezTo>
                    <a:cubicBezTo>
                      <a:pt x="22" y="5"/>
                      <a:pt x="24" y="3"/>
                      <a:pt x="25" y="2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191" name="Freeform 31"/>
              <p:cNvSpPr>
                <a:spLocks noChangeAspect="1"/>
              </p:cNvSpPr>
              <p:nvPr/>
            </p:nvSpPr>
            <p:spPr bwMode="auto">
              <a:xfrm>
                <a:off x="6790" y="9682"/>
                <a:ext cx="80" cy="164"/>
              </a:xfrm>
              <a:custGeom>
                <a:avLst/>
                <a:gdLst>
                  <a:gd name="T0" fmla="*/ 2147483647 w 20"/>
                  <a:gd name="T1" fmla="*/ 0 h 41"/>
                  <a:gd name="T2" fmla="*/ 2147483647 w 20"/>
                  <a:gd name="T3" fmla="*/ 2147483647 h 41"/>
                  <a:gd name="T4" fmla="*/ 2147483647 w 20"/>
                  <a:gd name="T5" fmla="*/ 0 h 41"/>
                  <a:gd name="T6" fmla="*/ 0 60000 65536"/>
                  <a:gd name="T7" fmla="*/ 0 60000 65536"/>
                  <a:gd name="T8" fmla="*/ 0 60000 65536"/>
                  <a:gd name="T9" fmla="*/ 0 w 20"/>
                  <a:gd name="T10" fmla="*/ 0 h 41"/>
                  <a:gd name="T11" fmla="*/ 20 w 20"/>
                  <a:gd name="T12" fmla="*/ 41 h 4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0" h="41">
                    <a:moveTo>
                      <a:pt x="20" y="0"/>
                    </a:moveTo>
                    <a:cubicBezTo>
                      <a:pt x="19" y="14"/>
                      <a:pt x="18" y="27"/>
                      <a:pt x="17" y="41"/>
                    </a:cubicBezTo>
                    <a:cubicBezTo>
                      <a:pt x="0" y="38"/>
                      <a:pt x="16" y="9"/>
                      <a:pt x="20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192" name="Freeform 32"/>
              <p:cNvSpPr>
                <a:spLocks noChangeAspect="1"/>
              </p:cNvSpPr>
              <p:nvPr/>
            </p:nvSpPr>
            <p:spPr bwMode="auto">
              <a:xfrm>
                <a:off x="6002" y="9894"/>
                <a:ext cx="700" cy="196"/>
              </a:xfrm>
              <a:custGeom>
                <a:avLst/>
                <a:gdLst>
                  <a:gd name="T0" fmla="*/ 2147483647 w 175"/>
                  <a:gd name="T1" fmla="*/ 2147483647 h 49"/>
                  <a:gd name="T2" fmla="*/ 2147483647 w 175"/>
                  <a:gd name="T3" fmla="*/ 2147483647 h 49"/>
                  <a:gd name="T4" fmla="*/ 2147483647 w 175"/>
                  <a:gd name="T5" fmla="*/ 2147483647 h 49"/>
                  <a:gd name="T6" fmla="*/ 2147483647 w 175"/>
                  <a:gd name="T7" fmla="*/ 2147483647 h 49"/>
                  <a:gd name="T8" fmla="*/ 2147483647 w 175"/>
                  <a:gd name="T9" fmla="*/ 2147483647 h 49"/>
                  <a:gd name="T10" fmla="*/ 2147483647 w 175"/>
                  <a:gd name="T11" fmla="*/ 2147483647 h 49"/>
                  <a:gd name="T12" fmla="*/ 2147483647 w 175"/>
                  <a:gd name="T13" fmla="*/ 2147483647 h 49"/>
                  <a:gd name="T14" fmla="*/ 2147483647 w 175"/>
                  <a:gd name="T15" fmla="*/ 2147483647 h 49"/>
                  <a:gd name="T16" fmla="*/ 2147483647 w 175"/>
                  <a:gd name="T17" fmla="*/ 2147483647 h 49"/>
                  <a:gd name="T18" fmla="*/ 2147483647 w 175"/>
                  <a:gd name="T19" fmla="*/ 2147483647 h 49"/>
                  <a:gd name="T20" fmla="*/ 2147483647 w 175"/>
                  <a:gd name="T21" fmla="*/ 2147483647 h 49"/>
                  <a:gd name="T22" fmla="*/ 2147483647 w 175"/>
                  <a:gd name="T23" fmla="*/ 2147483647 h 49"/>
                  <a:gd name="T24" fmla="*/ 2147483647 w 175"/>
                  <a:gd name="T25" fmla="*/ 2147483647 h 49"/>
                  <a:gd name="T26" fmla="*/ 2147483647 w 175"/>
                  <a:gd name="T27" fmla="*/ 2147483647 h 49"/>
                  <a:gd name="T28" fmla="*/ 2147483647 w 175"/>
                  <a:gd name="T29" fmla="*/ 2147483647 h 49"/>
                  <a:gd name="T30" fmla="*/ 2147483647 w 175"/>
                  <a:gd name="T31" fmla="*/ 2147483647 h 49"/>
                  <a:gd name="T32" fmla="*/ 2147483647 w 175"/>
                  <a:gd name="T33" fmla="*/ 2147483647 h 49"/>
                  <a:gd name="T34" fmla="*/ 2147483647 w 175"/>
                  <a:gd name="T35" fmla="*/ 2147483647 h 49"/>
                  <a:gd name="T36" fmla="*/ 2147483647 w 175"/>
                  <a:gd name="T37" fmla="*/ 2147483647 h 49"/>
                  <a:gd name="T38" fmla="*/ 2147483647 w 175"/>
                  <a:gd name="T39" fmla="*/ 2147483647 h 49"/>
                  <a:gd name="T40" fmla="*/ 2147483647 w 175"/>
                  <a:gd name="T41" fmla="*/ 2147483647 h 49"/>
                  <a:gd name="T42" fmla="*/ 2147483647 w 175"/>
                  <a:gd name="T43" fmla="*/ 2147483647 h 49"/>
                  <a:gd name="T44" fmla="*/ 2147483647 w 175"/>
                  <a:gd name="T45" fmla="*/ 2147483647 h 49"/>
                  <a:gd name="T46" fmla="*/ 0 w 175"/>
                  <a:gd name="T47" fmla="*/ 2147483647 h 49"/>
                  <a:gd name="T48" fmla="*/ 2147483647 w 175"/>
                  <a:gd name="T49" fmla="*/ 2147483647 h 49"/>
                  <a:gd name="T50" fmla="*/ 2147483647 w 175"/>
                  <a:gd name="T51" fmla="*/ 2147483647 h 49"/>
                  <a:gd name="T52" fmla="*/ 2147483647 w 175"/>
                  <a:gd name="T53" fmla="*/ 2147483647 h 49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w 175"/>
                  <a:gd name="T82" fmla="*/ 0 h 49"/>
                  <a:gd name="T83" fmla="*/ 175 w 175"/>
                  <a:gd name="T84" fmla="*/ 49 h 49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T81" t="T82" r="T83" b="T84"/>
                <a:pathLst>
                  <a:path w="175" h="49">
                    <a:moveTo>
                      <a:pt x="8" y="24"/>
                    </a:moveTo>
                    <a:cubicBezTo>
                      <a:pt x="13" y="21"/>
                      <a:pt x="13" y="6"/>
                      <a:pt x="13" y="6"/>
                    </a:cubicBezTo>
                    <a:cubicBezTo>
                      <a:pt x="23" y="9"/>
                      <a:pt x="9" y="17"/>
                      <a:pt x="25" y="19"/>
                    </a:cubicBezTo>
                    <a:cubicBezTo>
                      <a:pt x="32" y="18"/>
                      <a:pt x="29" y="16"/>
                      <a:pt x="34" y="11"/>
                    </a:cubicBezTo>
                    <a:cubicBezTo>
                      <a:pt x="38" y="0"/>
                      <a:pt x="32" y="25"/>
                      <a:pt x="40" y="23"/>
                    </a:cubicBezTo>
                    <a:cubicBezTo>
                      <a:pt x="41" y="19"/>
                      <a:pt x="47" y="22"/>
                      <a:pt x="52" y="23"/>
                    </a:cubicBezTo>
                    <a:cubicBezTo>
                      <a:pt x="57" y="22"/>
                      <a:pt x="64" y="14"/>
                      <a:pt x="70" y="12"/>
                    </a:cubicBezTo>
                    <a:cubicBezTo>
                      <a:pt x="76" y="10"/>
                      <a:pt x="83" y="12"/>
                      <a:pt x="88" y="13"/>
                    </a:cubicBezTo>
                    <a:cubicBezTo>
                      <a:pt x="92" y="7"/>
                      <a:pt x="97" y="12"/>
                      <a:pt x="101" y="16"/>
                    </a:cubicBezTo>
                    <a:cubicBezTo>
                      <a:pt x="111" y="13"/>
                      <a:pt x="107" y="14"/>
                      <a:pt x="114" y="12"/>
                    </a:cubicBezTo>
                    <a:cubicBezTo>
                      <a:pt x="121" y="14"/>
                      <a:pt x="120" y="14"/>
                      <a:pt x="128" y="12"/>
                    </a:cubicBezTo>
                    <a:cubicBezTo>
                      <a:pt x="130" y="7"/>
                      <a:pt x="131" y="4"/>
                      <a:pt x="136" y="6"/>
                    </a:cubicBezTo>
                    <a:cubicBezTo>
                      <a:pt x="137" y="12"/>
                      <a:pt x="137" y="13"/>
                      <a:pt x="134" y="18"/>
                    </a:cubicBezTo>
                    <a:cubicBezTo>
                      <a:pt x="136" y="23"/>
                      <a:pt x="150" y="19"/>
                      <a:pt x="150" y="19"/>
                    </a:cubicBezTo>
                    <a:cubicBezTo>
                      <a:pt x="156" y="16"/>
                      <a:pt x="155" y="11"/>
                      <a:pt x="162" y="10"/>
                    </a:cubicBezTo>
                    <a:cubicBezTo>
                      <a:pt x="174" y="11"/>
                      <a:pt x="173" y="9"/>
                      <a:pt x="175" y="18"/>
                    </a:cubicBezTo>
                    <a:cubicBezTo>
                      <a:pt x="173" y="25"/>
                      <a:pt x="169" y="25"/>
                      <a:pt x="163" y="28"/>
                    </a:cubicBezTo>
                    <a:cubicBezTo>
                      <a:pt x="158" y="36"/>
                      <a:pt x="154" y="25"/>
                      <a:pt x="142" y="30"/>
                    </a:cubicBezTo>
                    <a:cubicBezTo>
                      <a:pt x="135" y="31"/>
                      <a:pt x="129" y="35"/>
                      <a:pt x="122" y="35"/>
                    </a:cubicBezTo>
                    <a:cubicBezTo>
                      <a:pt x="114" y="36"/>
                      <a:pt x="108" y="43"/>
                      <a:pt x="100" y="43"/>
                    </a:cubicBezTo>
                    <a:cubicBezTo>
                      <a:pt x="95" y="44"/>
                      <a:pt x="92" y="46"/>
                      <a:pt x="88" y="49"/>
                    </a:cubicBezTo>
                    <a:cubicBezTo>
                      <a:pt x="63" y="43"/>
                      <a:pt x="100" y="42"/>
                      <a:pt x="52" y="38"/>
                    </a:cubicBezTo>
                    <a:cubicBezTo>
                      <a:pt x="42" y="35"/>
                      <a:pt x="33" y="34"/>
                      <a:pt x="24" y="37"/>
                    </a:cubicBezTo>
                    <a:cubicBezTo>
                      <a:pt x="8" y="36"/>
                      <a:pt x="3" y="45"/>
                      <a:pt x="0" y="32"/>
                    </a:cubicBezTo>
                    <a:cubicBezTo>
                      <a:pt x="1" y="31"/>
                      <a:pt x="2" y="30"/>
                      <a:pt x="2" y="29"/>
                    </a:cubicBezTo>
                    <a:cubicBezTo>
                      <a:pt x="4" y="28"/>
                      <a:pt x="10" y="24"/>
                      <a:pt x="11" y="23"/>
                    </a:cubicBezTo>
                    <a:lnTo>
                      <a:pt x="8" y="24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193" name="Freeform 33"/>
              <p:cNvSpPr>
                <a:spLocks noChangeAspect="1"/>
              </p:cNvSpPr>
              <p:nvPr/>
            </p:nvSpPr>
            <p:spPr bwMode="auto">
              <a:xfrm>
                <a:off x="6458" y="9194"/>
                <a:ext cx="84" cy="72"/>
              </a:xfrm>
              <a:custGeom>
                <a:avLst/>
                <a:gdLst>
                  <a:gd name="T0" fmla="*/ 2147483647 w 21"/>
                  <a:gd name="T1" fmla="*/ 2147483647 h 18"/>
                  <a:gd name="T2" fmla="*/ 2147483647 w 21"/>
                  <a:gd name="T3" fmla="*/ 2147483647 h 18"/>
                  <a:gd name="T4" fmla="*/ 0 w 21"/>
                  <a:gd name="T5" fmla="*/ 2147483647 h 18"/>
                  <a:gd name="T6" fmla="*/ 2147483647 w 21"/>
                  <a:gd name="T7" fmla="*/ 2147483647 h 18"/>
                  <a:gd name="T8" fmla="*/ 2147483647 w 21"/>
                  <a:gd name="T9" fmla="*/ 2147483647 h 18"/>
                  <a:gd name="T10" fmla="*/ 2147483647 w 21"/>
                  <a:gd name="T11" fmla="*/ 2147483647 h 1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1"/>
                  <a:gd name="T19" fmla="*/ 0 h 18"/>
                  <a:gd name="T20" fmla="*/ 21 w 21"/>
                  <a:gd name="T21" fmla="*/ 18 h 1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1" h="18">
                    <a:moveTo>
                      <a:pt x="17" y="2"/>
                    </a:moveTo>
                    <a:cubicBezTo>
                      <a:pt x="13" y="3"/>
                      <a:pt x="12" y="6"/>
                      <a:pt x="8" y="7"/>
                    </a:cubicBezTo>
                    <a:cubicBezTo>
                      <a:pt x="6" y="13"/>
                      <a:pt x="3" y="11"/>
                      <a:pt x="0" y="17"/>
                    </a:cubicBezTo>
                    <a:cubicBezTo>
                      <a:pt x="6" y="18"/>
                      <a:pt x="5" y="16"/>
                      <a:pt x="10" y="13"/>
                    </a:cubicBezTo>
                    <a:cubicBezTo>
                      <a:pt x="13" y="9"/>
                      <a:pt x="15" y="9"/>
                      <a:pt x="19" y="5"/>
                    </a:cubicBezTo>
                    <a:cubicBezTo>
                      <a:pt x="20" y="0"/>
                      <a:pt x="21" y="1"/>
                      <a:pt x="17" y="2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194" name="Freeform 34"/>
              <p:cNvSpPr>
                <a:spLocks noChangeAspect="1"/>
              </p:cNvSpPr>
              <p:nvPr/>
            </p:nvSpPr>
            <p:spPr bwMode="auto">
              <a:xfrm>
                <a:off x="6718" y="9378"/>
                <a:ext cx="84" cy="96"/>
              </a:xfrm>
              <a:custGeom>
                <a:avLst/>
                <a:gdLst>
                  <a:gd name="T0" fmla="*/ 2147483647 w 21"/>
                  <a:gd name="T1" fmla="*/ 2147483647 h 24"/>
                  <a:gd name="T2" fmla="*/ 2147483647 w 21"/>
                  <a:gd name="T3" fmla="*/ 2147483647 h 24"/>
                  <a:gd name="T4" fmla="*/ 2147483647 w 21"/>
                  <a:gd name="T5" fmla="*/ 2147483647 h 24"/>
                  <a:gd name="T6" fmla="*/ 2147483647 w 21"/>
                  <a:gd name="T7" fmla="*/ 2147483647 h 24"/>
                  <a:gd name="T8" fmla="*/ 2147483647 w 21"/>
                  <a:gd name="T9" fmla="*/ 0 h 24"/>
                  <a:gd name="T10" fmla="*/ 2147483647 w 21"/>
                  <a:gd name="T11" fmla="*/ 2147483647 h 2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1"/>
                  <a:gd name="T19" fmla="*/ 0 h 24"/>
                  <a:gd name="T20" fmla="*/ 21 w 21"/>
                  <a:gd name="T21" fmla="*/ 24 h 2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1" h="24">
                    <a:moveTo>
                      <a:pt x="12" y="5"/>
                    </a:moveTo>
                    <a:cubicBezTo>
                      <a:pt x="11" y="9"/>
                      <a:pt x="7" y="13"/>
                      <a:pt x="3" y="16"/>
                    </a:cubicBezTo>
                    <a:cubicBezTo>
                      <a:pt x="0" y="24"/>
                      <a:pt x="4" y="22"/>
                      <a:pt x="12" y="21"/>
                    </a:cubicBezTo>
                    <a:cubicBezTo>
                      <a:pt x="16" y="14"/>
                      <a:pt x="19" y="14"/>
                      <a:pt x="21" y="4"/>
                    </a:cubicBezTo>
                    <a:cubicBezTo>
                      <a:pt x="21" y="1"/>
                      <a:pt x="10" y="0"/>
                      <a:pt x="9" y="0"/>
                    </a:cubicBezTo>
                    <a:cubicBezTo>
                      <a:pt x="8" y="0"/>
                      <a:pt x="13" y="2"/>
                      <a:pt x="12" y="5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195" name="Freeform 35"/>
              <p:cNvSpPr>
                <a:spLocks noChangeAspect="1"/>
              </p:cNvSpPr>
              <p:nvPr/>
            </p:nvSpPr>
            <p:spPr bwMode="auto">
              <a:xfrm>
                <a:off x="5022" y="8018"/>
                <a:ext cx="1316" cy="1284"/>
              </a:xfrm>
              <a:custGeom>
                <a:avLst/>
                <a:gdLst>
                  <a:gd name="T0" fmla="*/ 2147483647 w 329"/>
                  <a:gd name="T1" fmla="*/ 2147483647 h 321"/>
                  <a:gd name="T2" fmla="*/ 2147483647 w 329"/>
                  <a:gd name="T3" fmla="*/ 2147483647 h 321"/>
                  <a:gd name="T4" fmla="*/ 2147483647 w 329"/>
                  <a:gd name="T5" fmla="*/ 2147483647 h 321"/>
                  <a:gd name="T6" fmla="*/ 2147483647 w 329"/>
                  <a:gd name="T7" fmla="*/ 2147483647 h 321"/>
                  <a:gd name="T8" fmla="*/ 2147483647 w 329"/>
                  <a:gd name="T9" fmla="*/ 2147483647 h 321"/>
                  <a:gd name="T10" fmla="*/ 2147483647 w 329"/>
                  <a:gd name="T11" fmla="*/ 2147483647 h 321"/>
                  <a:gd name="T12" fmla="*/ 2147483647 w 329"/>
                  <a:gd name="T13" fmla="*/ 2147483647 h 321"/>
                  <a:gd name="T14" fmla="*/ 2147483647 w 329"/>
                  <a:gd name="T15" fmla="*/ 2147483647 h 321"/>
                  <a:gd name="T16" fmla="*/ 2147483647 w 329"/>
                  <a:gd name="T17" fmla="*/ 2147483647 h 321"/>
                  <a:gd name="T18" fmla="*/ 2147483647 w 329"/>
                  <a:gd name="T19" fmla="*/ 2147483647 h 321"/>
                  <a:gd name="T20" fmla="*/ 2147483647 w 329"/>
                  <a:gd name="T21" fmla="*/ 2147483647 h 321"/>
                  <a:gd name="T22" fmla="*/ 2147483647 w 329"/>
                  <a:gd name="T23" fmla="*/ 2147483647 h 321"/>
                  <a:gd name="T24" fmla="*/ 2147483647 w 329"/>
                  <a:gd name="T25" fmla="*/ 2147483647 h 321"/>
                  <a:gd name="T26" fmla="*/ 2147483647 w 329"/>
                  <a:gd name="T27" fmla="*/ 2147483647 h 321"/>
                  <a:gd name="T28" fmla="*/ 2147483647 w 329"/>
                  <a:gd name="T29" fmla="*/ 2147483647 h 321"/>
                  <a:gd name="T30" fmla="*/ 2147483647 w 329"/>
                  <a:gd name="T31" fmla="*/ 2147483647 h 321"/>
                  <a:gd name="T32" fmla="*/ 2147483647 w 329"/>
                  <a:gd name="T33" fmla="*/ 2147483647 h 321"/>
                  <a:gd name="T34" fmla="*/ 2147483647 w 329"/>
                  <a:gd name="T35" fmla="*/ 2147483647 h 321"/>
                  <a:gd name="T36" fmla="*/ 2147483647 w 329"/>
                  <a:gd name="T37" fmla="*/ 2147483647 h 321"/>
                  <a:gd name="T38" fmla="*/ 2147483647 w 329"/>
                  <a:gd name="T39" fmla="*/ 2147483647 h 321"/>
                  <a:gd name="T40" fmla="*/ 2147483647 w 329"/>
                  <a:gd name="T41" fmla="*/ 2147483647 h 321"/>
                  <a:gd name="T42" fmla="*/ 2147483647 w 329"/>
                  <a:gd name="T43" fmla="*/ 2147483647 h 321"/>
                  <a:gd name="T44" fmla="*/ 2147483647 w 329"/>
                  <a:gd name="T45" fmla="*/ 2147483647 h 321"/>
                  <a:gd name="T46" fmla="*/ 2147483647 w 329"/>
                  <a:gd name="T47" fmla="*/ 2147483647 h 321"/>
                  <a:gd name="T48" fmla="*/ 2147483647 w 329"/>
                  <a:gd name="T49" fmla="*/ 2147483647 h 321"/>
                  <a:gd name="T50" fmla="*/ 2147483647 w 329"/>
                  <a:gd name="T51" fmla="*/ 2147483647 h 321"/>
                  <a:gd name="T52" fmla="*/ 2147483647 w 329"/>
                  <a:gd name="T53" fmla="*/ 2147483647 h 321"/>
                  <a:gd name="T54" fmla="*/ 2147483647 w 329"/>
                  <a:gd name="T55" fmla="*/ 2147483647 h 321"/>
                  <a:gd name="T56" fmla="*/ 2147483647 w 329"/>
                  <a:gd name="T57" fmla="*/ 2147483647 h 321"/>
                  <a:gd name="T58" fmla="*/ 2147483647 w 329"/>
                  <a:gd name="T59" fmla="*/ 2147483647 h 321"/>
                  <a:gd name="T60" fmla="*/ 2147483647 w 329"/>
                  <a:gd name="T61" fmla="*/ 2147483647 h 321"/>
                  <a:gd name="T62" fmla="*/ 2147483647 w 329"/>
                  <a:gd name="T63" fmla="*/ 2147483647 h 321"/>
                  <a:gd name="T64" fmla="*/ 2147483647 w 329"/>
                  <a:gd name="T65" fmla="*/ 2147483647 h 321"/>
                  <a:gd name="T66" fmla="*/ 2147483647 w 329"/>
                  <a:gd name="T67" fmla="*/ 2147483647 h 321"/>
                  <a:gd name="T68" fmla="*/ 2147483647 w 329"/>
                  <a:gd name="T69" fmla="*/ 2147483647 h 321"/>
                  <a:gd name="T70" fmla="*/ 2147483647 w 329"/>
                  <a:gd name="T71" fmla="*/ 2147483647 h 321"/>
                  <a:gd name="T72" fmla="*/ 2147483647 w 329"/>
                  <a:gd name="T73" fmla="*/ 2147483647 h 321"/>
                  <a:gd name="T74" fmla="*/ 2147483647 w 329"/>
                  <a:gd name="T75" fmla="*/ 2147483647 h 321"/>
                  <a:gd name="T76" fmla="*/ 2147483647 w 329"/>
                  <a:gd name="T77" fmla="*/ 2147483647 h 321"/>
                  <a:gd name="T78" fmla="*/ 2147483647 w 329"/>
                  <a:gd name="T79" fmla="*/ 2147483647 h 321"/>
                  <a:gd name="T80" fmla="*/ 2147483647 w 329"/>
                  <a:gd name="T81" fmla="*/ 2147483647 h 321"/>
                  <a:gd name="T82" fmla="*/ 2147483647 w 329"/>
                  <a:gd name="T83" fmla="*/ 2147483647 h 321"/>
                  <a:gd name="T84" fmla="*/ 2147483647 w 329"/>
                  <a:gd name="T85" fmla="*/ 2147483647 h 321"/>
                  <a:gd name="T86" fmla="*/ 2147483647 w 329"/>
                  <a:gd name="T87" fmla="*/ 2147483647 h 321"/>
                  <a:gd name="T88" fmla="*/ 2147483647 w 329"/>
                  <a:gd name="T89" fmla="*/ 2147483647 h 321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329"/>
                  <a:gd name="T136" fmla="*/ 0 h 321"/>
                  <a:gd name="T137" fmla="*/ 329 w 329"/>
                  <a:gd name="T138" fmla="*/ 321 h 321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329" h="321">
                    <a:moveTo>
                      <a:pt x="310" y="79"/>
                    </a:moveTo>
                    <a:cubicBezTo>
                      <a:pt x="311" y="78"/>
                      <a:pt x="311" y="76"/>
                      <a:pt x="312" y="75"/>
                    </a:cubicBezTo>
                    <a:cubicBezTo>
                      <a:pt x="313" y="74"/>
                      <a:pt x="314" y="74"/>
                      <a:pt x="315" y="73"/>
                    </a:cubicBezTo>
                    <a:cubicBezTo>
                      <a:pt x="318" y="69"/>
                      <a:pt x="318" y="62"/>
                      <a:pt x="321" y="57"/>
                    </a:cubicBezTo>
                    <a:cubicBezTo>
                      <a:pt x="317" y="41"/>
                      <a:pt x="321" y="36"/>
                      <a:pt x="329" y="24"/>
                    </a:cubicBezTo>
                    <a:cubicBezTo>
                      <a:pt x="326" y="15"/>
                      <a:pt x="310" y="8"/>
                      <a:pt x="305" y="5"/>
                    </a:cubicBezTo>
                    <a:cubicBezTo>
                      <a:pt x="301" y="0"/>
                      <a:pt x="299" y="0"/>
                      <a:pt x="297" y="6"/>
                    </a:cubicBezTo>
                    <a:cubicBezTo>
                      <a:pt x="299" y="13"/>
                      <a:pt x="302" y="19"/>
                      <a:pt x="304" y="26"/>
                    </a:cubicBezTo>
                    <a:cubicBezTo>
                      <a:pt x="302" y="37"/>
                      <a:pt x="297" y="36"/>
                      <a:pt x="287" y="37"/>
                    </a:cubicBezTo>
                    <a:cubicBezTo>
                      <a:pt x="273" y="48"/>
                      <a:pt x="271" y="48"/>
                      <a:pt x="250" y="49"/>
                    </a:cubicBezTo>
                    <a:cubicBezTo>
                      <a:pt x="243" y="49"/>
                      <a:pt x="235" y="50"/>
                      <a:pt x="228" y="47"/>
                    </a:cubicBezTo>
                    <a:cubicBezTo>
                      <a:pt x="224" y="45"/>
                      <a:pt x="216" y="42"/>
                      <a:pt x="216" y="42"/>
                    </a:cubicBezTo>
                    <a:cubicBezTo>
                      <a:pt x="213" y="39"/>
                      <a:pt x="203" y="37"/>
                      <a:pt x="203" y="37"/>
                    </a:cubicBezTo>
                    <a:cubicBezTo>
                      <a:pt x="197" y="38"/>
                      <a:pt x="192" y="43"/>
                      <a:pt x="187" y="47"/>
                    </a:cubicBezTo>
                    <a:cubicBezTo>
                      <a:pt x="185" y="49"/>
                      <a:pt x="181" y="53"/>
                      <a:pt x="181" y="53"/>
                    </a:cubicBezTo>
                    <a:cubicBezTo>
                      <a:pt x="180" y="55"/>
                      <a:pt x="180" y="58"/>
                      <a:pt x="178" y="59"/>
                    </a:cubicBezTo>
                    <a:cubicBezTo>
                      <a:pt x="176" y="60"/>
                      <a:pt x="172" y="61"/>
                      <a:pt x="172" y="61"/>
                    </a:cubicBezTo>
                    <a:cubicBezTo>
                      <a:pt x="155" y="60"/>
                      <a:pt x="147" y="62"/>
                      <a:pt x="132" y="67"/>
                    </a:cubicBezTo>
                    <a:cubicBezTo>
                      <a:pt x="126" y="92"/>
                      <a:pt x="119" y="89"/>
                      <a:pt x="90" y="90"/>
                    </a:cubicBezTo>
                    <a:cubicBezTo>
                      <a:pt x="82" y="97"/>
                      <a:pt x="79" y="99"/>
                      <a:pt x="75" y="103"/>
                    </a:cubicBezTo>
                    <a:cubicBezTo>
                      <a:pt x="71" y="108"/>
                      <a:pt x="71" y="110"/>
                      <a:pt x="64" y="113"/>
                    </a:cubicBezTo>
                    <a:cubicBezTo>
                      <a:pt x="51" y="119"/>
                      <a:pt x="36" y="121"/>
                      <a:pt x="22" y="126"/>
                    </a:cubicBezTo>
                    <a:cubicBezTo>
                      <a:pt x="31" y="128"/>
                      <a:pt x="27" y="133"/>
                      <a:pt x="31" y="140"/>
                    </a:cubicBezTo>
                    <a:cubicBezTo>
                      <a:pt x="33" y="143"/>
                      <a:pt x="35" y="149"/>
                      <a:pt x="35" y="149"/>
                    </a:cubicBezTo>
                    <a:cubicBezTo>
                      <a:pt x="33" y="155"/>
                      <a:pt x="36" y="150"/>
                      <a:pt x="27" y="153"/>
                    </a:cubicBezTo>
                    <a:cubicBezTo>
                      <a:pt x="24" y="154"/>
                      <a:pt x="19" y="157"/>
                      <a:pt x="19" y="157"/>
                    </a:cubicBezTo>
                    <a:cubicBezTo>
                      <a:pt x="22" y="163"/>
                      <a:pt x="22" y="179"/>
                      <a:pt x="16" y="183"/>
                    </a:cubicBezTo>
                    <a:cubicBezTo>
                      <a:pt x="12" y="185"/>
                      <a:pt x="4" y="188"/>
                      <a:pt x="4" y="188"/>
                    </a:cubicBezTo>
                    <a:cubicBezTo>
                      <a:pt x="2" y="193"/>
                      <a:pt x="0" y="193"/>
                      <a:pt x="3" y="198"/>
                    </a:cubicBezTo>
                    <a:cubicBezTo>
                      <a:pt x="2" y="205"/>
                      <a:pt x="6" y="224"/>
                      <a:pt x="4" y="233"/>
                    </a:cubicBezTo>
                    <a:cubicBezTo>
                      <a:pt x="5" y="238"/>
                      <a:pt x="15" y="240"/>
                      <a:pt x="15" y="240"/>
                    </a:cubicBezTo>
                    <a:cubicBezTo>
                      <a:pt x="17" y="241"/>
                      <a:pt x="17" y="244"/>
                      <a:pt x="19" y="245"/>
                    </a:cubicBezTo>
                    <a:cubicBezTo>
                      <a:pt x="22" y="246"/>
                      <a:pt x="31" y="248"/>
                      <a:pt x="34" y="249"/>
                    </a:cubicBezTo>
                    <a:cubicBezTo>
                      <a:pt x="37" y="251"/>
                      <a:pt x="40" y="252"/>
                      <a:pt x="43" y="254"/>
                    </a:cubicBezTo>
                    <a:cubicBezTo>
                      <a:pt x="47" y="260"/>
                      <a:pt x="51" y="260"/>
                      <a:pt x="57" y="261"/>
                    </a:cubicBezTo>
                    <a:cubicBezTo>
                      <a:pt x="49" y="263"/>
                      <a:pt x="46" y="262"/>
                      <a:pt x="43" y="269"/>
                    </a:cubicBezTo>
                    <a:cubicBezTo>
                      <a:pt x="44" y="273"/>
                      <a:pt x="44" y="283"/>
                      <a:pt x="47" y="287"/>
                    </a:cubicBezTo>
                    <a:cubicBezTo>
                      <a:pt x="52" y="293"/>
                      <a:pt x="60" y="296"/>
                      <a:pt x="66" y="302"/>
                    </a:cubicBezTo>
                    <a:cubicBezTo>
                      <a:pt x="67" y="306"/>
                      <a:pt x="69" y="306"/>
                      <a:pt x="73" y="305"/>
                    </a:cubicBezTo>
                    <a:cubicBezTo>
                      <a:pt x="80" y="298"/>
                      <a:pt x="79" y="298"/>
                      <a:pt x="90" y="302"/>
                    </a:cubicBezTo>
                    <a:cubicBezTo>
                      <a:pt x="98" y="301"/>
                      <a:pt x="100" y="297"/>
                      <a:pt x="108" y="294"/>
                    </a:cubicBezTo>
                    <a:cubicBezTo>
                      <a:pt x="124" y="296"/>
                      <a:pt x="138" y="296"/>
                      <a:pt x="154" y="295"/>
                    </a:cubicBezTo>
                    <a:cubicBezTo>
                      <a:pt x="160" y="294"/>
                      <a:pt x="168" y="293"/>
                      <a:pt x="174" y="295"/>
                    </a:cubicBezTo>
                    <a:cubicBezTo>
                      <a:pt x="176" y="296"/>
                      <a:pt x="176" y="300"/>
                      <a:pt x="178" y="301"/>
                    </a:cubicBezTo>
                    <a:cubicBezTo>
                      <a:pt x="187" y="299"/>
                      <a:pt x="185" y="303"/>
                      <a:pt x="183" y="311"/>
                    </a:cubicBezTo>
                    <a:cubicBezTo>
                      <a:pt x="185" y="321"/>
                      <a:pt x="193" y="310"/>
                      <a:pt x="198" y="308"/>
                    </a:cubicBezTo>
                    <a:cubicBezTo>
                      <a:pt x="212" y="309"/>
                      <a:pt x="211" y="311"/>
                      <a:pt x="221" y="315"/>
                    </a:cubicBezTo>
                    <a:cubicBezTo>
                      <a:pt x="224" y="316"/>
                      <a:pt x="231" y="319"/>
                      <a:pt x="231" y="319"/>
                    </a:cubicBezTo>
                    <a:cubicBezTo>
                      <a:pt x="234" y="319"/>
                      <a:pt x="238" y="320"/>
                      <a:pt x="241" y="318"/>
                    </a:cubicBezTo>
                    <a:cubicBezTo>
                      <a:pt x="243" y="317"/>
                      <a:pt x="239" y="312"/>
                      <a:pt x="239" y="312"/>
                    </a:cubicBezTo>
                    <a:cubicBezTo>
                      <a:pt x="238" y="298"/>
                      <a:pt x="235" y="297"/>
                      <a:pt x="226" y="288"/>
                    </a:cubicBezTo>
                    <a:cubicBezTo>
                      <a:pt x="225" y="285"/>
                      <a:pt x="220" y="278"/>
                      <a:pt x="216" y="277"/>
                    </a:cubicBezTo>
                    <a:cubicBezTo>
                      <a:pt x="212" y="269"/>
                      <a:pt x="205" y="271"/>
                      <a:pt x="197" y="270"/>
                    </a:cubicBezTo>
                    <a:cubicBezTo>
                      <a:pt x="180" y="257"/>
                      <a:pt x="154" y="259"/>
                      <a:pt x="135" y="253"/>
                    </a:cubicBezTo>
                    <a:cubicBezTo>
                      <a:pt x="139" y="245"/>
                      <a:pt x="150" y="248"/>
                      <a:pt x="159" y="247"/>
                    </a:cubicBezTo>
                    <a:cubicBezTo>
                      <a:pt x="162" y="242"/>
                      <a:pt x="161" y="237"/>
                      <a:pt x="156" y="234"/>
                    </a:cubicBezTo>
                    <a:cubicBezTo>
                      <a:pt x="154" y="231"/>
                      <a:pt x="153" y="228"/>
                      <a:pt x="151" y="225"/>
                    </a:cubicBezTo>
                    <a:cubicBezTo>
                      <a:pt x="156" y="217"/>
                      <a:pt x="171" y="223"/>
                      <a:pt x="180" y="222"/>
                    </a:cubicBezTo>
                    <a:cubicBezTo>
                      <a:pt x="179" y="218"/>
                      <a:pt x="178" y="216"/>
                      <a:pt x="174" y="215"/>
                    </a:cubicBezTo>
                    <a:cubicBezTo>
                      <a:pt x="172" y="208"/>
                      <a:pt x="164" y="199"/>
                      <a:pt x="157" y="197"/>
                    </a:cubicBezTo>
                    <a:cubicBezTo>
                      <a:pt x="156" y="193"/>
                      <a:pt x="154" y="193"/>
                      <a:pt x="150" y="191"/>
                    </a:cubicBezTo>
                    <a:cubicBezTo>
                      <a:pt x="148" y="185"/>
                      <a:pt x="149" y="183"/>
                      <a:pt x="144" y="180"/>
                    </a:cubicBezTo>
                    <a:cubicBezTo>
                      <a:pt x="142" y="177"/>
                      <a:pt x="136" y="175"/>
                      <a:pt x="136" y="175"/>
                    </a:cubicBezTo>
                    <a:cubicBezTo>
                      <a:pt x="133" y="171"/>
                      <a:pt x="131" y="166"/>
                      <a:pt x="127" y="162"/>
                    </a:cubicBezTo>
                    <a:cubicBezTo>
                      <a:pt x="125" y="157"/>
                      <a:pt x="124" y="152"/>
                      <a:pt x="121" y="147"/>
                    </a:cubicBezTo>
                    <a:cubicBezTo>
                      <a:pt x="122" y="136"/>
                      <a:pt x="120" y="128"/>
                      <a:pt x="130" y="125"/>
                    </a:cubicBezTo>
                    <a:cubicBezTo>
                      <a:pt x="132" y="122"/>
                      <a:pt x="138" y="120"/>
                      <a:pt x="138" y="120"/>
                    </a:cubicBezTo>
                    <a:cubicBezTo>
                      <a:pt x="150" y="122"/>
                      <a:pt x="152" y="127"/>
                      <a:pt x="147" y="135"/>
                    </a:cubicBezTo>
                    <a:cubicBezTo>
                      <a:pt x="150" y="145"/>
                      <a:pt x="161" y="139"/>
                      <a:pt x="169" y="144"/>
                    </a:cubicBezTo>
                    <a:cubicBezTo>
                      <a:pt x="170" y="150"/>
                      <a:pt x="170" y="166"/>
                      <a:pt x="177" y="168"/>
                    </a:cubicBezTo>
                    <a:cubicBezTo>
                      <a:pt x="186" y="167"/>
                      <a:pt x="197" y="168"/>
                      <a:pt x="187" y="162"/>
                    </a:cubicBezTo>
                    <a:cubicBezTo>
                      <a:pt x="185" y="156"/>
                      <a:pt x="181" y="149"/>
                      <a:pt x="177" y="144"/>
                    </a:cubicBezTo>
                    <a:cubicBezTo>
                      <a:pt x="174" y="141"/>
                      <a:pt x="166" y="133"/>
                      <a:pt x="169" y="135"/>
                    </a:cubicBezTo>
                    <a:cubicBezTo>
                      <a:pt x="170" y="136"/>
                      <a:pt x="171" y="136"/>
                      <a:pt x="172" y="137"/>
                    </a:cubicBezTo>
                    <a:cubicBezTo>
                      <a:pt x="178" y="147"/>
                      <a:pt x="194" y="153"/>
                      <a:pt x="205" y="156"/>
                    </a:cubicBezTo>
                    <a:cubicBezTo>
                      <a:pt x="215" y="153"/>
                      <a:pt x="207" y="147"/>
                      <a:pt x="199" y="144"/>
                    </a:cubicBezTo>
                    <a:cubicBezTo>
                      <a:pt x="197" y="138"/>
                      <a:pt x="195" y="138"/>
                      <a:pt x="190" y="135"/>
                    </a:cubicBezTo>
                    <a:cubicBezTo>
                      <a:pt x="195" y="131"/>
                      <a:pt x="201" y="134"/>
                      <a:pt x="207" y="135"/>
                    </a:cubicBezTo>
                    <a:cubicBezTo>
                      <a:pt x="210" y="140"/>
                      <a:pt x="217" y="140"/>
                      <a:pt x="222" y="143"/>
                    </a:cubicBezTo>
                    <a:cubicBezTo>
                      <a:pt x="224" y="142"/>
                      <a:pt x="227" y="142"/>
                      <a:pt x="228" y="141"/>
                    </a:cubicBezTo>
                    <a:cubicBezTo>
                      <a:pt x="230" y="139"/>
                      <a:pt x="225" y="136"/>
                      <a:pt x="223" y="135"/>
                    </a:cubicBezTo>
                    <a:cubicBezTo>
                      <a:pt x="215" y="131"/>
                      <a:pt x="207" y="124"/>
                      <a:pt x="199" y="121"/>
                    </a:cubicBezTo>
                    <a:cubicBezTo>
                      <a:pt x="197" y="117"/>
                      <a:pt x="196" y="114"/>
                      <a:pt x="192" y="113"/>
                    </a:cubicBezTo>
                    <a:cubicBezTo>
                      <a:pt x="191" y="109"/>
                      <a:pt x="187" y="109"/>
                      <a:pt x="186" y="105"/>
                    </a:cubicBezTo>
                    <a:cubicBezTo>
                      <a:pt x="188" y="96"/>
                      <a:pt x="197" y="98"/>
                      <a:pt x="205" y="97"/>
                    </a:cubicBezTo>
                    <a:cubicBezTo>
                      <a:pt x="211" y="95"/>
                      <a:pt x="212" y="90"/>
                      <a:pt x="217" y="87"/>
                    </a:cubicBezTo>
                    <a:cubicBezTo>
                      <a:pt x="222" y="84"/>
                      <a:pt x="232" y="83"/>
                      <a:pt x="237" y="83"/>
                    </a:cubicBezTo>
                    <a:cubicBezTo>
                      <a:pt x="243" y="79"/>
                      <a:pt x="250" y="78"/>
                      <a:pt x="257" y="77"/>
                    </a:cubicBezTo>
                    <a:cubicBezTo>
                      <a:pt x="262" y="74"/>
                      <a:pt x="268" y="73"/>
                      <a:pt x="274" y="72"/>
                    </a:cubicBezTo>
                    <a:cubicBezTo>
                      <a:pt x="282" y="73"/>
                      <a:pt x="297" y="75"/>
                      <a:pt x="297" y="75"/>
                    </a:cubicBezTo>
                    <a:cubicBezTo>
                      <a:pt x="301" y="78"/>
                      <a:pt x="305" y="79"/>
                      <a:pt x="310" y="79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</p:grpSp>
        <p:sp>
          <p:nvSpPr>
            <p:cNvPr id="83" name="Freeform 36"/>
            <p:cNvSpPr>
              <a:spLocks noChangeAspect="1"/>
            </p:cNvSpPr>
            <p:nvPr/>
          </p:nvSpPr>
          <p:spPr bwMode="auto">
            <a:xfrm>
              <a:off x="2879" y="2969"/>
              <a:ext cx="273" cy="143"/>
            </a:xfrm>
            <a:custGeom>
              <a:avLst/>
              <a:gdLst>
                <a:gd name="T0" fmla="*/ 495 w 270"/>
                <a:gd name="T1" fmla="*/ 67 h 142"/>
                <a:gd name="T2" fmla="*/ 519 w 270"/>
                <a:gd name="T3" fmla="*/ 26 h 142"/>
                <a:gd name="T4" fmla="*/ 526 w 270"/>
                <a:gd name="T5" fmla="*/ 16 h 142"/>
                <a:gd name="T6" fmla="*/ 423 w 270"/>
                <a:gd name="T7" fmla="*/ 0 h 142"/>
                <a:gd name="T8" fmla="*/ 359 w 270"/>
                <a:gd name="T9" fmla="*/ 9 h 142"/>
                <a:gd name="T10" fmla="*/ 329 w 270"/>
                <a:gd name="T11" fmla="*/ 9 h 142"/>
                <a:gd name="T12" fmla="*/ 291 w 270"/>
                <a:gd name="T13" fmla="*/ 18 h 142"/>
                <a:gd name="T14" fmla="*/ 274 w 270"/>
                <a:gd name="T15" fmla="*/ 25 h 142"/>
                <a:gd name="T16" fmla="*/ 246 w 270"/>
                <a:gd name="T17" fmla="*/ 18 h 142"/>
                <a:gd name="T18" fmla="*/ 213 w 270"/>
                <a:gd name="T19" fmla="*/ 7 h 142"/>
                <a:gd name="T20" fmla="*/ 203 w 270"/>
                <a:gd name="T21" fmla="*/ 2 h 142"/>
                <a:gd name="T22" fmla="*/ 189 w 270"/>
                <a:gd name="T23" fmla="*/ 14 h 142"/>
                <a:gd name="T24" fmla="*/ 159 w 270"/>
                <a:gd name="T25" fmla="*/ 8 h 142"/>
                <a:gd name="T26" fmla="*/ 131 w 270"/>
                <a:gd name="T27" fmla="*/ 13 h 142"/>
                <a:gd name="T28" fmla="*/ 124 w 270"/>
                <a:gd name="T29" fmla="*/ 22 h 142"/>
                <a:gd name="T30" fmla="*/ 115 w 270"/>
                <a:gd name="T31" fmla="*/ 36 h 142"/>
                <a:gd name="T32" fmla="*/ 108 w 270"/>
                <a:gd name="T33" fmla="*/ 46 h 142"/>
                <a:gd name="T34" fmla="*/ 41 w 270"/>
                <a:gd name="T35" fmla="*/ 57 h 142"/>
                <a:gd name="T36" fmla="*/ 6 w 270"/>
                <a:gd name="T37" fmla="*/ 69 h 142"/>
                <a:gd name="T38" fmla="*/ 0 w 270"/>
                <a:gd name="T39" fmla="*/ 153 h 142"/>
                <a:gd name="T40" fmla="*/ 6 w 270"/>
                <a:gd name="T41" fmla="*/ 164 h 142"/>
                <a:gd name="T42" fmla="*/ 10 w 270"/>
                <a:gd name="T43" fmla="*/ 185 h 142"/>
                <a:gd name="T44" fmla="*/ 23 w 270"/>
                <a:gd name="T45" fmla="*/ 189 h 142"/>
                <a:gd name="T46" fmla="*/ 26 w 270"/>
                <a:gd name="T47" fmla="*/ 190 h 142"/>
                <a:gd name="T48" fmla="*/ 35 w 270"/>
                <a:gd name="T49" fmla="*/ 196 h 142"/>
                <a:gd name="T50" fmla="*/ 41 w 270"/>
                <a:gd name="T51" fmla="*/ 203 h 142"/>
                <a:gd name="T52" fmla="*/ 171 w 270"/>
                <a:gd name="T53" fmla="*/ 200 h 142"/>
                <a:gd name="T54" fmla="*/ 189 w 270"/>
                <a:gd name="T55" fmla="*/ 191 h 142"/>
                <a:gd name="T56" fmla="*/ 240 w 270"/>
                <a:gd name="T57" fmla="*/ 169 h 142"/>
                <a:gd name="T58" fmla="*/ 270 w 270"/>
                <a:gd name="T59" fmla="*/ 161 h 142"/>
                <a:gd name="T60" fmla="*/ 277 w 270"/>
                <a:gd name="T61" fmla="*/ 157 h 142"/>
                <a:gd name="T62" fmla="*/ 291 w 270"/>
                <a:gd name="T63" fmla="*/ 160 h 142"/>
                <a:gd name="T64" fmla="*/ 316 w 270"/>
                <a:gd name="T65" fmla="*/ 157 h 142"/>
                <a:gd name="T66" fmla="*/ 360 w 270"/>
                <a:gd name="T67" fmla="*/ 66 h 142"/>
                <a:gd name="T68" fmla="*/ 413 w 270"/>
                <a:gd name="T69" fmla="*/ 66 h 142"/>
                <a:gd name="T70" fmla="*/ 451 w 270"/>
                <a:gd name="T71" fmla="*/ 67 h 142"/>
                <a:gd name="T72" fmla="*/ 466 w 270"/>
                <a:gd name="T73" fmla="*/ 133 h 142"/>
                <a:gd name="T74" fmla="*/ 495 w 270"/>
                <a:gd name="T75" fmla="*/ 67 h 142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70"/>
                <a:gd name="T115" fmla="*/ 0 h 142"/>
                <a:gd name="T116" fmla="*/ 270 w 270"/>
                <a:gd name="T117" fmla="*/ 142 h 142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70" h="142">
                  <a:moveTo>
                    <a:pt x="254" y="67"/>
                  </a:moveTo>
                  <a:cubicBezTo>
                    <a:pt x="257" y="58"/>
                    <a:pt x="256" y="33"/>
                    <a:pt x="266" y="26"/>
                  </a:cubicBezTo>
                  <a:cubicBezTo>
                    <a:pt x="267" y="22"/>
                    <a:pt x="269" y="20"/>
                    <a:pt x="270" y="16"/>
                  </a:cubicBezTo>
                  <a:cubicBezTo>
                    <a:pt x="251" y="13"/>
                    <a:pt x="234" y="4"/>
                    <a:pt x="216" y="0"/>
                  </a:cubicBezTo>
                  <a:cubicBezTo>
                    <a:pt x="202" y="1"/>
                    <a:pt x="197" y="5"/>
                    <a:pt x="185" y="9"/>
                  </a:cubicBezTo>
                  <a:cubicBezTo>
                    <a:pt x="182" y="17"/>
                    <a:pt x="176" y="11"/>
                    <a:pt x="171" y="9"/>
                  </a:cubicBezTo>
                  <a:cubicBezTo>
                    <a:pt x="158" y="10"/>
                    <a:pt x="154" y="9"/>
                    <a:pt x="147" y="18"/>
                  </a:cubicBezTo>
                  <a:cubicBezTo>
                    <a:pt x="146" y="27"/>
                    <a:pt x="145" y="26"/>
                    <a:pt x="136" y="25"/>
                  </a:cubicBezTo>
                  <a:cubicBezTo>
                    <a:pt x="133" y="23"/>
                    <a:pt x="126" y="18"/>
                    <a:pt x="126" y="18"/>
                  </a:cubicBezTo>
                  <a:cubicBezTo>
                    <a:pt x="124" y="12"/>
                    <a:pt x="117" y="11"/>
                    <a:pt x="113" y="7"/>
                  </a:cubicBezTo>
                  <a:cubicBezTo>
                    <a:pt x="112" y="5"/>
                    <a:pt x="112" y="1"/>
                    <a:pt x="108" y="2"/>
                  </a:cubicBezTo>
                  <a:cubicBezTo>
                    <a:pt x="108" y="2"/>
                    <a:pt x="104" y="12"/>
                    <a:pt x="101" y="14"/>
                  </a:cubicBezTo>
                  <a:cubicBezTo>
                    <a:pt x="96" y="23"/>
                    <a:pt x="91" y="11"/>
                    <a:pt x="86" y="8"/>
                  </a:cubicBezTo>
                  <a:cubicBezTo>
                    <a:pt x="80" y="9"/>
                    <a:pt x="76" y="12"/>
                    <a:pt x="70" y="13"/>
                  </a:cubicBezTo>
                  <a:cubicBezTo>
                    <a:pt x="69" y="17"/>
                    <a:pt x="63" y="22"/>
                    <a:pt x="63" y="22"/>
                  </a:cubicBezTo>
                  <a:cubicBezTo>
                    <a:pt x="62" y="28"/>
                    <a:pt x="58" y="32"/>
                    <a:pt x="54" y="36"/>
                  </a:cubicBezTo>
                  <a:cubicBezTo>
                    <a:pt x="52" y="41"/>
                    <a:pt x="52" y="44"/>
                    <a:pt x="47" y="46"/>
                  </a:cubicBezTo>
                  <a:cubicBezTo>
                    <a:pt x="45" y="52"/>
                    <a:pt x="46" y="54"/>
                    <a:pt x="41" y="57"/>
                  </a:cubicBezTo>
                  <a:cubicBezTo>
                    <a:pt x="32" y="70"/>
                    <a:pt x="22" y="68"/>
                    <a:pt x="6" y="69"/>
                  </a:cubicBezTo>
                  <a:cubicBezTo>
                    <a:pt x="1" y="76"/>
                    <a:pt x="3" y="84"/>
                    <a:pt x="0" y="92"/>
                  </a:cubicBezTo>
                  <a:cubicBezTo>
                    <a:pt x="2" y="98"/>
                    <a:pt x="4" y="98"/>
                    <a:pt x="6" y="103"/>
                  </a:cubicBezTo>
                  <a:cubicBezTo>
                    <a:pt x="4" y="109"/>
                    <a:pt x="3" y="120"/>
                    <a:pt x="10" y="124"/>
                  </a:cubicBezTo>
                  <a:cubicBezTo>
                    <a:pt x="14" y="126"/>
                    <a:pt x="19" y="127"/>
                    <a:pt x="23" y="128"/>
                  </a:cubicBezTo>
                  <a:cubicBezTo>
                    <a:pt x="24" y="128"/>
                    <a:pt x="26" y="129"/>
                    <a:pt x="26" y="129"/>
                  </a:cubicBezTo>
                  <a:cubicBezTo>
                    <a:pt x="29" y="132"/>
                    <a:pt x="32" y="133"/>
                    <a:pt x="35" y="135"/>
                  </a:cubicBezTo>
                  <a:cubicBezTo>
                    <a:pt x="36" y="139"/>
                    <a:pt x="39" y="138"/>
                    <a:pt x="41" y="142"/>
                  </a:cubicBezTo>
                  <a:cubicBezTo>
                    <a:pt x="58" y="141"/>
                    <a:pt x="75" y="140"/>
                    <a:pt x="92" y="139"/>
                  </a:cubicBezTo>
                  <a:cubicBezTo>
                    <a:pt x="97" y="137"/>
                    <a:pt x="99" y="135"/>
                    <a:pt x="101" y="130"/>
                  </a:cubicBezTo>
                  <a:cubicBezTo>
                    <a:pt x="99" y="106"/>
                    <a:pt x="99" y="109"/>
                    <a:pt x="124" y="108"/>
                  </a:cubicBezTo>
                  <a:cubicBezTo>
                    <a:pt x="129" y="106"/>
                    <a:pt x="131" y="104"/>
                    <a:pt x="134" y="100"/>
                  </a:cubicBezTo>
                  <a:cubicBezTo>
                    <a:pt x="135" y="98"/>
                    <a:pt x="135" y="96"/>
                    <a:pt x="138" y="96"/>
                  </a:cubicBezTo>
                  <a:cubicBezTo>
                    <a:pt x="141" y="96"/>
                    <a:pt x="147" y="99"/>
                    <a:pt x="147" y="99"/>
                  </a:cubicBezTo>
                  <a:cubicBezTo>
                    <a:pt x="153" y="98"/>
                    <a:pt x="164" y="96"/>
                    <a:pt x="164" y="96"/>
                  </a:cubicBezTo>
                  <a:cubicBezTo>
                    <a:pt x="169" y="82"/>
                    <a:pt x="169" y="70"/>
                    <a:pt x="186" y="66"/>
                  </a:cubicBezTo>
                  <a:cubicBezTo>
                    <a:pt x="195" y="67"/>
                    <a:pt x="203" y="69"/>
                    <a:pt x="212" y="66"/>
                  </a:cubicBezTo>
                  <a:cubicBezTo>
                    <a:pt x="217" y="66"/>
                    <a:pt x="223" y="66"/>
                    <a:pt x="228" y="67"/>
                  </a:cubicBezTo>
                  <a:cubicBezTo>
                    <a:pt x="231" y="67"/>
                    <a:pt x="237" y="72"/>
                    <a:pt x="237" y="72"/>
                  </a:cubicBezTo>
                  <a:cubicBezTo>
                    <a:pt x="238" y="72"/>
                    <a:pt x="254" y="72"/>
                    <a:pt x="254" y="67"/>
                  </a:cubicBez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  <p:grpSp>
          <p:nvGrpSpPr>
            <p:cNvPr id="84" name="Group 37"/>
            <p:cNvGrpSpPr>
              <a:grpSpLocks noChangeAspect="1"/>
            </p:cNvGrpSpPr>
            <p:nvPr/>
          </p:nvGrpSpPr>
          <p:grpSpPr bwMode="auto">
            <a:xfrm>
              <a:off x="2726" y="3208"/>
              <a:ext cx="304" cy="292"/>
              <a:chOff x="2859" y="3044"/>
              <a:chExt cx="302" cy="289"/>
            </a:xfrm>
            <a:grpFill/>
          </p:grpSpPr>
          <p:sp>
            <p:nvSpPr>
              <p:cNvPr id="166" name="Freeform 38"/>
              <p:cNvSpPr>
                <a:spLocks noChangeAspect="1"/>
              </p:cNvSpPr>
              <p:nvPr/>
            </p:nvSpPr>
            <p:spPr bwMode="auto">
              <a:xfrm>
                <a:off x="2901" y="3158"/>
                <a:ext cx="24" cy="49"/>
              </a:xfrm>
              <a:custGeom>
                <a:avLst/>
                <a:gdLst>
                  <a:gd name="T0" fmla="*/ 0 w 24"/>
                  <a:gd name="T1" fmla="*/ 0 h 49"/>
                  <a:gd name="T2" fmla="*/ 16 w 24"/>
                  <a:gd name="T3" fmla="*/ 43 h 49"/>
                  <a:gd name="T4" fmla="*/ 22 w 24"/>
                  <a:gd name="T5" fmla="*/ 43 h 49"/>
                  <a:gd name="T6" fmla="*/ 14 w 24"/>
                  <a:gd name="T7" fmla="*/ 10 h 49"/>
                  <a:gd name="T8" fmla="*/ 0 w 24"/>
                  <a:gd name="T9" fmla="*/ 0 h 4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4"/>
                  <a:gd name="T16" fmla="*/ 0 h 49"/>
                  <a:gd name="T17" fmla="*/ 24 w 24"/>
                  <a:gd name="T18" fmla="*/ 49 h 4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4" h="49">
                    <a:moveTo>
                      <a:pt x="0" y="0"/>
                    </a:moveTo>
                    <a:cubicBezTo>
                      <a:pt x="2" y="12"/>
                      <a:pt x="7" y="34"/>
                      <a:pt x="16" y="43"/>
                    </a:cubicBezTo>
                    <a:cubicBezTo>
                      <a:pt x="18" y="49"/>
                      <a:pt x="19" y="49"/>
                      <a:pt x="22" y="43"/>
                    </a:cubicBezTo>
                    <a:cubicBezTo>
                      <a:pt x="21" y="34"/>
                      <a:pt x="24" y="17"/>
                      <a:pt x="14" y="10"/>
                    </a:cubicBezTo>
                    <a:cubicBezTo>
                      <a:pt x="11" y="5"/>
                      <a:pt x="6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167" name="Freeform 39"/>
              <p:cNvSpPr>
                <a:spLocks noChangeAspect="1"/>
              </p:cNvSpPr>
              <p:nvPr/>
            </p:nvSpPr>
            <p:spPr bwMode="auto">
              <a:xfrm>
                <a:off x="2933" y="3220"/>
                <a:ext cx="39" cy="37"/>
              </a:xfrm>
              <a:custGeom>
                <a:avLst/>
                <a:gdLst>
                  <a:gd name="T0" fmla="*/ 0 w 39"/>
                  <a:gd name="T1" fmla="*/ 0 h 37"/>
                  <a:gd name="T2" fmla="*/ 20 w 39"/>
                  <a:gd name="T3" fmla="*/ 11 h 37"/>
                  <a:gd name="T4" fmla="*/ 26 w 39"/>
                  <a:gd name="T5" fmla="*/ 15 h 37"/>
                  <a:gd name="T6" fmla="*/ 36 w 39"/>
                  <a:gd name="T7" fmla="*/ 33 h 37"/>
                  <a:gd name="T8" fmla="*/ 38 w 39"/>
                  <a:gd name="T9" fmla="*/ 36 h 37"/>
                  <a:gd name="T10" fmla="*/ 34 w 39"/>
                  <a:gd name="T11" fmla="*/ 35 h 37"/>
                  <a:gd name="T12" fmla="*/ 0 w 39"/>
                  <a:gd name="T13" fmla="*/ 0 h 3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9"/>
                  <a:gd name="T22" fmla="*/ 0 h 37"/>
                  <a:gd name="T23" fmla="*/ 39 w 39"/>
                  <a:gd name="T24" fmla="*/ 37 h 37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9" h="37">
                    <a:moveTo>
                      <a:pt x="0" y="0"/>
                    </a:moveTo>
                    <a:cubicBezTo>
                      <a:pt x="8" y="3"/>
                      <a:pt x="12" y="8"/>
                      <a:pt x="20" y="11"/>
                    </a:cubicBezTo>
                    <a:cubicBezTo>
                      <a:pt x="22" y="13"/>
                      <a:pt x="24" y="13"/>
                      <a:pt x="26" y="15"/>
                    </a:cubicBezTo>
                    <a:cubicBezTo>
                      <a:pt x="31" y="20"/>
                      <a:pt x="33" y="27"/>
                      <a:pt x="36" y="33"/>
                    </a:cubicBezTo>
                    <a:cubicBezTo>
                      <a:pt x="37" y="34"/>
                      <a:pt x="39" y="35"/>
                      <a:pt x="38" y="36"/>
                    </a:cubicBezTo>
                    <a:cubicBezTo>
                      <a:pt x="37" y="37"/>
                      <a:pt x="35" y="35"/>
                      <a:pt x="34" y="35"/>
                    </a:cubicBezTo>
                    <a:cubicBezTo>
                      <a:pt x="28" y="29"/>
                      <a:pt x="2" y="4"/>
                      <a:pt x="0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168" name="Freeform 40"/>
              <p:cNvSpPr>
                <a:spLocks noChangeAspect="1"/>
              </p:cNvSpPr>
              <p:nvPr/>
            </p:nvSpPr>
            <p:spPr bwMode="auto">
              <a:xfrm>
                <a:off x="2926" y="3185"/>
                <a:ext cx="31" cy="34"/>
              </a:xfrm>
              <a:custGeom>
                <a:avLst/>
                <a:gdLst>
                  <a:gd name="T0" fmla="*/ 5 w 31"/>
                  <a:gd name="T1" fmla="*/ 2 h 34"/>
                  <a:gd name="T2" fmla="*/ 27 w 31"/>
                  <a:gd name="T3" fmla="*/ 23 h 34"/>
                  <a:gd name="T4" fmla="*/ 21 w 31"/>
                  <a:gd name="T5" fmla="*/ 27 h 34"/>
                  <a:gd name="T6" fmla="*/ 10 w 31"/>
                  <a:gd name="T7" fmla="*/ 13 h 34"/>
                  <a:gd name="T8" fmla="*/ 5 w 31"/>
                  <a:gd name="T9" fmla="*/ 2 h 3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1"/>
                  <a:gd name="T16" fmla="*/ 0 h 34"/>
                  <a:gd name="T17" fmla="*/ 31 w 31"/>
                  <a:gd name="T18" fmla="*/ 34 h 3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1" h="34">
                    <a:moveTo>
                      <a:pt x="5" y="2"/>
                    </a:moveTo>
                    <a:cubicBezTo>
                      <a:pt x="13" y="8"/>
                      <a:pt x="19" y="17"/>
                      <a:pt x="27" y="23"/>
                    </a:cubicBezTo>
                    <a:cubicBezTo>
                      <a:pt x="31" y="34"/>
                      <a:pt x="31" y="33"/>
                      <a:pt x="21" y="27"/>
                    </a:cubicBezTo>
                    <a:cubicBezTo>
                      <a:pt x="18" y="21"/>
                      <a:pt x="15" y="16"/>
                      <a:pt x="10" y="13"/>
                    </a:cubicBezTo>
                    <a:cubicBezTo>
                      <a:pt x="9" y="11"/>
                      <a:pt x="0" y="0"/>
                      <a:pt x="5" y="2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169" name="Freeform 41"/>
              <p:cNvSpPr>
                <a:spLocks noChangeAspect="1"/>
              </p:cNvSpPr>
              <p:nvPr/>
            </p:nvSpPr>
            <p:spPr bwMode="auto">
              <a:xfrm>
                <a:off x="3023" y="3273"/>
                <a:ext cx="27" cy="13"/>
              </a:xfrm>
              <a:custGeom>
                <a:avLst/>
                <a:gdLst>
                  <a:gd name="T0" fmla="*/ 0 w 27"/>
                  <a:gd name="T1" fmla="*/ 0 h 13"/>
                  <a:gd name="T2" fmla="*/ 11 w 27"/>
                  <a:gd name="T3" fmla="*/ 6 h 13"/>
                  <a:gd name="T4" fmla="*/ 27 w 27"/>
                  <a:gd name="T5" fmla="*/ 4 h 13"/>
                  <a:gd name="T6" fmla="*/ 12 w 27"/>
                  <a:gd name="T7" fmla="*/ 13 h 13"/>
                  <a:gd name="T8" fmla="*/ 0 w 27"/>
                  <a:gd name="T9" fmla="*/ 0 h 1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7"/>
                  <a:gd name="T16" fmla="*/ 0 h 13"/>
                  <a:gd name="T17" fmla="*/ 27 w 27"/>
                  <a:gd name="T18" fmla="*/ 13 h 1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7" h="13">
                    <a:moveTo>
                      <a:pt x="0" y="0"/>
                    </a:moveTo>
                    <a:cubicBezTo>
                      <a:pt x="3" y="3"/>
                      <a:pt x="11" y="6"/>
                      <a:pt x="11" y="6"/>
                    </a:cubicBezTo>
                    <a:cubicBezTo>
                      <a:pt x="17" y="5"/>
                      <a:pt x="22" y="3"/>
                      <a:pt x="27" y="4"/>
                    </a:cubicBezTo>
                    <a:cubicBezTo>
                      <a:pt x="24" y="12"/>
                      <a:pt x="19" y="12"/>
                      <a:pt x="12" y="13"/>
                    </a:cubicBezTo>
                    <a:cubicBezTo>
                      <a:pt x="5" y="11"/>
                      <a:pt x="0" y="8"/>
                      <a:pt x="0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170" name="Freeform 42"/>
              <p:cNvSpPr>
                <a:spLocks noChangeAspect="1"/>
              </p:cNvSpPr>
              <p:nvPr/>
            </p:nvSpPr>
            <p:spPr bwMode="auto">
              <a:xfrm>
                <a:off x="3008" y="3284"/>
                <a:ext cx="55" cy="11"/>
              </a:xfrm>
              <a:custGeom>
                <a:avLst/>
                <a:gdLst>
                  <a:gd name="T0" fmla="*/ 12 w 55"/>
                  <a:gd name="T1" fmla="*/ 4 h 11"/>
                  <a:gd name="T2" fmla="*/ 55 w 55"/>
                  <a:gd name="T3" fmla="*/ 4 h 11"/>
                  <a:gd name="T4" fmla="*/ 31 w 55"/>
                  <a:gd name="T5" fmla="*/ 8 h 11"/>
                  <a:gd name="T6" fmla="*/ 12 w 55"/>
                  <a:gd name="T7" fmla="*/ 4 h 11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55"/>
                  <a:gd name="T13" fmla="*/ 0 h 11"/>
                  <a:gd name="T14" fmla="*/ 55 w 55"/>
                  <a:gd name="T15" fmla="*/ 11 h 11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55" h="11">
                    <a:moveTo>
                      <a:pt x="12" y="4"/>
                    </a:moveTo>
                    <a:cubicBezTo>
                      <a:pt x="27" y="0"/>
                      <a:pt x="39" y="2"/>
                      <a:pt x="55" y="4"/>
                    </a:cubicBezTo>
                    <a:cubicBezTo>
                      <a:pt x="53" y="11"/>
                      <a:pt x="38" y="7"/>
                      <a:pt x="31" y="8"/>
                    </a:cubicBezTo>
                    <a:cubicBezTo>
                      <a:pt x="25" y="7"/>
                      <a:pt x="0" y="11"/>
                      <a:pt x="12" y="4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171" name="Freeform 43"/>
              <p:cNvSpPr>
                <a:spLocks noChangeAspect="1"/>
              </p:cNvSpPr>
              <p:nvPr/>
            </p:nvSpPr>
            <p:spPr bwMode="auto">
              <a:xfrm>
                <a:off x="3032" y="3300"/>
                <a:ext cx="33" cy="9"/>
              </a:xfrm>
              <a:custGeom>
                <a:avLst/>
                <a:gdLst>
                  <a:gd name="T0" fmla="*/ 5 w 33"/>
                  <a:gd name="T1" fmla="*/ 2 h 9"/>
                  <a:gd name="T2" fmla="*/ 30 w 33"/>
                  <a:gd name="T3" fmla="*/ 2 h 9"/>
                  <a:gd name="T4" fmla="*/ 19 w 33"/>
                  <a:gd name="T5" fmla="*/ 9 h 9"/>
                  <a:gd name="T6" fmla="*/ 5 w 33"/>
                  <a:gd name="T7" fmla="*/ 8 h 9"/>
                  <a:gd name="T8" fmla="*/ 5 w 33"/>
                  <a:gd name="T9" fmla="*/ 2 h 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3"/>
                  <a:gd name="T16" fmla="*/ 0 h 9"/>
                  <a:gd name="T17" fmla="*/ 33 w 33"/>
                  <a:gd name="T18" fmla="*/ 9 h 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3" h="9">
                    <a:moveTo>
                      <a:pt x="5" y="2"/>
                    </a:moveTo>
                    <a:cubicBezTo>
                      <a:pt x="6" y="2"/>
                      <a:pt x="27" y="0"/>
                      <a:pt x="30" y="2"/>
                    </a:cubicBezTo>
                    <a:cubicBezTo>
                      <a:pt x="33" y="4"/>
                      <a:pt x="19" y="9"/>
                      <a:pt x="19" y="9"/>
                    </a:cubicBezTo>
                    <a:cubicBezTo>
                      <a:pt x="14" y="9"/>
                      <a:pt x="9" y="9"/>
                      <a:pt x="5" y="8"/>
                    </a:cubicBezTo>
                    <a:cubicBezTo>
                      <a:pt x="0" y="6"/>
                      <a:pt x="5" y="0"/>
                      <a:pt x="5" y="2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172" name="Freeform 44"/>
              <p:cNvSpPr>
                <a:spLocks noChangeAspect="1"/>
              </p:cNvSpPr>
              <p:nvPr/>
            </p:nvSpPr>
            <p:spPr bwMode="auto">
              <a:xfrm>
                <a:off x="3074" y="3312"/>
                <a:ext cx="20" cy="10"/>
              </a:xfrm>
              <a:custGeom>
                <a:avLst/>
                <a:gdLst>
                  <a:gd name="T0" fmla="*/ 0 w 20"/>
                  <a:gd name="T1" fmla="*/ 2 h 10"/>
                  <a:gd name="T2" fmla="*/ 20 w 20"/>
                  <a:gd name="T3" fmla="*/ 4 h 10"/>
                  <a:gd name="T4" fmla="*/ 0 w 20"/>
                  <a:gd name="T5" fmla="*/ 2 h 10"/>
                  <a:gd name="T6" fmla="*/ 0 60000 65536"/>
                  <a:gd name="T7" fmla="*/ 0 60000 65536"/>
                  <a:gd name="T8" fmla="*/ 0 60000 65536"/>
                  <a:gd name="T9" fmla="*/ 0 w 20"/>
                  <a:gd name="T10" fmla="*/ 0 h 10"/>
                  <a:gd name="T11" fmla="*/ 20 w 20"/>
                  <a:gd name="T12" fmla="*/ 10 h 10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0" h="10">
                    <a:moveTo>
                      <a:pt x="0" y="2"/>
                    </a:moveTo>
                    <a:cubicBezTo>
                      <a:pt x="6" y="0"/>
                      <a:pt x="14" y="2"/>
                      <a:pt x="20" y="4"/>
                    </a:cubicBezTo>
                    <a:cubicBezTo>
                      <a:pt x="20" y="4"/>
                      <a:pt x="0" y="10"/>
                      <a:pt x="0" y="2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173" name="Freeform 45"/>
              <p:cNvSpPr>
                <a:spLocks noChangeAspect="1"/>
              </p:cNvSpPr>
              <p:nvPr/>
            </p:nvSpPr>
            <p:spPr bwMode="auto">
              <a:xfrm>
                <a:off x="2859" y="3044"/>
                <a:ext cx="302" cy="289"/>
              </a:xfrm>
              <a:custGeom>
                <a:avLst/>
                <a:gdLst>
                  <a:gd name="T0" fmla="*/ 248 w 302"/>
                  <a:gd name="T1" fmla="*/ 268 h 289"/>
                  <a:gd name="T2" fmla="*/ 235 w 302"/>
                  <a:gd name="T3" fmla="*/ 256 h 289"/>
                  <a:gd name="T4" fmla="*/ 220 w 302"/>
                  <a:gd name="T5" fmla="*/ 244 h 289"/>
                  <a:gd name="T6" fmla="*/ 192 w 302"/>
                  <a:gd name="T7" fmla="*/ 215 h 289"/>
                  <a:gd name="T8" fmla="*/ 170 w 302"/>
                  <a:gd name="T9" fmla="*/ 193 h 289"/>
                  <a:gd name="T10" fmla="*/ 131 w 302"/>
                  <a:gd name="T11" fmla="*/ 140 h 289"/>
                  <a:gd name="T12" fmla="*/ 119 w 302"/>
                  <a:gd name="T13" fmla="*/ 98 h 289"/>
                  <a:gd name="T14" fmla="*/ 158 w 302"/>
                  <a:gd name="T15" fmla="*/ 101 h 289"/>
                  <a:gd name="T16" fmla="*/ 196 w 302"/>
                  <a:gd name="T17" fmla="*/ 101 h 289"/>
                  <a:gd name="T18" fmla="*/ 244 w 302"/>
                  <a:gd name="T19" fmla="*/ 94 h 289"/>
                  <a:gd name="T20" fmla="*/ 277 w 302"/>
                  <a:gd name="T21" fmla="*/ 110 h 289"/>
                  <a:gd name="T22" fmla="*/ 293 w 302"/>
                  <a:gd name="T23" fmla="*/ 91 h 289"/>
                  <a:gd name="T24" fmla="*/ 295 w 302"/>
                  <a:gd name="T25" fmla="*/ 77 h 289"/>
                  <a:gd name="T26" fmla="*/ 283 w 302"/>
                  <a:gd name="T27" fmla="*/ 67 h 289"/>
                  <a:gd name="T28" fmla="*/ 275 w 302"/>
                  <a:gd name="T29" fmla="*/ 53 h 289"/>
                  <a:gd name="T30" fmla="*/ 250 w 302"/>
                  <a:gd name="T31" fmla="*/ 44 h 289"/>
                  <a:gd name="T32" fmla="*/ 204 w 302"/>
                  <a:gd name="T33" fmla="*/ 44 h 289"/>
                  <a:gd name="T34" fmla="*/ 186 w 302"/>
                  <a:gd name="T35" fmla="*/ 30 h 289"/>
                  <a:gd name="T36" fmla="*/ 145 w 302"/>
                  <a:gd name="T37" fmla="*/ 4 h 289"/>
                  <a:gd name="T38" fmla="*/ 133 w 302"/>
                  <a:gd name="T39" fmla="*/ 7 h 289"/>
                  <a:gd name="T40" fmla="*/ 109 w 302"/>
                  <a:gd name="T41" fmla="*/ 25 h 289"/>
                  <a:gd name="T42" fmla="*/ 91 w 302"/>
                  <a:gd name="T43" fmla="*/ 64 h 289"/>
                  <a:gd name="T44" fmla="*/ 85 w 302"/>
                  <a:gd name="T45" fmla="*/ 90 h 289"/>
                  <a:gd name="T46" fmla="*/ 62 w 302"/>
                  <a:gd name="T47" fmla="*/ 86 h 289"/>
                  <a:gd name="T48" fmla="*/ 54 w 302"/>
                  <a:gd name="T49" fmla="*/ 76 h 289"/>
                  <a:gd name="T50" fmla="*/ 47 w 302"/>
                  <a:gd name="T51" fmla="*/ 88 h 289"/>
                  <a:gd name="T52" fmla="*/ 34 w 302"/>
                  <a:gd name="T53" fmla="*/ 89 h 289"/>
                  <a:gd name="T54" fmla="*/ 20 w 302"/>
                  <a:gd name="T55" fmla="*/ 89 h 289"/>
                  <a:gd name="T56" fmla="*/ 1 w 302"/>
                  <a:gd name="T57" fmla="*/ 95 h 289"/>
                  <a:gd name="T58" fmla="*/ 16 w 302"/>
                  <a:gd name="T59" fmla="*/ 122 h 289"/>
                  <a:gd name="T60" fmla="*/ 34 w 302"/>
                  <a:gd name="T61" fmla="*/ 115 h 289"/>
                  <a:gd name="T62" fmla="*/ 52 w 302"/>
                  <a:gd name="T63" fmla="*/ 97 h 289"/>
                  <a:gd name="T64" fmla="*/ 76 w 302"/>
                  <a:gd name="T65" fmla="*/ 112 h 289"/>
                  <a:gd name="T66" fmla="*/ 88 w 302"/>
                  <a:gd name="T67" fmla="*/ 145 h 289"/>
                  <a:gd name="T68" fmla="*/ 103 w 302"/>
                  <a:gd name="T69" fmla="*/ 168 h 289"/>
                  <a:gd name="T70" fmla="*/ 121 w 302"/>
                  <a:gd name="T71" fmla="*/ 199 h 289"/>
                  <a:gd name="T72" fmla="*/ 192 w 302"/>
                  <a:gd name="T73" fmla="*/ 229 h 289"/>
                  <a:gd name="T74" fmla="*/ 209 w 302"/>
                  <a:gd name="T75" fmla="*/ 246 h 289"/>
                  <a:gd name="T76" fmla="*/ 239 w 302"/>
                  <a:gd name="T77" fmla="*/ 266 h 289"/>
                  <a:gd name="T78" fmla="*/ 262 w 302"/>
                  <a:gd name="T79" fmla="*/ 278 h 289"/>
                  <a:gd name="T80" fmla="*/ 275 w 302"/>
                  <a:gd name="T81" fmla="*/ 289 h 289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w 302"/>
                  <a:gd name="T124" fmla="*/ 0 h 289"/>
                  <a:gd name="T125" fmla="*/ 302 w 302"/>
                  <a:gd name="T126" fmla="*/ 289 h 289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T123" t="T124" r="T125" b="T126"/>
                <a:pathLst>
                  <a:path w="302" h="289">
                    <a:moveTo>
                      <a:pt x="275" y="289"/>
                    </a:moveTo>
                    <a:cubicBezTo>
                      <a:pt x="272" y="273"/>
                      <a:pt x="260" y="274"/>
                      <a:pt x="248" y="268"/>
                    </a:cubicBezTo>
                    <a:cubicBezTo>
                      <a:pt x="246" y="265"/>
                      <a:pt x="243" y="262"/>
                      <a:pt x="241" y="260"/>
                    </a:cubicBezTo>
                    <a:cubicBezTo>
                      <a:pt x="239" y="258"/>
                      <a:pt x="235" y="256"/>
                      <a:pt x="235" y="256"/>
                    </a:cubicBezTo>
                    <a:cubicBezTo>
                      <a:pt x="233" y="251"/>
                      <a:pt x="231" y="248"/>
                      <a:pt x="226" y="246"/>
                    </a:cubicBezTo>
                    <a:cubicBezTo>
                      <a:pt x="224" y="245"/>
                      <a:pt x="220" y="244"/>
                      <a:pt x="220" y="244"/>
                    </a:cubicBezTo>
                    <a:cubicBezTo>
                      <a:pt x="213" y="237"/>
                      <a:pt x="210" y="232"/>
                      <a:pt x="204" y="223"/>
                    </a:cubicBezTo>
                    <a:cubicBezTo>
                      <a:pt x="199" y="218"/>
                      <a:pt x="196" y="218"/>
                      <a:pt x="192" y="215"/>
                    </a:cubicBezTo>
                    <a:cubicBezTo>
                      <a:pt x="190" y="206"/>
                      <a:pt x="189" y="204"/>
                      <a:pt x="180" y="203"/>
                    </a:cubicBezTo>
                    <a:cubicBezTo>
                      <a:pt x="175" y="201"/>
                      <a:pt x="175" y="196"/>
                      <a:pt x="170" y="193"/>
                    </a:cubicBezTo>
                    <a:cubicBezTo>
                      <a:pt x="158" y="185"/>
                      <a:pt x="152" y="173"/>
                      <a:pt x="145" y="162"/>
                    </a:cubicBezTo>
                    <a:cubicBezTo>
                      <a:pt x="141" y="154"/>
                      <a:pt x="137" y="146"/>
                      <a:pt x="131" y="140"/>
                    </a:cubicBezTo>
                    <a:cubicBezTo>
                      <a:pt x="127" y="136"/>
                      <a:pt x="119" y="131"/>
                      <a:pt x="119" y="131"/>
                    </a:cubicBezTo>
                    <a:cubicBezTo>
                      <a:pt x="115" y="120"/>
                      <a:pt x="115" y="110"/>
                      <a:pt x="119" y="98"/>
                    </a:cubicBezTo>
                    <a:cubicBezTo>
                      <a:pt x="129" y="100"/>
                      <a:pt x="132" y="105"/>
                      <a:pt x="140" y="110"/>
                    </a:cubicBezTo>
                    <a:cubicBezTo>
                      <a:pt x="153" y="109"/>
                      <a:pt x="150" y="107"/>
                      <a:pt x="158" y="101"/>
                    </a:cubicBezTo>
                    <a:cubicBezTo>
                      <a:pt x="160" y="98"/>
                      <a:pt x="162" y="96"/>
                      <a:pt x="166" y="95"/>
                    </a:cubicBezTo>
                    <a:cubicBezTo>
                      <a:pt x="181" y="96"/>
                      <a:pt x="184" y="97"/>
                      <a:pt x="196" y="101"/>
                    </a:cubicBezTo>
                    <a:cubicBezTo>
                      <a:pt x="209" y="100"/>
                      <a:pt x="219" y="98"/>
                      <a:pt x="232" y="97"/>
                    </a:cubicBezTo>
                    <a:cubicBezTo>
                      <a:pt x="236" y="96"/>
                      <a:pt x="244" y="94"/>
                      <a:pt x="244" y="94"/>
                    </a:cubicBezTo>
                    <a:cubicBezTo>
                      <a:pt x="250" y="96"/>
                      <a:pt x="262" y="96"/>
                      <a:pt x="268" y="97"/>
                    </a:cubicBezTo>
                    <a:cubicBezTo>
                      <a:pt x="274" y="103"/>
                      <a:pt x="269" y="109"/>
                      <a:pt x="277" y="110"/>
                    </a:cubicBezTo>
                    <a:cubicBezTo>
                      <a:pt x="284" y="113"/>
                      <a:pt x="286" y="111"/>
                      <a:pt x="292" y="107"/>
                    </a:cubicBezTo>
                    <a:cubicBezTo>
                      <a:pt x="293" y="102"/>
                      <a:pt x="290" y="96"/>
                      <a:pt x="293" y="91"/>
                    </a:cubicBezTo>
                    <a:cubicBezTo>
                      <a:pt x="295" y="88"/>
                      <a:pt x="302" y="84"/>
                      <a:pt x="302" y="84"/>
                    </a:cubicBezTo>
                    <a:cubicBezTo>
                      <a:pt x="301" y="79"/>
                      <a:pt x="300" y="79"/>
                      <a:pt x="295" y="77"/>
                    </a:cubicBezTo>
                    <a:cubicBezTo>
                      <a:pt x="293" y="73"/>
                      <a:pt x="288" y="71"/>
                      <a:pt x="284" y="70"/>
                    </a:cubicBezTo>
                    <a:cubicBezTo>
                      <a:pt x="284" y="69"/>
                      <a:pt x="284" y="68"/>
                      <a:pt x="283" y="67"/>
                    </a:cubicBezTo>
                    <a:cubicBezTo>
                      <a:pt x="282" y="66"/>
                      <a:pt x="280" y="67"/>
                      <a:pt x="280" y="66"/>
                    </a:cubicBezTo>
                    <a:cubicBezTo>
                      <a:pt x="274" y="51"/>
                      <a:pt x="282" y="58"/>
                      <a:pt x="275" y="53"/>
                    </a:cubicBezTo>
                    <a:cubicBezTo>
                      <a:pt x="272" y="44"/>
                      <a:pt x="272" y="47"/>
                      <a:pt x="271" y="34"/>
                    </a:cubicBezTo>
                    <a:cubicBezTo>
                      <a:pt x="263" y="37"/>
                      <a:pt x="258" y="41"/>
                      <a:pt x="250" y="44"/>
                    </a:cubicBezTo>
                    <a:cubicBezTo>
                      <a:pt x="248" y="45"/>
                      <a:pt x="244" y="48"/>
                      <a:pt x="244" y="48"/>
                    </a:cubicBezTo>
                    <a:cubicBezTo>
                      <a:pt x="230" y="47"/>
                      <a:pt x="218" y="46"/>
                      <a:pt x="204" y="44"/>
                    </a:cubicBezTo>
                    <a:cubicBezTo>
                      <a:pt x="201" y="41"/>
                      <a:pt x="200" y="36"/>
                      <a:pt x="196" y="35"/>
                    </a:cubicBezTo>
                    <a:cubicBezTo>
                      <a:pt x="193" y="31"/>
                      <a:pt x="191" y="31"/>
                      <a:pt x="186" y="30"/>
                    </a:cubicBezTo>
                    <a:cubicBezTo>
                      <a:pt x="183" y="22"/>
                      <a:pt x="163" y="16"/>
                      <a:pt x="155" y="13"/>
                    </a:cubicBezTo>
                    <a:cubicBezTo>
                      <a:pt x="150" y="6"/>
                      <a:pt x="150" y="6"/>
                      <a:pt x="145" y="4"/>
                    </a:cubicBezTo>
                    <a:cubicBezTo>
                      <a:pt x="145" y="4"/>
                      <a:pt x="141" y="0"/>
                      <a:pt x="139" y="1"/>
                    </a:cubicBezTo>
                    <a:cubicBezTo>
                      <a:pt x="137" y="2"/>
                      <a:pt x="133" y="7"/>
                      <a:pt x="133" y="7"/>
                    </a:cubicBezTo>
                    <a:cubicBezTo>
                      <a:pt x="132" y="13"/>
                      <a:pt x="126" y="19"/>
                      <a:pt x="119" y="22"/>
                    </a:cubicBezTo>
                    <a:cubicBezTo>
                      <a:pt x="116" y="23"/>
                      <a:pt x="109" y="25"/>
                      <a:pt x="109" y="25"/>
                    </a:cubicBezTo>
                    <a:cubicBezTo>
                      <a:pt x="104" y="32"/>
                      <a:pt x="107" y="41"/>
                      <a:pt x="110" y="49"/>
                    </a:cubicBezTo>
                    <a:cubicBezTo>
                      <a:pt x="108" y="54"/>
                      <a:pt x="96" y="58"/>
                      <a:pt x="91" y="64"/>
                    </a:cubicBezTo>
                    <a:cubicBezTo>
                      <a:pt x="93" y="71"/>
                      <a:pt x="94" y="74"/>
                      <a:pt x="95" y="82"/>
                    </a:cubicBezTo>
                    <a:cubicBezTo>
                      <a:pt x="92" y="84"/>
                      <a:pt x="88" y="89"/>
                      <a:pt x="85" y="90"/>
                    </a:cubicBezTo>
                    <a:cubicBezTo>
                      <a:pt x="78" y="89"/>
                      <a:pt x="78" y="89"/>
                      <a:pt x="76" y="83"/>
                    </a:cubicBezTo>
                    <a:cubicBezTo>
                      <a:pt x="71" y="84"/>
                      <a:pt x="67" y="85"/>
                      <a:pt x="62" y="86"/>
                    </a:cubicBezTo>
                    <a:cubicBezTo>
                      <a:pt x="52" y="84"/>
                      <a:pt x="63" y="88"/>
                      <a:pt x="56" y="72"/>
                    </a:cubicBezTo>
                    <a:cubicBezTo>
                      <a:pt x="55" y="71"/>
                      <a:pt x="55" y="75"/>
                      <a:pt x="54" y="76"/>
                    </a:cubicBezTo>
                    <a:cubicBezTo>
                      <a:pt x="52" y="79"/>
                      <a:pt x="52" y="79"/>
                      <a:pt x="49" y="82"/>
                    </a:cubicBezTo>
                    <a:cubicBezTo>
                      <a:pt x="48" y="84"/>
                      <a:pt x="48" y="86"/>
                      <a:pt x="47" y="88"/>
                    </a:cubicBezTo>
                    <a:cubicBezTo>
                      <a:pt x="46" y="90"/>
                      <a:pt x="41" y="90"/>
                      <a:pt x="41" y="90"/>
                    </a:cubicBezTo>
                    <a:cubicBezTo>
                      <a:pt x="39" y="90"/>
                      <a:pt x="36" y="90"/>
                      <a:pt x="34" y="89"/>
                    </a:cubicBezTo>
                    <a:cubicBezTo>
                      <a:pt x="33" y="89"/>
                      <a:pt x="33" y="86"/>
                      <a:pt x="32" y="86"/>
                    </a:cubicBezTo>
                    <a:cubicBezTo>
                      <a:pt x="28" y="86"/>
                      <a:pt x="20" y="89"/>
                      <a:pt x="20" y="89"/>
                    </a:cubicBezTo>
                    <a:cubicBezTo>
                      <a:pt x="15" y="92"/>
                      <a:pt x="10" y="95"/>
                      <a:pt x="5" y="96"/>
                    </a:cubicBezTo>
                    <a:cubicBezTo>
                      <a:pt x="4" y="96"/>
                      <a:pt x="0" y="95"/>
                      <a:pt x="1" y="95"/>
                    </a:cubicBezTo>
                    <a:cubicBezTo>
                      <a:pt x="3" y="95"/>
                      <a:pt x="5" y="94"/>
                      <a:pt x="6" y="96"/>
                    </a:cubicBezTo>
                    <a:cubicBezTo>
                      <a:pt x="12" y="113"/>
                      <a:pt x="3" y="113"/>
                      <a:pt x="16" y="122"/>
                    </a:cubicBezTo>
                    <a:cubicBezTo>
                      <a:pt x="18" y="127"/>
                      <a:pt x="18" y="133"/>
                      <a:pt x="22" y="136"/>
                    </a:cubicBezTo>
                    <a:cubicBezTo>
                      <a:pt x="30" y="132"/>
                      <a:pt x="30" y="123"/>
                      <a:pt x="34" y="115"/>
                    </a:cubicBezTo>
                    <a:cubicBezTo>
                      <a:pt x="35" y="109"/>
                      <a:pt x="35" y="104"/>
                      <a:pt x="40" y="101"/>
                    </a:cubicBezTo>
                    <a:cubicBezTo>
                      <a:pt x="45" y="94"/>
                      <a:pt x="44" y="94"/>
                      <a:pt x="52" y="97"/>
                    </a:cubicBezTo>
                    <a:cubicBezTo>
                      <a:pt x="55" y="101"/>
                      <a:pt x="64" y="104"/>
                      <a:pt x="64" y="104"/>
                    </a:cubicBezTo>
                    <a:cubicBezTo>
                      <a:pt x="67" y="108"/>
                      <a:pt x="72" y="109"/>
                      <a:pt x="76" y="112"/>
                    </a:cubicBezTo>
                    <a:cubicBezTo>
                      <a:pt x="78" y="113"/>
                      <a:pt x="82" y="114"/>
                      <a:pt x="82" y="114"/>
                    </a:cubicBezTo>
                    <a:cubicBezTo>
                      <a:pt x="75" y="123"/>
                      <a:pt x="78" y="138"/>
                      <a:pt x="88" y="145"/>
                    </a:cubicBezTo>
                    <a:cubicBezTo>
                      <a:pt x="90" y="151"/>
                      <a:pt x="90" y="153"/>
                      <a:pt x="95" y="156"/>
                    </a:cubicBezTo>
                    <a:cubicBezTo>
                      <a:pt x="96" y="161"/>
                      <a:pt x="98" y="165"/>
                      <a:pt x="103" y="168"/>
                    </a:cubicBezTo>
                    <a:cubicBezTo>
                      <a:pt x="104" y="174"/>
                      <a:pt x="107" y="186"/>
                      <a:pt x="112" y="191"/>
                    </a:cubicBezTo>
                    <a:cubicBezTo>
                      <a:pt x="115" y="194"/>
                      <a:pt x="121" y="199"/>
                      <a:pt x="121" y="199"/>
                    </a:cubicBezTo>
                    <a:cubicBezTo>
                      <a:pt x="122" y="203"/>
                      <a:pt x="126" y="208"/>
                      <a:pt x="130" y="210"/>
                    </a:cubicBezTo>
                    <a:cubicBezTo>
                      <a:pt x="136" y="233"/>
                      <a:pt x="173" y="228"/>
                      <a:pt x="192" y="229"/>
                    </a:cubicBezTo>
                    <a:cubicBezTo>
                      <a:pt x="195" y="231"/>
                      <a:pt x="202" y="236"/>
                      <a:pt x="202" y="236"/>
                    </a:cubicBezTo>
                    <a:cubicBezTo>
                      <a:pt x="203" y="240"/>
                      <a:pt x="205" y="245"/>
                      <a:pt x="209" y="246"/>
                    </a:cubicBezTo>
                    <a:cubicBezTo>
                      <a:pt x="212" y="252"/>
                      <a:pt x="221" y="257"/>
                      <a:pt x="226" y="262"/>
                    </a:cubicBezTo>
                    <a:cubicBezTo>
                      <a:pt x="229" y="265"/>
                      <a:pt x="239" y="266"/>
                      <a:pt x="239" y="266"/>
                    </a:cubicBezTo>
                    <a:cubicBezTo>
                      <a:pt x="242" y="270"/>
                      <a:pt x="246" y="274"/>
                      <a:pt x="251" y="275"/>
                    </a:cubicBezTo>
                    <a:cubicBezTo>
                      <a:pt x="255" y="276"/>
                      <a:pt x="262" y="278"/>
                      <a:pt x="262" y="278"/>
                    </a:cubicBezTo>
                    <a:cubicBezTo>
                      <a:pt x="264" y="280"/>
                      <a:pt x="265" y="281"/>
                      <a:pt x="266" y="282"/>
                    </a:cubicBezTo>
                    <a:lnTo>
                      <a:pt x="275" y="289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</p:grpSp>
        <p:grpSp>
          <p:nvGrpSpPr>
            <p:cNvPr id="85" name="Group 46"/>
            <p:cNvGrpSpPr>
              <a:grpSpLocks/>
            </p:cNvGrpSpPr>
            <p:nvPr/>
          </p:nvGrpSpPr>
          <p:grpSpPr bwMode="auto">
            <a:xfrm>
              <a:off x="2362" y="3183"/>
              <a:ext cx="666" cy="766"/>
              <a:chOff x="1971" y="6871"/>
              <a:chExt cx="2639" cy="3027"/>
            </a:xfrm>
            <a:grpFill/>
          </p:grpSpPr>
          <p:sp>
            <p:nvSpPr>
              <p:cNvPr id="161" name="Freeform 47"/>
              <p:cNvSpPr>
                <a:spLocks noChangeAspect="1"/>
              </p:cNvSpPr>
              <p:nvPr/>
            </p:nvSpPr>
            <p:spPr bwMode="auto">
              <a:xfrm>
                <a:off x="3259" y="9410"/>
                <a:ext cx="764" cy="488"/>
              </a:xfrm>
              <a:custGeom>
                <a:avLst/>
                <a:gdLst>
                  <a:gd name="T0" fmla="*/ 2147483647 w 191"/>
                  <a:gd name="T1" fmla="*/ 0 h 122"/>
                  <a:gd name="T2" fmla="*/ 2147483647 w 191"/>
                  <a:gd name="T3" fmla="*/ 2147483647 h 122"/>
                  <a:gd name="T4" fmla="*/ 2147483647 w 191"/>
                  <a:gd name="T5" fmla="*/ 2147483647 h 122"/>
                  <a:gd name="T6" fmla="*/ 2147483647 w 191"/>
                  <a:gd name="T7" fmla="*/ 2147483647 h 122"/>
                  <a:gd name="T8" fmla="*/ 2147483647 w 191"/>
                  <a:gd name="T9" fmla="*/ 2147483647 h 122"/>
                  <a:gd name="T10" fmla="*/ 2147483647 w 191"/>
                  <a:gd name="T11" fmla="*/ 2147483647 h 122"/>
                  <a:gd name="T12" fmla="*/ 2147483647 w 191"/>
                  <a:gd name="T13" fmla="*/ 2147483647 h 122"/>
                  <a:gd name="T14" fmla="*/ 2147483647 w 191"/>
                  <a:gd name="T15" fmla="*/ 2147483647 h 122"/>
                  <a:gd name="T16" fmla="*/ 2147483647 w 191"/>
                  <a:gd name="T17" fmla="*/ 2147483647 h 122"/>
                  <a:gd name="T18" fmla="*/ 2147483647 w 191"/>
                  <a:gd name="T19" fmla="*/ 2147483647 h 122"/>
                  <a:gd name="T20" fmla="*/ 2147483647 w 191"/>
                  <a:gd name="T21" fmla="*/ 2147483647 h 122"/>
                  <a:gd name="T22" fmla="*/ 2147483647 w 191"/>
                  <a:gd name="T23" fmla="*/ 2147483647 h 122"/>
                  <a:gd name="T24" fmla="*/ 2147483647 w 191"/>
                  <a:gd name="T25" fmla="*/ 2147483647 h 122"/>
                  <a:gd name="T26" fmla="*/ 2147483647 w 191"/>
                  <a:gd name="T27" fmla="*/ 2147483647 h 122"/>
                  <a:gd name="T28" fmla="*/ 2147483647 w 191"/>
                  <a:gd name="T29" fmla="*/ 2147483647 h 122"/>
                  <a:gd name="T30" fmla="*/ 0 w 191"/>
                  <a:gd name="T31" fmla="*/ 2147483647 h 122"/>
                  <a:gd name="T32" fmla="*/ 2147483647 w 191"/>
                  <a:gd name="T33" fmla="*/ 2147483647 h 122"/>
                  <a:gd name="T34" fmla="*/ 2147483647 w 191"/>
                  <a:gd name="T35" fmla="*/ 2147483647 h 122"/>
                  <a:gd name="T36" fmla="*/ 2147483647 w 191"/>
                  <a:gd name="T37" fmla="*/ 2147483647 h 122"/>
                  <a:gd name="T38" fmla="*/ 2147483647 w 191"/>
                  <a:gd name="T39" fmla="*/ 2147483647 h 122"/>
                  <a:gd name="T40" fmla="*/ 2147483647 w 191"/>
                  <a:gd name="T41" fmla="*/ 2147483647 h 122"/>
                  <a:gd name="T42" fmla="*/ 2147483647 w 191"/>
                  <a:gd name="T43" fmla="*/ 2147483647 h 122"/>
                  <a:gd name="T44" fmla="*/ 2147483647 w 191"/>
                  <a:gd name="T45" fmla="*/ 2147483647 h 122"/>
                  <a:gd name="T46" fmla="*/ 2147483647 w 191"/>
                  <a:gd name="T47" fmla="*/ 2147483647 h 122"/>
                  <a:gd name="T48" fmla="*/ 2147483647 w 191"/>
                  <a:gd name="T49" fmla="*/ 2147483647 h 122"/>
                  <a:gd name="T50" fmla="*/ 2147483647 w 191"/>
                  <a:gd name="T51" fmla="*/ 2147483647 h 122"/>
                  <a:gd name="T52" fmla="*/ 2147483647 w 191"/>
                  <a:gd name="T53" fmla="*/ 2147483647 h 122"/>
                  <a:gd name="T54" fmla="*/ 2147483647 w 191"/>
                  <a:gd name="T55" fmla="*/ 2147483647 h 122"/>
                  <a:gd name="T56" fmla="*/ 2147483647 w 191"/>
                  <a:gd name="T57" fmla="*/ 2147483647 h 122"/>
                  <a:gd name="T58" fmla="*/ 2147483647 w 191"/>
                  <a:gd name="T59" fmla="*/ 2147483647 h 122"/>
                  <a:gd name="T60" fmla="*/ 2147483647 w 191"/>
                  <a:gd name="T61" fmla="*/ 2147483647 h 122"/>
                  <a:gd name="T62" fmla="*/ 2147483647 w 191"/>
                  <a:gd name="T63" fmla="*/ 2147483647 h 122"/>
                  <a:gd name="T64" fmla="*/ 2147483647 w 191"/>
                  <a:gd name="T65" fmla="*/ 2147483647 h 122"/>
                  <a:gd name="T66" fmla="*/ 2147483647 w 191"/>
                  <a:gd name="T67" fmla="*/ 2147483647 h 122"/>
                  <a:gd name="T68" fmla="*/ 2147483647 w 191"/>
                  <a:gd name="T69" fmla="*/ 2147483647 h 122"/>
                  <a:gd name="T70" fmla="*/ 2147483647 w 191"/>
                  <a:gd name="T71" fmla="*/ 2147483647 h 122"/>
                  <a:gd name="T72" fmla="*/ 2147483647 w 191"/>
                  <a:gd name="T73" fmla="*/ 2147483647 h 122"/>
                  <a:gd name="T74" fmla="*/ 2147483647 w 191"/>
                  <a:gd name="T75" fmla="*/ 0 h 122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191"/>
                  <a:gd name="T115" fmla="*/ 0 h 122"/>
                  <a:gd name="T116" fmla="*/ 191 w 191"/>
                  <a:gd name="T117" fmla="*/ 122 h 122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191" h="122">
                    <a:moveTo>
                      <a:pt x="180" y="0"/>
                    </a:moveTo>
                    <a:cubicBezTo>
                      <a:pt x="174" y="2"/>
                      <a:pt x="171" y="6"/>
                      <a:pt x="165" y="8"/>
                    </a:cubicBezTo>
                    <a:cubicBezTo>
                      <a:pt x="162" y="11"/>
                      <a:pt x="159" y="12"/>
                      <a:pt x="156" y="14"/>
                    </a:cubicBezTo>
                    <a:cubicBezTo>
                      <a:pt x="149" y="13"/>
                      <a:pt x="142" y="11"/>
                      <a:pt x="135" y="13"/>
                    </a:cubicBezTo>
                    <a:cubicBezTo>
                      <a:pt x="129" y="21"/>
                      <a:pt x="124" y="24"/>
                      <a:pt x="114" y="25"/>
                    </a:cubicBezTo>
                    <a:cubicBezTo>
                      <a:pt x="107" y="27"/>
                      <a:pt x="104" y="26"/>
                      <a:pt x="97" y="24"/>
                    </a:cubicBezTo>
                    <a:cubicBezTo>
                      <a:pt x="89" y="25"/>
                      <a:pt x="86" y="30"/>
                      <a:pt x="78" y="33"/>
                    </a:cubicBezTo>
                    <a:cubicBezTo>
                      <a:pt x="71" y="31"/>
                      <a:pt x="72" y="27"/>
                      <a:pt x="63" y="26"/>
                    </a:cubicBezTo>
                    <a:cubicBezTo>
                      <a:pt x="63" y="24"/>
                      <a:pt x="63" y="22"/>
                      <a:pt x="62" y="21"/>
                    </a:cubicBezTo>
                    <a:cubicBezTo>
                      <a:pt x="61" y="20"/>
                      <a:pt x="59" y="21"/>
                      <a:pt x="58" y="20"/>
                    </a:cubicBezTo>
                    <a:cubicBezTo>
                      <a:pt x="51" y="11"/>
                      <a:pt x="61" y="15"/>
                      <a:pt x="52" y="13"/>
                    </a:cubicBezTo>
                    <a:cubicBezTo>
                      <a:pt x="46" y="15"/>
                      <a:pt x="45" y="17"/>
                      <a:pt x="38" y="18"/>
                    </a:cubicBezTo>
                    <a:cubicBezTo>
                      <a:pt x="36" y="24"/>
                      <a:pt x="36" y="25"/>
                      <a:pt x="30" y="27"/>
                    </a:cubicBezTo>
                    <a:cubicBezTo>
                      <a:pt x="21" y="26"/>
                      <a:pt x="25" y="21"/>
                      <a:pt x="18" y="19"/>
                    </a:cubicBezTo>
                    <a:cubicBezTo>
                      <a:pt x="13" y="28"/>
                      <a:pt x="18" y="26"/>
                      <a:pt x="3" y="27"/>
                    </a:cubicBezTo>
                    <a:cubicBezTo>
                      <a:pt x="2" y="28"/>
                      <a:pt x="0" y="31"/>
                      <a:pt x="0" y="33"/>
                    </a:cubicBezTo>
                    <a:cubicBezTo>
                      <a:pt x="0" y="35"/>
                      <a:pt x="2" y="39"/>
                      <a:pt x="2" y="39"/>
                    </a:cubicBezTo>
                    <a:cubicBezTo>
                      <a:pt x="2" y="44"/>
                      <a:pt x="1" y="50"/>
                      <a:pt x="3" y="55"/>
                    </a:cubicBezTo>
                    <a:cubicBezTo>
                      <a:pt x="4" y="57"/>
                      <a:pt x="9" y="57"/>
                      <a:pt x="9" y="57"/>
                    </a:cubicBezTo>
                    <a:cubicBezTo>
                      <a:pt x="11" y="62"/>
                      <a:pt x="13" y="64"/>
                      <a:pt x="18" y="66"/>
                    </a:cubicBezTo>
                    <a:cubicBezTo>
                      <a:pt x="28" y="64"/>
                      <a:pt x="25" y="63"/>
                      <a:pt x="36" y="65"/>
                    </a:cubicBezTo>
                    <a:cubicBezTo>
                      <a:pt x="39" y="67"/>
                      <a:pt x="42" y="68"/>
                      <a:pt x="46" y="69"/>
                    </a:cubicBezTo>
                    <a:cubicBezTo>
                      <a:pt x="49" y="71"/>
                      <a:pt x="55" y="73"/>
                      <a:pt x="55" y="73"/>
                    </a:cubicBezTo>
                    <a:cubicBezTo>
                      <a:pt x="58" y="84"/>
                      <a:pt x="61" y="84"/>
                      <a:pt x="72" y="85"/>
                    </a:cubicBezTo>
                    <a:cubicBezTo>
                      <a:pt x="78" y="87"/>
                      <a:pt x="77" y="91"/>
                      <a:pt x="82" y="92"/>
                    </a:cubicBezTo>
                    <a:cubicBezTo>
                      <a:pt x="91" y="95"/>
                      <a:pt x="101" y="94"/>
                      <a:pt x="111" y="95"/>
                    </a:cubicBezTo>
                    <a:cubicBezTo>
                      <a:pt x="113" y="101"/>
                      <a:pt x="116" y="100"/>
                      <a:pt x="121" y="103"/>
                    </a:cubicBezTo>
                    <a:cubicBezTo>
                      <a:pt x="123" y="113"/>
                      <a:pt x="126" y="117"/>
                      <a:pt x="136" y="120"/>
                    </a:cubicBezTo>
                    <a:cubicBezTo>
                      <a:pt x="150" y="118"/>
                      <a:pt x="150" y="119"/>
                      <a:pt x="164" y="122"/>
                    </a:cubicBezTo>
                    <a:cubicBezTo>
                      <a:pt x="166" y="119"/>
                      <a:pt x="164" y="111"/>
                      <a:pt x="164" y="111"/>
                    </a:cubicBezTo>
                    <a:cubicBezTo>
                      <a:pt x="165" y="106"/>
                      <a:pt x="165" y="105"/>
                      <a:pt x="169" y="102"/>
                    </a:cubicBezTo>
                    <a:cubicBezTo>
                      <a:pt x="172" y="98"/>
                      <a:pt x="175" y="98"/>
                      <a:pt x="177" y="92"/>
                    </a:cubicBezTo>
                    <a:cubicBezTo>
                      <a:pt x="176" y="88"/>
                      <a:pt x="174" y="86"/>
                      <a:pt x="171" y="84"/>
                    </a:cubicBezTo>
                    <a:cubicBezTo>
                      <a:pt x="168" y="75"/>
                      <a:pt x="170" y="75"/>
                      <a:pt x="160" y="73"/>
                    </a:cubicBezTo>
                    <a:cubicBezTo>
                      <a:pt x="162" y="68"/>
                      <a:pt x="162" y="61"/>
                      <a:pt x="164" y="56"/>
                    </a:cubicBezTo>
                    <a:cubicBezTo>
                      <a:pt x="165" y="54"/>
                      <a:pt x="168" y="50"/>
                      <a:pt x="168" y="50"/>
                    </a:cubicBezTo>
                    <a:cubicBezTo>
                      <a:pt x="170" y="21"/>
                      <a:pt x="169" y="33"/>
                      <a:pt x="184" y="18"/>
                    </a:cubicBezTo>
                    <a:cubicBezTo>
                      <a:pt x="186" y="1"/>
                      <a:pt x="191" y="5"/>
                      <a:pt x="180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grpSp>
            <p:nvGrpSpPr>
              <p:cNvPr id="162" name="Group 48"/>
              <p:cNvGrpSpPr>
                <a:grpSpLocks noChangeAspect="1"/>
              </p:cNvGrpSpPr>
              <p:nvPr/>
            </p:nvGrpSpPr>
            <p:grpSpPr bwMode="auto">
              <a:xfrm>
                <a:off x="1971" y="6871"/>
                <a:ext cx="2639" cy="2667"/>
                <a:chOff x="2499" y="3020"/>
                <a:chExt cx="660" cy="667"/>
              </a:xfrm>
              <a:grpFill/>
            </p:grpSpPr>
            <p:sp>
              <p:nvSpPr>
                <p:cNvPr id="163" name="Freeform 49"/>
                <p:cNvSpPr>
                  <a:spLocks noChangeAspect="1"/>
                </p:cNvSpPr>
                <p:nvPr/>
              </p:nvSpPr>
              <p:spPr bwMode="auto">
                <a:xfrm>
                  <a:off x="2575" y="3447"/>
                  <a:ext cx="92" cy="181"/>
                </a:xfrm>
                <a:custGeom>
                  <a:avLst/>
                  <a:gdLst>
                    <a:gd name="T0" fmla="*/ 61 w 92"/>
                    <a:gd name="T1" fmla="*/ 0 h 181"/>
                    <a:gd name="T2" fmla="*/ 52 w 92"/>
                    <a:gd name="T3" fmla="*/ 6 h 181"/>
                    <a:gd name="T4" fmla="*/ 45 w 92"/>
                    <a:gd name="T5" fmla="*/ 13 h 181"/>
                    <a:gd name="T6" fmla="*/ 33 w 92"/>
                    <a:gd name="T7" fmla="*/ 24 h 181"/>
                    <a:gd name="T8" fmla="*/ 21 w 92"/>
                    <a:gd name="T9" fmla="*/ 30 h 181"/>
                    <a:gd name="T10" fmla="*/ 10 w 92"/>
                    <a:gd name="T11" fmla="*/ 29 h 181"/>
                    <a:gd name="T12" fmla="*/ 3 w 92"/>
                    <a:gd name="T13" fmla="*/ 18 h 181"/>
                    <a:gd name="T14" fmla="*/ 0 w 92"/>
                    <a:gd name="T15" fmla="*/ 36 h 181"/>
                    <a:gd name="T16" fmla="*/ 7 w 92"/>
                    <a:gd name="T17" fmla="*/ 49 h 181"/>
                    <a:gd name="T18" fmla="*/ 13 w 92"/>
                    <a:gd name="T19" fmla="*/ 58 h 181"/>
                    <a:gd name="T20" fmla="*/ 18 w 92"/>
                    <a:gd name="T21" fmla="*/ 76 h 181"/>
                    <a:gd name="T22" fmla="*/ 21 w 92"/>
                    <a:gd name="T23" fmla="*/ 106 h 181"/>
                    <a:gd name="T24" fmla="*/ 15 w 92"/>
                    <a:gd name="T25" fmla="*/ 118 h 181"/>
                    <a:gd name="T26" fmla="*/ 12 w 92"/>
                    <a:gd name="T27" fmla="*/ 132 h 181"/>
                    <a:gd name="T28" fmla="*/ 14 w 92"/>
                    <a:gd name="T29" fmla="*/ 145 h 181"/>
                    <a:gd name="T30" fmla="*/ 8 w 92"/>
                    <a:gd name="T31" fmla="*/ 154 h 181"/>
                    <a:gd name="T32" fmla="*/ 8 w 92"/>
                    <a:gd name="T33" fmla="*/ 168 h 181"/>
                    <a:gd name="T34" fmla="*/ 18 w 92"/>
                    <a:gd name="T35" fmla="*/ 165 h 181"/>
                    <a:gd name="T36" fmla="*/ 24 w 92"/>
                    <a:gd name="T37" fmla="*/ 177 h 181"/>
                    <a:gd name="T38" fmla="*/ 36 w 92"/>
                    <a:gd name="T39" fmla="*/ 180 h 181"/>
                    <a:gd name="T40" fmla="*/ 48 w 92"/>
                    <a:gd name="T41" fmla="*/ 159 h 181"/>
                    <a:gd name="T42" fmla="*/ 55 w 92"/>
                    <a:gd name="T43" fmla="*/ 154 h 181"/>
                    <a:gd name="T44" fmla="*/ 72 w 92"/>
                    <a:gd name="T45" fmla="*/ 160 h 181"/>
                    <a:gd name="T46" fmla="*/ 84 w 92"/>
                    <a:gd name="T47" fmla="*/ 145 h 181"/>
                    <a:gd name="T48" fmla="*/ 91 w 92"/>
                    <a:gd name="T49" fmla="*/ 96 h 181"/>
                    <a:gd name="T50" fmla="*/ 81 w 92"/>
                    <a:gd name="T51" fmla="*/ 72 h 181"/>
                    <a:gd name="T52" fmla="*/ 86 w 92"/>
                    <a:gd name="T53" fmla="*/ 63 h 181"/>
                    <a:gd name="T54" fmla="*/ 90 w 92"/>
                    <a:gd name="T55" fmla="*/ 57 h 181"/>
                    <a:gd name="T56" fmla="*/ 90 w 92"/>
                    <a:gd name="T57" fmla="*/ 28 h 181"/>
                    <a:gd name="T58" fmla="*/ 79 w 92"/>
                    <a:gd name="T59" fmla="*/ 21 h 181"/>
                    <a:gd name="T60" fmla="*/ 79 w 92"/>
                    <a:gd name="T61" fmla="*/ 4 h 181"/>
                    <a:gd name="T62" fmla="*/ 61 w 92"/>
                    <a:gd name="T63" fmla="*/ 0 h 181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92"/>
                    <a:gd name="T97" fmla="*/ 0 h 181"/>
                    <a:gd name="T98" fmla="*/ 92 w 92"/>
                    <a:gd name="T99" fmla="*/ 181 h 181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92" h="181">
                      <a:moveTo>
                        <a:pt x="61" y="0"/>
                      </a:moveTo>
                      <a:cubicBezTo>
                        <a:pt x="58" y="3"/>
                        <a:pt x="55" y="4"/>
                        <a:pt x="52" y="6"/>
                      </a:cubicBezTo>
                      <a:cubicBezTo>
                        <a:pt x="47" y="13"/>
                        <a:pt x="50" y="11"/>
                        <a:pt x="45" y="13"/>
                      </a:cubicBezTo>
                      <a:cubicBezTo>
                        <a:pt x="44" y="17"/>
                        <a:pt x="38" y="22"/>
                        <a:pt x="33" y="24"/>
                      </a:cubicBezTo>
                      <a:cubicBezTo>
                        <a:pt x="30" y="28"/>
                        <a:pt x="26" y="29"/>
                        <a:pt x="21" y="30"/>
                      </a:cubicBezTo>
                      <a:cubicBezTo>
                        <a:pt x="17" y="30"/>
                        <a:pt x="13" y="30"/>
                        <a:pt x="10" y="29"/>
                      </a:cubicBezTo>
                      <a:cubicBezTo>
                        <a:pt x="4" y="27"/>
                        <a:pt x="9" y="20"/>
                        <a:pt x="3" y="18"/>
                      </a:cubicBezTo>
                      <a:cubicBezTo>
                        <a:pt x="2" y="24"/>
                        <a:pt x="2" y="30"/>
                        <a:pt x="0" y="36"/>
                      </a:cubicBezTo>
                      <a:cubicBezTo>
                        <a:pt x="1" y="40"/>
                        <a:pt x="3" y="48"/>
                        <a:pt x="7" y="49"/>
                      </a:cubicBezTo>
                      <a:cubicBezTo>
                        <a:pt x="8" y="53"/>
                        <a:pt x="10" y="55"/>
                        <a:pt x="13" y="58"/>
                      </a:cubicBezTo>
                      <a:cubicBezTo>
                        <a:pt x="15" y="64"/>
                        <a:pt x="15" y="70"/>
                        <a:pt x="18" y="76"/>
                      </a:cubicBezTo>
                      <a:cubicBezTo>
                        <a:pt x="15" y="93"/>
                        <a:pt x="16" y="92"/>
                        <a:pt x="21" y="106"/>
                      </a:cubicBezTo>
                      <a:cubicBezTo>
                        <a:pt x="20" y="110"/>
                        <a:pt x="16" y="114"/>
                        <a:pt x="15" y="118"/>
                      </a:cubicBezTo>
                      <a:cubicBezTo>
                        <a:pt x="16" y="124"/>
                        <a:pt x="18" y="128"/>
                        <a:pt x="12" y="132"/>
                      </a:cubicBezTo>
                      <a:cubicBezTo>
                        <a:pt x="9" y="137"/>
                        <a:pt x="11" y="140"/>
                        <a:pt x="14" y="145"/>
                      </a:cubicBezTo>
                      <a:cubicBezTo>
                        <a:pt x="12" y="148"/>
                        <a:pt x="9" y="150"/>
                        <a:pt x="8" y="154"/>
                      </a:cubicBezTo>
                      <a:cubicBezTo>
                        <a:pt x="10" y="160"/>
                        <a:pt x="10" y="162"/>
                        <a:pt x="8" y="168"/>
                      </a:cubicBezTo>
                      <a:cubicBezTo>
                        <a:pt x="11" y="169"/>
                        <a:pt x="18" y="165"/>
                        <a:pt x="18" y="165"/>
                      </a:cubicBezTo>
                      <a:cubicBezTo>
                        <a:pt x="23" y="157"/>
                        <a:pt x="23" y="175"/>
                        <a:pt x="24" y="177"/>
                      </a:cubicBezTo>
                      <a:cubicBezTo>
                        <a:pt x="25" y="181"/>
                        <a:pt x="32" y="179"/>
                        <a:pt x="36" y="180"/>
                      </a:cubicBezTo>
                      <a:cubicBezTo>
                        <a:pt x="52" y="178"/>
                        <a:pt x="36" y="167"/>
                        <a:pt x="48" y="159"/>
                      </a:cubicBezTo>
                      <a:cubicBezTo>
                        <a:pt x="49" y="156"/>
                        <a:pt x="55" y="154"/>
                        <a:pt x="55" y="154"/>
                      </a:cubicBezTo>
                      <a:cubicBezTo>
                        <a:pt x="63" y="155"/>
                        <a:pt x="65" y="158"/>
                        <a:pt x="72" y="160"/>
                      </a:cubicBezTo>
                      <a:cubicBezTo>
                        <a:pt x="81" y="158"/>
                        <a:pt x="80" y="151"/>
                        <a:pt x="84" y="145"/>
                      </a:cubicBezTo>
                      <a:cubicBezTo>
                        <a:pt x="86" y="128"/>
                        <a:pt x="88" y="112"/>
                        <a:pt x="91" y="96"/>
                      </a:cubicBezTo>
                      <a:cubicBezTo>
                        <a:pt x="90" y="86"/>
                        <a:pt x="86" y="81"/>
                        <a:pt x="81" y="72"/>
                      </a:cubicBezTo>
                      <a:cubicBezTo>
                        <a:pt x="83" y="61"/>
                        <a:pt x="80" y="70"/>
                        <a:pt x="86" y="63"/>
                      </a:cubicBezTo>
                      <a:cubicBezTo>
                        <a:pt x="88" y="61"/>
                        <a:pt x="90" y="57"/>
                        <a:pt x="90" y="57"/>
                      </a:cubicBezTo>
                      <a:cubicBezTo>
                        <a:pt x="91" y="55"/>
                        <a:pt x="92" y="34"/>
                        <a:pt x="90" y="28"/>
                      </a:cubicBezTo>
                      <a:lnTo>
                        <a:pt x="79" y="21"/>
                      </a:lnTo>
                      <a:lnTo>
                        <a:pt x="79" y="4"/>
                      </a:lnTo>
                      <a:lnTo>
                        <a:pt x="61" y="0"/>
                      </a:lnTo>
                      <a:close/>
                    </a:path>
                  </a:pathLst>
                </a:custGeom>
                <a:grpFill/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orpoS" pitchFamily="2" charset="0"/>
                    <a:ea typeface="+mn-ea"/>
                  </a:endParaRPr>
                </a:p>
              </p:txBody>
            </p:sp>
            <p:sp>
              <p:nvSpPr>
                <p:cNvPr id="164" name="Freeform 50"/>
                <p:cNvSpPr>
                  <a:spLocks noChangeAspect="1"/>
                </p:cNvSpPr>
                <p:nvPr/>
              </p:nvSpPr>
              <p:spPr bwMode="auto">
                <a:xfrm>
                  <a:off x="2686" y="3330"/>
                  <a:ext cx="17" cy="14"/>
                </a:xfrm>
                <a:custGeom>
                  <a:avLst/>
                  <a:gdLst>
                    <a:gd name="T0" fmla="*/ 0 w 17"/>
                    <a:gd name="T1" fmla="*/ 3 h 14"/>
                    <a:gd name="T2" fmla="*/ 16 w 17"/>
                    <a:gd name="T3" fmla="*/ 2 h 14"/>
                    <a:gd name="T4" fmla="*/ 15 w 17"/>
                    <a:gd name="T5" fmla="*/ 14 h 14"/>
                    <a:gd name="T6" fmla="*/ 0 w 17"/>
                    <a:gd name="T7" fmla="*/ 3 h 14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7"/>
                    <a:gd name="T13" fmla="*/ 0 h 14"/>
                    <a:gd name="T14" fmla="*/ 17 w 17"/>
                    <a:gd name="T15" fmla="*/ 14 h 14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7" h="14">
                      <a:moveTo>
                        <a:pt x="0" y="3"/>
                      </a:moveTo>
                      <a:cubicBezTo>
                        <a:pt x="5" y="3"/>
                        <a:pt x="11" y="0"/>
                        <a:pt x="16" y="2"/>
                      </a:cubicBezTo>
                      <a:cubicBezTo>
                        <a:pt x="16" y="6"/>
                        <a:pt x="17" y="10"/>
                        <a:pt x="15" y="14"/>
                      </a:cubicBezTo>
                      <a:cubicBezTo>
                        <a:pt x="12" y="14"/>
                        <a:pt x="0" y="5"/>
                        <a:pt x="0" y="3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orpoS" pitchFamily="2" charset="0"/>
                    <a:ea typeface="+mn-ea"/>
                  </a:endParaRPr>
                </a:p>
              </p:txBody>
            </p:sp>
            <p:sp>
              <p:nvSpPr>
                <p:cNvPr id="165" name="Freeform 51"/>
                <p:cNvSpPr>
                  <a:spLocks noChangeAspect="1"/>
                </p:cNvSpPr>
                <p:nvPr/>
              </p:nvSpPr>
              <p:spPr bwMode="auto">
                <a:xfrm>
                  <a:off x="2499" y="3020"/>
                  <a:ext cx="660" cy="667"/>
                </a:xfrm>
                <a:custGeom>
                  <a:avLst/>
                  <a:gdLst>
                    <a:gd name="T0" fmla="*/ 355 w 660"/>
                    <a:gd name="T1" fmla="*/ 73 h 667"/>
                    <a:gd name="T2" fmla="*/ 353 w 660"/>
                    <a:gd name="T3" fmla="*/ 58 h 667"/>
                    <a:gd name="T4" fmla="*/ 302 w 660"/>
                    <a:gd name="T5" fmla="*/ 24 h 667"/>
                    <a:gd name="T6" fmla="*/ 280 w 660"/>
                    <a:gd name="T7" fmla="*/ 0 h 667"/>
                    <a:gd name="T8" fmla="*/ 211 w 660"/>
                    <a:gd name="T9" fmla="*/ 14 h 667"/>
                    <a:gd name="T10" fmla="*/ 184 w 660"/>
                    <a:gd name="T11" fmla="*/ 48 h 667"/>
                    <a:gd name="T12" fmla="*/ 155 w 660"/>
                    <a:gd name="T13" fmla="*/ 52 h 667"/>
                    <a:gd name="T14" fmla="*/ 137 w 660"/>
                    <a:gd name="T15" fmla="*/ 62 h 667"/>
                    <a:gd name="T16" fmla="*/ 118 w 660"/>
                    <a:gd name="T17" fmla="*/ 80 h 667"/>
                    <a:gd name="T18" fmla="*/ 88 w 660"/>
                    <a:gd name="T19" fmla="*/ 62 h 667"/>
                    <a:gd name="T20" fmla="*/ 53 w 660"/>
                    <a:gd name="T21" fmla="*/ 80 h 667"/>
                    <a:gd name="T22" fmla="*/ 22 w 660"/>
                    <a:gd name="T23" fmla="*/ 91 h 667"/>
                    <a:gd name="T24" fmla="*/ 5 w 660"/>
                    <a:gd name="T25" fmla="*/ 150 h 667"/>
                    <a:gd name="T26" fmla="*/ 32 w 660"/>
                    <a:gd name="T27" fmla="*/ 212 h 667"/>
                    <a:gd name="T28" fmla="*/ 64 w 660"/>
                    <a:gd name="T29" fmla="*/ 238 h 667"/>
                    <a:gd name="T30" fmla="*/ 100 w 660"/>
                    <a:gd name="T31" fmla="*/ 208 h 667"/>
                    <a:gd name="T32" fmla="*/ 131 w 660"/>
                    <a:gd name="T33" fmla="*/ 194 h 667"/>
                    <a:gd name="T34" fmla="*/ 176 w 660"/>
                    <a:gd name="T35" fmla="*/ 218 h 667"/>
                    <a:gd name="T36" fmla="*/ 236 w 660"/>
                    <a:gd name="T37" fmla="*/ 323 h 667"/>
                    <a:gd name="T38" fmla="*/ 266 w 660"/>
                    <a:gd name="T39" fmla="*/ 350 h 667"/>
                    <a:gd name="T40" fmla="*/ 335 w 660"/>
                    <a:gd name="T41" fmla="*/ 409 h 667"/>
                    <a:gd name="T42" fmla="*/ 388 w 660"/>
                    <a:gd name="T43" fmla="*/ 420 h 667"/>
                    <a:gd name="T44" fmla="*/ 424 w 660"/>
                    <a:gd name="T45" fmla="*/ 454 h 667"/>
                    <a:gd name="T46" fmla="*/ 502 w 660"/>
                    <a:gd name="T47" fmla="*/ 503 h 667"/>
                    <a:gd name="T48" fmla="*/ 535 w 660"/>
                    <a:gd name="T49" fmla="*/ 571 h 667"/>
                    <a:gd name="T50" fmla="*/ 527 w 660"/>
                    <a:gd name="T51" fmla="*/ 662 h 667"/>
                    <a:gd name="T52" fmla="*/ 551 w 660"/>
                    <a:gd name="T53" fmla="*/ 638 h 667"/>
                    <a:gd name="T54" fmla="*/ 592 w 660"/>
                    <a:gd name="T55" fmla="*/ 582 h 667"/>
                    <a:gd name="T56" fmla="*/ 557 w 660"/>
                    <a:gd name="T57" fmla="*/ 526 h 667"/>
                    <a:gd name="T58" fmla="*/ 583 w 660"/>
                    <a:gd name="T59" fmla="*/ 467 h 667"/>
                    <a:gd name="T60" fmla="*/ 635 w 660"/>
                    <a:gd name="T61" fmla="*/ 498 h 667"/>
                    <a:gd name="T62" fmla="*/ 659 w 660"/>
                    <a:gd name="T63" fmla="*/ 469 h 667"/>
                    <a:gd name="T64" fmla="*/ 608 w 660"/>
                    <a:gd name="T65" fmla="*/ 437 h 667"/>
                    <a:gd name="T66" fmla="*/ 566 w 660"/>
                    <a:gd name="T67" fmla="*/ 424 h 667"/>
                    <a:gd name="T68" fmla="*/ 516 w 660"/>
                    <a:gd name="T69" fmla="*/ 377 h 667"/>
                    <a:gd name="T70" fmla="*/ 469 w 660"/>
                    <a:gd name="T71" fmla="*/ 367 h 667"/>
                    <a:gd name="T72" fmla="*/ 398 w 660"/>
                    <a:gd name="T73" fmla="*/ 323 h 667"/>
                    <a:gd name="T74" fmla="*/ 350 w 660"/>
                    <a:gd name="T75" fmla="*/ 244 h 667"/>
                    <a:gd name="T76" fmla="*/ 314 w 660"/>
                    <a:gd name="T77" fmla="*/ 217 h 667"/>
                    <a:gd name="T78" fmla="*/ 305 w 660"/>
                    <a:gd name="T79" fmla="*/ 168 h 667"/>
                    <a:gd name="T80" fmla="*/ 299 w 660"/>
                    <a:gd name="T81" fmla="*/ 142 h 667"/>
                    <a:gd name="T82" fmla="*/ 336 w 660"/>
                    <a:gd name="T83" fmla="*/ 107 h 667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w 660"/>
                    <a:gd name="T127" fmla="*/ 0 h 667"/>
                    <a:gd name="T128" fmla="*/ 660 w 660"/>
                    <a:gd name="T129" fmla="*/ 667 h 667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T126" t="T127" r="T128" b="T129"/>
                  <a:pathLst>
                    <a:path w="660" h="667">
                      <a:moveTo>
                        <a:pt x="359" y="90"/>
                      </a:moveTo>
                      <a:cubicBezTo>
                        <a:pt x="360" y="87"/>
                        <a:pt x="362" y="80"/>
                        <a:pt x="362" y="80"/>
                      </a:cubicBezTo>
                      <a:cubicBezTo>
                        <a:pt x="360" y="75"/>
                        <a:pt x="360" y="74"/>
                        <a:pt x="355" y="73"/>
                      </a:cubicBezTo>
                      <a:cubicBezTo>
                        <a:pt x="354" y="71"/>
                        <a:pt x="356" y="69"/>
                        <a:pt x="357" y="68"/>
                      </a:cubicBezTo>
                      <a:cubicBezTo>
                        <a:pt x="358" y="67"/>
                        <a:pt x="361" y="66"/>
                        <a:pt x="360" y="64"/>
                      </a:cubicBezTo>
                      <a:cubicBezTo>
                        <a:pt x="359" y="61"/>
                        <a:pt x="353" y="58"/>
                        <a:pt x="353" y="58"/>
                      </a:cubicBezTo>
                      <a:cubicBezTo>
                        <a:pt x="352" y="54"/>
                        <a:pt x="365" y="41"/>
                        <a:pt x="358" y="36"/>
                      </a:cubicBezTo>
                      <a:cubicBezTo>
                        <a:pt x="345" y="32"/>
                        <a:pt x="327" y="33"/>
                        <a:pt x="314" y="30"/>
                      </a:cubicBezTo>
                      <a:cubicBezTo>
                        <a:pt x="310" y="28"/>
                        <a:pt x="302" y="24"/>
                        <a:pt x="302" y="24"/>
                      </a:cubicBezTo>
                      <a:cubicBezTo>
                        <a:pt x="299" y="21"/>
                        <a:pt x="294" y="14"/>
                        <a:pt x="294" y="14"/>
                      </a:cubicBezTo>
                      <a:cubicBezTo>
                        <a:pt x="293" y="10"/>
                        <a:pt x="293" y="7"/>
                        <a:pt x="289" y="6"/>
                      </a:cubicBezTo>
                      <a:cubicBezTo>
                        <a:pt x="286" y="1"/>
                        <a:pt x="285" y="1"/>
                        <a:pt x="280" y="0"/>
                      </a:cubicBezTo>
                      <a:cubicBezTo>
                        <a:pt x="266" y="5"/>
                        <a:pt x="257" y="6"/>
                        <a:pt x="241" y="7"/>
                      </a:cubicBezTo>
                      <a:cubicBezTo>
                        <a:pt x="238" y="11"/>
                        <a:pt x="236" y="15"/>
                        <a:pt x="233" y="19"/>
                      </a:cubicBezTo>
                      <a:cubicBezTo>
                        <a:pt x="224" y="18"/>
                        <a:pt x="219" y="18"/>
                        <a:pt x="211" y="14"/>
                      </a:cubicBezTo>
                      <a:cubicBezTo>
                        <a:pt x="199" y="19"/>
                        <a:pt x="206" y="22"/>
                        <a:pt x="200" y="31"/>
                      </a:cubicBezTo>
                      <a:cubicBezTo>
                        <a:pt x="198" y="38"/>
                        <a:pt x="195" y="36"/>
                        <a:pt x="188" y="37"/>
                      </a:cubicBezTo>
                      <a:cubicBezTo>
                        <a:pt x="187" y="41"/>
                        <a:pt x="185" y="44"/>
                        <a:pt x="184" y="48"/>
                      </a:cubicBezTo>
                      <a:cubicBezTo>
                        <a:pt x="182" y="51"/>
                        <a:pt x="177" y="51"/>
                        <a:pt x="174" y="53"/>
                      </a:cubicBezTo>
                      <a:cubicBezTo>
                        <a:pt x="171" y="54"/>
                        <a:pt x="164" y="61"/>
                        <a:pt x="164" y="61"/>
                      </a:cubicBezTo>
                      <a:cubicBezTo>
                        <a:pt x="162" y="54"/>
                        <a:pt x="162" y="54"/>
                        <a:pt x="155" y="52"/>
                      </a:cubicBezTo>
                      <a:cubicBezTo>
                        <a:pt x="154" y="50"/>
                        <a:pt x="154" y="48"/>
                        <a:pt x="151" y="48"/>
                      </a:cubicBezTo>
                      <a:cubicBezTo>
                        <a:pt x="149" y="48"/>
                        <a:pt x="145" y="50"/>
                        <a:pt x="145" y="50"/>
                      </a:cubicBezTo>
                      <a:cubicBezTo>
                        <a:pt x="143" y="55"/>
                        <a:pt x="141" y="58"/>
                        <a:pt x="137" y="62"/>
                      </a:cubicBezTo>
                      <a:cubicBezTo>
                        <a:pt x="135" y="69"/>
                        <a:pt x="131" y="75"/>
                        <a:pt x="128" y="82"/>
                      </a:cubicBezTo>
                      <a:cubicBezTo>
                        <a:pt x="126" y="86"/>
                        <a:pt x="124" y="94"/>
                        <a:pt x="124" y="94"/>
                      </a:cubicBezTo>
                      <a:cubicBezTo>
                        <a:pt x="122" y="92"/>
                        <a:pt x="118" y="80"/>
                        <a:pt x="118" y="80"/>
                      </a:cubicBezTo>
                      <a:cubicBezTo>
                        <a:pt x="117" y="71"/>
                        <a:pt x="119" y="68"/>
                        <a:pt x="110" y="66"/>
                      </a:cubicBezTo>
                      <a:cubicBezTo>
                        <a:pt x="108" y="59"/>
                        <a:pt x="107" y="55"/>
                        <a:pt x="100" y="53"/>
                      </a:cubicBezTo>
                      <a:cubicBezTo>
                        <a:pt x="95" y="55"/>
                        <a:pt x="94" y="60"/>
                        <a:pt x="88" y="62"/>
                      </a:cubicBezTo>
                      <a:cubicBezTo>
                        <a:pt x="85" y="66"/>
                        <a:pt x="85" y="72"/>
                        <a:pt x="82" y="76"/>
                      </a:cubicBezTo>
                      <a:cubicBezTo>
                        <a:pt x="80" y="79"/>
                        <a:pt x="73" y="80"/>
                        <a:pt x="73" y="80"/>
                      </a:cubicBezTo>
                      <a:cubicBezTo>
                        <a:pt x="65" y="79"/>
                        <a:pt x="61" y="78"/>
                        <a:pt x="53" y="80"/>
                      </a:cubicBezTo>
                      <a:cubicBezTo>
                        <a:pt x="48" y="81"/>
                        <a:pt x="40" y="85"/>
                        <a:pt x="40" y="85"/>
                      </a:cubicBezTo>
                      <a:cubicBezTo>
                        <a:pt x="34" y="84"/>
                        <a:pt x="28" y="81"/>
                        <a:pt x="23" y="85"/>
                      </a:cubicBezTo>
                      <a:cubicBezTo>
                        <a:pt x="25" y="92"/>
                        <a:pt x="24" y="86"/>
                        <a:pt x="22" y="91"/>
                      </a:cubicBezTo>
                      <a:cubicBezTo>
                        <a:pt x="23" y="101"/>
                        <a:pt x="26" y="117"/>
                        <a:pt x="32" y="125"/>
                      </a:cubicBezTo>
                      <a:cubicBezTo>
                        <a:pt x="19" y="136"/>
                        <a:pt x="18" y="139"/>
                        <a:pt x="2" y="140"/>
                      </a:cubicBezTo>
                      <a:cubicBezTo>
                        <a:pt x="0" y="145"/>
                        <a:pt x="0" y="148"/>
                        <a:pt x="5" y="150"/>
                      </a:cubicBezTo>
                      <a:cubicBezTo>
                        <a:pt x="7" y="159"/>
                        <a:pt x="16" y="157"/>
                        <a:pt x="25" y="158"/>
                      </a:cubicBezTo>
                      <a:cubicBezTo>
                        <a:pt x="30" y="165"/>
                        <a:pt x="20" y="179"/>
                        <a:pt x="17" y="186"/>
                      </a:cubicBezTo>
                      <a:cubicBezTo>
                        <a:pt x="19" y="199"/>
                        <a:pt x="21" y="205"/>
                        <a:pt x="32" y="212"/>
                      </a:cubicBezTo>
                      <a:cubicBezTo>
                        <a:pt x="41" y="211"/>
                        <a:pt x="51" y="209"/>
                        <a:pt x="59" y="214"/>
                      </a:cubicBezTo>
                      <a:cubicBezTo>
                        <a:pt x="62" y="219"/>
                        <a:pt x="56" y="232"/>
                        <a:pt x="50" y="234"/>
                      </a:cubicBezTo>
                      <a:cubicBezTo>
                        <a:pt x="46" y="243"/>
                        <a:pt x="58" y="239"/>
                        <a:pt x="64" y="238"/>
                      </a:cubicBezTo>
                      <a:cubicBezTo>
                        <a:pt x="70" y="234"/>
                        <a:pt x="78" y="234"/>
                        <a:pt x="83" y="230"/>
                      </a:cubicBezTo>
                      <a:cubicBezTo>
                        <a:pt x="86" y="228"/>
                        <a:pt x="90" y="221"/>
                        <a:pt x="90" y="221"/>
                      </a:cubicBezTo>
                      <a:cubicBezTo>
                        <a:pt x="91" y="217"/>
                        <a:pt x="95" y="210"/>
                        <a:pt x="100" y="208"/>
                      </a:cubicBezTo>
                      <a:cubicBezTo>
                        <a:pt x="102" y="205"/>
                        <a:pt x="105" y="202"/>
                        <a:pt x="107" y="200"/>
                      </a:cubicBezTo>
                      <a:cubicBezTo>
                        <a:pt x="109" y="198"/>
                        <a:pt x="113" y="196"/>
                        <a:pt x="113" y="196"/>
                      </a:cubicBezTo>
                      <a:cubicBezTo>
                        <a:pt x="118" y="189"/>
                        <a:pt x="115" y="191"/>
                        <a:pt x="131" y="194"/>
                      </a:cubicBezTo>
                      <a:cubicBezTo>
                        <a:pt x="136" y="195"/>
                        <a:pt x="141" y="201"/>
                        <a:pt x="145" y="203"/>
                      </a:cubicBezTo>
                      <a:cubicBezTo>
                        <a:pt x="151" y="206"/>
                        <a:pt x="160" y="209"/>
                        <a:pt x="166" y="210"/>
                      </a:cubicBezTo>
                      <a:cubicBezTo>
                        <a:pt x="170" y="213"/>
                        <a:pt x="172" y="215"/>
                        <a:pt x="176" y="218"/>
                      </a:cubicBezTo>
                      <a:cubicBezTo>
                        <a:pt x="180" y="224"/>
                        <a:pt x="187" y="227"/>
                        <a:pt x="190" y="235"/>
                      </a:cubicBezTo>
                      <a:cubicBezTo>
                        <a:pt x="205" y="250"/>
                        <a:pt x="194" y="277"/>
                        <a:pt x="212" y="289"/>
                      </a:cubicBezTo>
                      <a:cubicBezTo>
                        <a:pt x="219" y="304"/>
                        <a:pt x="230" y="314"/>
                        <a:pt x="236" y="323"/>
                      </a:cubicBezTo>
                      <a:cubicBezTo>
                        <a:pt x="238" y="326"/>
                        <a:pt x="248" y="341"/>
                        <a:pt x="250" y="342"/>
                      </a:cubicBezTo>
                      <a:cubicBezTo>
                        <a:pt x="252" y="343"/>
                        <a:pt x="256" y="344"/>
                        <a:pt x="256" y="344"/>
                      </a:cubicBezTo>
                      <a:cubicBezTo>
                        <a:pt x="259" y="347"/>
                        <a:pt x="263" y="348"/>
                        <a:pt x="266" y="350"/>
                      </a:cubicBezTo>
                      <a:cubicBezTo>
                        <a:pt x="272" y="355"/>
                        <a:pt x="285" y="364"/>
                        <a:pt x="294" y="372"/>
                      </a:cubicBezTo>
                      <a:cubicBezTo>
                        <a:pt x="304" y="377"/>
                        <a:pt x="311" y="392"/>
                        <a:pt x="322" y="398"/>
                      </a:cubicBezTo>
                      <a:cubicBezTo>
                        <a:pt x="324" y="404"/>
                        <a:pt x="329" y="407"/>
                        <a:pt x="335" y="409"/>
                      </a:cubicBezTo>
                      <a:cubicBezTo>
                        <a:pt x="340" y="417"/>
                        <a:pt x="345" y="419"/>
                        <a:pt x="352" y="424"/>
                      </a:cubicBezTo>
                      <a:cubicBezTo>
                        <a:pt x="365" y="422"/>
                        <a:pt x="364" y="421"/>
                        <a:pt x="373" y="418"/>
                      </a:cubicBezTo>
                      <a:cubicBezTo>
                        <a:pt x="378" y="418"/>
                        <a:pt x="384" y="416"/>
                        <a:pt x="388" y="420"/>
                      </a:cubicBezTo>
                      <a:cubicBezTo>
                        <a:pt x="391" y="423"/>
                        <a:pt x="395" y="428"/>
                        <a:pt x="395" y="428"/>
                      </a:cubicBezTo>
                      <a:cubicBezTo>
                        <a:pt x="397" y="435"/>
                        <a:pt x="398" y="442"/>
                        <a:pt x="400" y="449"/>
                      </a:cubicBezTo>
                      <a:cubicBezTo>
                        <a:pt x="405" y="453"/>
                        <a:pt x="415" y="452"/>
                        <a:pt x="424" y="454"/>
                      </a:cubicBezTo>
                      <a:cubicBezTo>
                        <a:pt x="432" y="460"/>
                        <a:pt x="442" y="458"/>
                        <a:pt x="452" y="460"/>
                      </a:cubicBezTo>
                      <a:cubicBezTo>
                        <a:pt x="457" y="468"/>
                        <a:pt x="458" y="489"/>
                        <a:pt x="467" y="492"/>
                      </a:cubicBezTo>
                      <a:cubicBezTo>
                        <a:pt x="475" y="503"/>
                        <a:pt x="489" y="501"/>
                        <a:pt x="502" y="503"/>
                      </a:cubicBezTo>
                      <a:cubicBezTo>
                        <a:pt x="508" y="511"/>
                        <a:pt x="514" y="524"/>
                        <a:pt x="516" y="534"/>
                      </a:cubicBezTo>
                      <a:cubicBezTo>
                        <a:pt x="517" y="539"/>
                        <a:pt x="522" y="547"/>
                        <a:pt x="522" y="547"/>
                      </a:cubicBezTo>
                      <a:cubicBezTo>
                        <a:pt x="524" y="553"/>
                        <a:pt x="530" y="566"/>
                        <a:pt x="535" y="571"/>
                      </a:cubicBezTo>
                      <a:cubicBezTo>
                        <a:pt x="539" y="584"/>
                        <a:pt x="534" y="599"/>
                        <a:pt x="523" y="607"/>
                      </a:cubicBezTo>
                      <a:cubicBezTo>
                        <a:pt x="519" y="620"/>
                        <a:pt x="516" y="633"/>
                        <a:pt x="515" y="647"/>
                      </a:cubicBezTo>
                      <a:cubicBezTo>
                        <a:pt x="516" y="658"/>
                        <a:pt x="517" y="659"/>
                        <a:pt x="527" y="662"/>
                      </a:cubicBezTo>
                      <a:cubicBezTo>
                        <a:pt x="534" y="661"/>
                        <a:pt x="531" y="667"/>
                        <a:pt x="535" y="662"/>
                      </a:cubicBezTo>
                      <a:cubicBezTo>
                        <a:pt x="536" y="658"/>
                        <a:pt x="538" y="656"/>
                        <a:pt x="541" y="653"/>
                      </a:cubicBezTo>
                      <a:cubicBezTo>
                        <a:pt x="543" y="648"/>
                        <a:pt x="547" y="642"/>
                        <a:pt x="551" y="638"/>
                      </a:cubicBezTo>
                      <a:cubicBezTo>
                        <a:pt x="553" y="631"/>
                        <a:pt x="559" y="627"/>
                        <a:pt x="560" y="620"/>
                      </a:cubicBezTo>
                      <a:cubicBezTo>
                        <a:pt x="562" y="606"/>
                        <a:pt x="566" y="589"/>
                        <a:pt x="582" y="586"/>
                      </a:cubicBezTo>
                      <a:cubicBezTo>
                        <a:pt x="585" y="584"/>
                        <a:pt x="592" y="582"/>
                        <a:pt x="592" y="582"/>
                      </a:cubicBezTo>
                      <a:cubicBezTo>
                        <a:pt x="592" y="581"/>
                        <a:pt x="595" y="576"/>
                        <a:pt x="595" y="575"/>
                      </a:cubicBezTo>
                      <a:cubicBezTo>
                        <a:pt x="595" y="568"/>
                        <a:pt x="595" y="561"/>
                        <a:pt x="594" y="554"/>
                      </a:cubicBezTo>
                      <a:cubicBezTo>
                        <a:pt x="592" y="532"/>
                        <a:pt x="571" y="535"/>
                        <a:pt x="557" y="526"/>
                      </a:cubicBezTo>
                      <a:cubicBezTo>
                        <a:pt x="556" y="523"/>
                        <a:pt x="554" y="520"/>
                        <a:pt x="553" y="517"/>
                      </a:cubicBezTo>
                      <a:cubicBezTo>
                        <a:pt x="554" y="494"/>
                        <a:pt x="556" y="491"/>
                        <a:pt x="563" y="479"/>
                      </a:cubicBezTo>
                      <a:cubicBezTo>
                        <a:pt x="566" y="471"/>
                        <a:pt x="575" y="468"/>
                        <a:pt x="583" y="467"/>
                      </a:cubicBezTo>
                      <a:cubicBezTo>
                        <a:pt x="595" y="468"/>
                        <a:pt x="592" y="471"/>
                        <a:pt x="601" y="474"/>
                      </a:cubicBezTo>
                      <a:cubicBezTo>
                        <a:pt x="607" y="474"/>
                        <a:pt x="628" y="469"/>
                        <a:pt x="630" y="478"/>
                      </a:cubicBezTo>
                      <a:cubicBezTo>
                        <a:pt x="629" y="484"/>
                        <a:pt x="627" y="495"/>
                        <a:pt x="635" y="498"/>
                      </a:cubicBezTo>
                      <a:cubicBezTo>
                        <a:pt x="639" y="506"/>
                        <a:pt x="649" y="504"/>
                        <a:pt x="656" y="509"/>
                      </a:cubicBezTo>
                      <a:cubicBezTo>
                        <a:pt x="659" y="501"/>
                        <a:pt x="659" y="498"/>
                        <a:pt x="660" y="490"/>
                      </a:cubicBezTo>
                      <a:cubicBezTo>
                        <a:pt x="660" y="483"/>
                        <a:pt x="660" y="476"/>
                        <a:pt x="659" y="469"/>
                      </a:cubicBezTo>
                      <a:cubicBezTo>
                        <a:pt x="658" y="464"/>
                        <a:pt x="644" y="462"/>
                        <a:pt x="644" y="462"/>
                      </a:cubicBezTo>
                      <a:cubicBezTo>
                        <a:pt x="638" y="450"/>
                        <a:pt x="632" y="450"/>
                        <a:pt x="622" y="443"/>
                      </a:cubicBezTo>
                      <a:cubicBezTo>
                        <a:pt x="618" y="440"/>
                        <a:pt x="608" y="437"/>
                        <a:pt x="608" y="437"/>
                      </a:cubicBezTo>
                      <a:cubicBezTo>
                        <a:pt x="604" y="434"/>
                        <a:pt x="595" y="431"/>
                        <a:pt x="595" y="431"/>
                      </a:cubicBezTo>
                      <a:cubicBezTo>
                        <a:pt x="591" y="425"/>
                        <a:pt x="584" y="427"/>
                        <a:pt x="578" y="426"/>
                      </a:cubicBezTo>
                      <a:cubicBezTo>
                        <a:pt x="574" y="425"/>
                        <a:pt x="570" y="425"/>
                        <a:pt x="566" y="424"/>
                      </a:cubicBezTo>
                      <a:cubicBezTo>
                        <a:pt x="556" y="420"/>
                        <a:pt x="527" y="408"/>
                        <a:pt x="518" y="403"/>
                      </a:cubicBezTo>
                      <a:cubicBezTo>
                        <a:pt x="512" y="401"/>
                        <a:pt x="512" y="399"/>
                        <a:pt x="509" y="394"/>
                      </a:cubicBezTo>
                      <a:cubicBezTo>
                        <a:pt x="511" y="388"/>
                        <a:pt x="513" y="383"/>
                        <a:pt x="516" y="377"/>
                      </a:cubicBezTo>
                      <a:cubicBezTo>
                        <a:pt x="517" y="375"/>
                        <a:pt x="520" y="362"/>
                        <a:pt x="520" y="362"/>
                      </a:cubicBezTo>
                      <a:cubicBezTo>
                        <a:pt x="518" y="351"/>
                        <a:pt x="509" y="361"/>
                        <a:pt x="499" y="360"/>
                      </a:cubicBezTo>
                      <a:cubicBezTo>
                        <a:pt x="485" y="362"/>
                        <a:pt x="483" y="368"/>
                        <a:pt x="469" y="367"/>
                      </a:cubicBezTo>
                      <a:cubicBezTo>
                        <a:pt x="457" y="363"/>
                        <a:pt x="434" y="351"/>
                        <a:pt x="422" y="347"/>
                      </a:cubicBezTo>
                      <a:cubicBezTo>
                        <a:pt x="417" y="342"/>
                        <a:pt x="412" y="339"/>
                        <a:pt x="407" y="334"/>
                      </a:cubicBezTo>
                      <a:cubicBezTo>
                        <a:pt x="406" y="330"/>
                        <a:pt x="402" y="325"/>
                        <a:pt x="398" y="323"/>
                      </a:cubicBezTo>
                      <a:cubicBezTo>
                        <a:pt x="387" y="307"/>
                        <a:pt x="395" y="279"/>
                        <a:pt x="378" y="268"/>
                      </a:cubicBezTo>
                      <a:cubicBezTo>
                        <a:pt x="377" y="264"/>
                        <a:pt x="365" y="254"/>
                        <a:pt x="361" y="253"/>
                      </a:cubicBezTo>
                      <a:cubicBezTo>
                        <a:pt x="358" y="249"/>
                        <a:pt x="350" y="244"/>
                        <a:pt x="350" y="244"/>
                      </a:cubicBezTo>
                      <a:cubicBezTo>
                        <a:pt x="347" y="239"/>
                        <a:pt x="341" y="235"/>
                        <a:pt x="335" y="233"/>
                      </a:cubicBezTo>
                      <a:cubicBezTo>
                        <a:pt x="332" y="230"/>
                        <a:pt x="330" y="227"/>
                        <a:pt x="326" y="226"/>
                      </a:cubicBezTo>
                      <a:cubicBezTo>
                        <a:pt x="323" y="222"/>
                        <a:pt x="319" y="218"/>
                        <a:pt x="314" y="217"/>
                      </a:cubicBezTo>
                      <a:cubicBezTo>
                        <a:pt x="310" y="215"/>
                        <a:pt x="311" y="212"/>
                        <a:pt x="307" y="210"/>
                      </a:cubicBezTo>
                      <a:cubicBezTo>
                        <a:pt x="306" y="202"/>
                        <a:pt x="304" y="194"/>
                        <a:pt x="301" y="187"/>
                      </a:cubicBezTo>
                      <a:cubicBezTo>
                        <a:pt x="305" y="155"/>
                        <a:pt x="302" y="181"/>
                        <a:pt x="305" y="168"/>
                      </a:cubicBezTo>
                      <a:cubicBezTo>
                        <a:pt x="306" y="165"/>
                        <a:pt x="307" y="158"/>
                        <a:pt x="307" y="158"/>
                      </a:cubicBezTo>
                      <a:cubicBezTo>
                        <a:pt x="307" y="155"/>
                        <a:pt x="307" y="151"/>
                        <a:pt x="305" y="148"/>
                      </a:cubicBezTo>
                      <a:cubicBezTo>
                        <a:pt x="303" y="146"/>
                        <a:pt x="299" y="142"/>
                        <a:pt x="299" y="142"/>
                      </a:cubicBezTo>
                      <a:cubicBezTo>
                        <a:pt x="298" y="138"/>
                        <a:pt x="295" y="137"/>
                        <a:pt x="294" y="133"/>
                      </a:cubicBezTo>
                      <a:cubicBezTo>
                        <a:pt x="296" y="126"/>
                        <a:pt x="294" y="128"/>
                        <a:pt x="299" y="125"/>
                      </a:cubicBezTo>
                      <a:cubicBezTo>
                        <a:pt x="303" y="114"/>
                        <a:pt x="326" y="109"/>
                        <a:pt x="336" y="107"/>
                      </a:cubicBezTo>
                      <a:cubicBezTo>
                        <a:pt x="339" y="105"/>
                        <a:pt x="346" y="100"/>
                        <a:pt x="346" y="100"/>
                      </a:cubicBezTo>
                      <a:cubicBezTo>
                        <a:pt x="349" y="96"/>
                        <a:pt x="354" y="92"/>
                        <a:pt x="359" y="90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orpoS" pitchFamily="2" charset="0"/>
                    <a:ea typeface="+mn-ea"/>
                  </a:endParaRPr>
                </a:p>
              </p:txBody>
            </p:sp>
          </p:grpSp>
        </p:grpSp>
        <p:grpSp>
          <p:nvGrpSpPr>
            <p:cNvPr id="86" name="Group 52"/>
            <p:cNvGrpSpPr>
              <a:grpSpLocks noChangeAspect="1"/>
            </p:cNvGrpSpPr>
            <p:nvPr/>
          </p:nvGrpSpPr>
          <p:grpSpPr bwMode="auto">
            <a:xfrm>
              <a:off x="1502" y="3309"/>
              <a:ext cx="714" cy="596"/>
              <a:chOff x="1648" y="3145"/>
              <a:chExt cx="707" cy="590"/>
            </a:xfrm>
            <a:grpFill/>
          </p:grpSpPr>
          <p:sp>
            <p:nvSpPr>
              <p:cNvPr id="156" name="Freeform 53"/>
              <p:cNvSpPr>
                <a:spLocks noChangeAspect="1"/>
              </p:cNvSpPr>
              <p:nvPr/>
            </p:nvSpPr>
            <p:spPr bwMode="auto">
              <a:xfrm>
                <a:off x="2167" y="3576"/>
                <a:ext cx="27" cy="21"/>
              </a:xfrm>
              <a:custGeom>
                <a:avLst/>
                <a:gdLst>
                  <a:gd name="T0" fmla="*/ 25 w 27"/>
                  <a:gd name="T1" fmla="*/ 0 h 21"/>
                  <a:gd name="T2" fmla="*/ 0 w 27"/>
                  <a:gd name="T3" fmla="*/ 10 h 21"/>
                  <a:gd name="T4" fmla="*/ 10 w 27"/>
                  <a:gd name="T5" fmla="*/ 20 h 21"/>
                  <a:gd name="T6" fmla="*/ 27 w 27"/>
                  <a:gd name="T7" fmla="*/ 15 h 21"/>
                  <a:gd name="T8" fmla="*/ 19 w 27"/>
                  <a:gd name="T9" fmla="*/ 1 h 21"/>
                  <a:gd name="T10" fmla="*/ 9 w 27"/>
                  <a:gd name="T11" fmla="*/ 3 h 21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7"/>
                  <a:gd name="T19" fmla="*/ 0 h 21"/>
                  <a:gd name="T20" fmla="*/ 27 w 27"/>
                  <a:gd name="T21" fmla="*/ 21 h 21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7" h="21">
                    <a:moveTo>
                      <a:pt x="25" y="0"/>
                    </a:moveTo>
                    <a:cubicBezTo>
                      <a:pt x="5" y="2"/>
                      <a:pt x="12" y="2"/>
                      <a:pt x="0" y="10"/>
                    </a:cubicBezTo>
                    <a:cubicBezTo>
                      <a:pt x="1" y="15"/>
                      <a:pt x="10" y="20"/>
                      <a:pt x="10" y="20"/>
                    </a:cubicBezTo>
                    <a:cubicBezTo>
                      <a:pt x="16" y="19"/>
                      <a:pt x="23" y="21"/>
                      <a:pt x="27" y="15"/>
                    </a:cubicBezTo>
                    <a:cubicBezTo>
                      <a:pt x="25" y="10"/>
                      <a:pt x="24" y="3"/>
                      <a:pt x="19" y="1"/>
                    </a:cubicBezTo>
                    <a:cubicBezTo>
                      <a:pt x="16" y="2"/>
                      <a:pt x="9" y="3"/>
                      <a:pt x="9" y="3"/>
                    </a:cubicBezTo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157" name="Freeform 54"/>
              <p:cNvSpPr>
                <a:spLocks noChangeAspect="1"/>
              </p:cNvSpPr>
              <p:nvPr/>
            </p:nvSpPr>
            <p:spPr bwMode="auto">
              <a:xfrm>
                <a:off x="2178" y="3606"/>
                <a:ext cx="23" cy="9"/>
              </a:xfrm>
              <a:custGeom>
                <a:avLst/>
                <a:gdLst>
                  <a:gd name="T0" fmla="*/ 1 w 23"/>
                  <a:gd name="T1" fmla="*/ 0 h 9"/>
                  <a:gd name="T2" fmla="*/ 3 w 23"/>
                  <a:gd name="T3" fmla="*/ 7 h 9"/>
                  <a:gd name="T4" fmla="*/ 1 w 23"/>
                  <a:gd name="T5" fmla="*/ 0 h 9"/>
                  <a:gd name="T6" fmla="*/ 0 60000 65536"/>
                  <a:gd name="T7" fmla="*/ 0 60000 65536"/>
                  <a:gd name="T8" fmla="*/ 0 60000 65536"/>
                  <a:gd name="T9" fmla="*/ 0 w 23"/>
                  <a:gd name="T10" fmla="*/ 0 h 9"/>
                  <a:gd name="T11" fmla="*/ 23 w 23"/>
                  <a:gd name="T12" fmla="*/ 9 h 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3" h="9">
                    <a:moveTo>
                      <a:pt x="1" y="0"/>
                    </a:moveTo>
                    <a:cubicBezTo>
                      <a:pt x="23" y="2"/>
                      <a:pt x="19" y="9"/>
                      <a:pt x="3" y="7"/>
                    </a:cubicBezTo>
                    <a:cubicBezTo>
                      <a:pt x="0" y="3"/>
                      <a:pt x="1" y="5"/>
                      <a:pt x="1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158" name="Freeform 55"/>
              <p:cNvSpPr>
                <a:spLocks noChangeAspect="1"/>
              </p:cNvSpPr>
              <p:nvPr/>
            </p:nvSpPr>
            <p:spPr bwMode="auto">
              <a:xfrm>
                <a:off x="2239" y="3523"/>
                <a:ext cx="64" cy="50"/>
              </a:xfrm>
              <a:custGeom>
                <a:avLst/>
                <a:gdLst>
                  <a:gd name="T0" fmla="*/ 3 w 64"/>
                  <a:gd name="T1" fmla="*/ 19 h 50"/>
                  <a:gd name="T2" fmla="*/ 18 w 64"/>
                  <a:gd name="T3" fmla="*/ 14 h 50"/>
                  <a:gd name="T4" fmla="*/ 30 w 64"/>
                  <a:gd name="T5" fmla="*/ 6 h 50"/>
                  <a:gd name="T6" fmla="*/ 44 w 64"/>
                  <a:gd name="T7" fmla="*/ 0 h 50"/>
                  <a:gd name="T8" fmla="*/ 52 w 64"/>
                  <a:gd name="T9" fmla="*/ 21 h 50"/>
                  <a:gd name="T10" fmla="*/ 64 w 64"/>
                  <a:gd name="T11" fmla="*/ 18 h 50"/>
                  <a:gd name="T12" fmla="*/ 58 w 64"/>
                  <a:gd name="T13" fmla="*/ 32 h 50"/>
                  <a:gd name="T14" fmla="*/ 56 w 64"/>
                  <a:gd name="T15" fmla="*/ 35 h 50"/>
                  <a:gd name="T16" fmla="*/ 52 w 64"/>
                  <a:gd name="T17" fmla="*/ 37 h 50"/>
                  <a:gd name="T18" fmla="*/ 40 w 64"/>
                  <a:gd name="T19" fmla="*/ 50 h 50"/>
                  <a:gd name="T20" fmla="*/ 26 w 64"/>
                  <a:gd name="T21" fmla="*/ 42 h 50"/>
                  <a:gd name="T22" fmla="*/ 19 w 64"/>
                  <a:gd name="T23" fmla="*/ 31 h 50"/>
                  <a:gd name="T24" fmla="*/ 0 w 64"/>
                  <a:gd name="T25" fmla="*/ 25 h 50"/>
                  <a:gd name="T26" fmla="*/ 15 w 64"/>
                  <a:gd name="T27" fmla="*/ 15 h 50"/>
                  <a:gd name="T28" fmla="*/ 18 w 64"/>
                  <a:gd name="T29" fmla="*/ 14 h 50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64"/>
                  <a:gd name="T46" fmla="*/ 0 h 50"/>
                  <a:gd name="T47" fmla="*/ 64 w 64"/>
                  <a:gd name="T48" fmla="*/ 50 h 50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64" h="50">
                    <a:moveTo>
                      <a:pt x="3" y="19"/>
                    </a:moveTo>
                    <a:cubicBezTo>
                      <a:pt x="8" y="17"/>
                      <a:pt x="13" y="16"/>
                      <a:pt x="18" y="14"/>
                    </a:cubicBezTo>
                    <a:cubicBezTo>
                      <a:pt x="23" y="12"/>
                      <a:pt x="25" y="8"/>
                      <a:pt x="30" y="6"/>
                    </a:cubicBezTo>
                    <a:cubicBezTo>
                      <a:pt x="33" y="2"/>
                      <a:pt x="44" y="0"/>
                      <a:pt x="44" y="0"/>
                    </a:cubicBezTo>
                    <a:cubicBezTo>
                      <a:pt x="55" y="3"/>
                      <a:pt x="43" y="15"/>
                      <a:pt x="52" y="21"/>
                    </a:cubicBezTo>
                    <a:cubicBezTo>
                      <a:pt x="60" y="16"/>
                      <a:pt x="56" y="17"/>
                      <a:pt x="64" y="18"/>
                    </a:cubicBezTo>
                    <a:cubicBezTo>
                      <a:pt x="63" y="24"/>
                      <a:pt x="63" y="29"/>
                      <a:pt x="58" y="32"/>
                    </a:cubicBezTo>
                    <a:cubicBezTo>
                      <a:pt x="57" y="33"/>
                      <a:pt x="57" y="34"/>
                      <a:pt x="56" y="35"/>
                    </a:cubicBezTo>
                    <a:cubicBezTo>
                      <a:pt x="55" y="36"/>
                      <a:pt x="53" y="36"/>
                      <a:pt x="52" y="37"/>
                    </a:cubicBezTo>
                    <a:cubicBezTo>
                      <a:pt x="45" y="45"/>
                      <a:pt x="52" y="44"/>
                      <a:pt x="40" y="50"/>
                    </a:cubicBezTo>
                    <a:cubicBezTo>
                      <a:pt x="35" y="46"/>
                      <a:pt x="33" y="43"/>
                      <a:pt x="26" y="42"/>
                    </a:cubicBezTo>
                    <a:cubicBezTo>
                      <a:pt x="24" y="36"/>
                      <a:pt x="24" y="34"/>
                      <a:pt x="19" y="31"/>
                    </a:cubicBezTo>
                    <a:cubicBezTo>
                      <a:pt x="3" y="32"/>
                      <a:pt x="0" y="38"/>
                      <a:pt x="0" y="25"/>
                    </a:cubicBezTo>
                    <a:cubicBezTo>
                      <a:pt x="0" y="19"/>
                      <a:pt x="10" y="17"/>
                      <a:pt x="15" y="15"/>
                    </a:cubicBezTo>
                    <a:cubicBezTo>
                      <a:pt x="16" y="15"/>
                      <a:pt x="18" y="14"/>
                      <a:pt x="18" y="14"/>
                    </a:cubicBezTo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159" name="Freeform 56"/>
              <p:cNvSpPr>
                <a:spLocks noChangeAspect="1"/>
              </p:cNvSpPr>
              <p:nvPr/>
            </p:nvSpPr>
            <p:spPr bwMode="auto">
              <a:xfrm>
                <a:off x="2324" y="3522"/>
                <a:ext cx="31" cy="24"/>
              </a:xfrm>
              <a:custGeom>
                <a:avLst/>
                <a:gdLst>
                  <a:gd name="T0" fmla="*/ 1 w 31"/>
                  <a:gd name="T1" fmla="*/ 0 h 24"/>
                  <a:gd name="T2" fmla="*/ 24 w 31"/>
                  <a:gd name="T3" fmla="*/ 1 h 24"/>
                  <a:gd name="T4" fmla="*/ 29 w 31"/>
                  <a:gd name="T5" fmla="*/ 21 h 24"/>
                  <a:gd name="T6" fmla="*/ 19 w 31"/>
                  <a:gd name="T7" fmla="*/ 13 h 24"/>
                  <a:gd name="T8" fmla="*/ 6 w 31"/>
                  <a:gd name="T9" fmla="*/ 10 h 24"/>
                  <a:gd name="T10" fmla="*/ 1 w 31"/>
                  <a:gd name="T11" fmla="*/ 0 h 2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1"/>
                  <a:gd name="T19" fmla="*/ 0 h 24"/>
                  <a:gd name="T20" fmla="*/ 31 w 31"/>
                  <a:gd name="T21" fmla="*/ 24 h 2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1" h="24">
                    <a:moveTo>
                      <a:pt x="1" y="0"/>
                    </a:moveTo>
                    <a:cubicBezTo>
                      <a:pt x="9" y="0"/>
                      <a:pt x="16" y="0"/>
                      <a:pt x="24" y="1"/>
                    </a:cubicBezTo>
                    <a:cubicBezTo>
                      <a:pt x="31" y="2"/>
                      <a:pt x="29" y="21"/>
                      <a:pt x="29" y="21"/>
                    </a:cubicBezTo>
                    <a:cubicBezTo>
                      <a:pt x="21" y="24"/>
                      <a:pt x="24" y="16"/>
                      <a:pt x="19" y="13"/>
                    </a:cubicBezTo>
                    <a:cubicBezTo>
                      <a:pt x="15" y="11"/>
                      <a:pt x="10" y="11"/>
                      <a:pt x="6" y="10"/>
                    </a:cubicBezTo>
                    <a:cubicBezTo>
                      <a:pt x="0" y="6"/>
                      <a:pt x="0" y="9"/>
                      <a:pt x="1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160" name="Freeform 57"/>
              <p:cNvSpPr>
                <a:spLocks noChangeAspect="1"/>
              </p:cNvSpPr>
              <p:nvPr/>
            </p:nvSpPr>
            <p:spPr bwMode="auto">
              <a:xfrm>
                <a:off x="1648" y="3145"/>
                <a:ext cx="665" cy="590"/>
              </a:xfrm>
              <a:custGeom>
                <a:avLst/>
                <a:gdLst>
                  <a:gd name="T0" fmla="*/ 395 w 665"/>
                  <a:gd name="T1" fmla="*/ 96 h 590"/>
                  <a:gd name="T2" fmla="*/ 361 w 665"/>
                  <a:gd name="T3" fmla="*/ 90 h 590"/>
                  <a:gd name="T4" fmla="*/ 337 w 665"/>
                  <a:gd name="T5" fmla="*/ 86 h 590"/>
                  <a:gd name="T6" fmla="*/ 310 w 665"/>
                  <a:gd name="T7" fmla="*/ 71 h 590"/>
                  <a:gd name="T8" fmla="*/ 258 w 665"/>
                  <a:gd name="T9" fmla="*/ 61 h 590"/>
                  <a:gd name="T10" fmla="*/ 220 w 665"/>
                  <a:gd name="T11" fmla="*/ 53 h 590"/>
                  <a:gd name="T12" fmla="*/ 137 w 665"/>
                  <a:gd name="T13" fmla="*/ 26 h 590"/>
                  <a:gd name="T14" fmla="*/ 90 w 665"/>
                  <a:gd name="T15" fmla="*/ 2 h 590"/>
                  <a:gd name="T16" fmla="*/ 66 w 665"/>
                  <a:gd name="T17" fmla="*/ 18 h 590"/>
                  <a:gd name="T18" fmla="*/ 40 w 665"/>
                  <a:gd name="T19" fmla="*/ 23 h 590"/>
                  <a:gd name="T20" fmla="*/ 15 w 665"/>
                  <a:gd name="T21" fmla="*/ 20 h 590"/>
                  <a:gd name="T22" fmla="*/ 12 w 665"/>
                  <a:gd name="T23" fmla="*/ 102 h 590"/>
                  <a:gd name="T24" fmla="*/ 29 w 665"/>
                  <a:gd name="T25" fmla="*/ 115 h 590"/>
                  <a:gd name="T26" fmla="*/ 43 w 665"/>
                  <a:gd name="T27" fmla="*/ 133 h 590"/>
                  <a:gd name="T28" fmla="*/ 129 w 665"/>
                  <a:gd name="T29" fmla="*/ 147 h 590"/>
                  <a:gd name="T30" fmla="*/ 138 w 665"/>
                  <a:gd name="T31" fmla="*/ 182 h 590"/>
                  <a:gd name="T32" fmla="*/ 99 w 665"/>
                  <a:gd name="T33" fmla="*/ 212 h 590"/>
                  <a:gd name="T34" fmla="*/ 91 w 665"/>
                  <a:gd name="T35" fmla="*/ 247 h 590"/>
                  <a:gd name="T36" fmla="*/ 82 w 665"/>
                  <a:gd name="T37" fmla="*/ 275 h 590"/>
                  <a:gd name="T38" fmla="*/ 63 w 665"/>
                  <a:gd name="T39" fmla="*/ 303 h 590"/>
                  <a:gd name="T40" fmla="*/ 45 w 665"/>
                  <a:gd name="T41" fmla="*/ 309 h 590"/>
                  <a:gd name="T42" fmla="*/ 48 w 665"/>
                  <a:gd name="T43" fmla="*/ 362 h 590"/>
                  <a:gd name="T44" fmla="*/ 34 w 665"/>
                  <a:gd name="T45" fmla="*/ 392 h 590"/>
                  <a:gd name="T46" fmla="*/ 40 w 665"/>
                  <a:gd name="T47" fmla="*/ 409 h 590"/>
                  <a:gd name="T48" fmla="*/ 23 w 665"/>
                  <a:gd name="T49" fmla="*/ 428 h 590"/>
                  <a:gd name="T50" fmla="*/ 0 w 665"/>
                  <a:gd name="T51" fmla="*/ 461 h 590"/>
                  <a:gd name="T52" fmla="*/ 34 w 665"/>
                  <a:gd name="T53" fmla="*/ 492 h 590"/>
                  <a:gd name="T54" fmla="*/ 57 w 665"/>
                  <a:gd name="T55" fmla="*/ 537 h 590"/>
                  <a:gd name="T56" fmla="*/ 75 w 665"/>
                  <a:gd name="T57" fmla="*/ 590 h 590"/>
                  <a:gd name="T58" fmla="*/ 124 w 665"/>
                  <a:gd name="T59" fmla="*/ 572 h 590"/>
                  <a:gd name="T60" fmla="*/ 186 w 665"/>
                  <a:gd name="T61" fmla="*/ 554 h 590"/>
                  <a:gd name="T62" fmla="*/ 281 w 665"/>
                  <a:gd name="T63" fmla="*/ 567 h 590"/>
                  <a:gd name="T64" fmla="*/ 336 w 665"/>
                  <a:gd name="T65" fmla="*/ 537 h 590"/>
                  <a:gd name="T66" fmla="*/ 402 w 665"/>
                  <a:gd name="T67" fmla="*/ 518 h 590"/>
                  <a:gd name="T68" fmla="*/ 438 w 665"/>
                  <a:gd name="T69" fmla="*/ 455 h 590"/>
                  <a:gd name="T70" fmla="*/ 450 w 665"/>
                  <a:gd name="T71" fmla="*/ 425 h 590"/>
                  <a:gd name="T72" fmla="*/ 435 w 665"/>
                  <a:gd name="T73" fmla="*/ 405 h 590"/>
                  <a:gd name="T74" fmla="*/ 456 w 665"/>
                  <a:gd name="T75" fmla="*/ 371 h 590"/>
                  <a:gd name="T76" fmla="*/ 480 w 665"/>
                  <a:gd name="T77" fmla="*/ 341 h 590"/>
                  <a:gd name="T78" fmla="*/ 497 w 665"/>
                  <a:gd name="T79" fmla="*/ 315 h 590"/>
                  <a:gd name="T80" fmla="*/ 522 w 665"/>
                  <a:gd name="T81" fmla="*/ 297 h 590"/>
                  <a:gd name="T82" fmla="*/ 549 w 665"/>
                  <a:gd name="T83" fmla="*/ 281 h 590"/>
                  <a:gd name="T84" fmla="*/ 607 w 665"/>
                  <a:gd name="T85" fmla="*/ 267 h 590"/>
                  <a:gd name="T86" fmla="*/ 640 w 665"/>
                  <a:gd name="T87" fmla="*/ 251 h 590"/>
                  <a:gd name="T88" fmla="*/ 659 w 665"/>
                  <a:gd name="T89" fmla="*/ 191 h 590"/>
                  <a:gd name="T90" fmla="*/ 598 w 665"/>
                  <a:gd name="T91" fmla="*/ 193 h 590"/>
                  <a:gd name="T92" fmla="*/ 569 w 665"/>
                  <a:gd name="T93" fmla="*/ 170 h 590"/>
                  <a:gd name="T94" fmla="*/ 531 w 665"/>
                  <a:gd name="T95" fmla="*/ 162 h 590"/>
                  <a:gd name="T96" fmla="*/ 504 w 665"/>
                  <a:gd name="T97" fmla="*/ 159 h 590"/>
                  <a:gd name="T98" fmla="*/ 467 w 665"/>
                  <a:gd name="T99" fmla="*/ 143 h 590"/>
                  <a:gd name="T100" fmla="*/ 437 w 665"/>
                  <a:gd name="T101" fmla="*/ 131 h 590"/>
                  <a:gd name="T102" fmla="*/ 418 w 665"/>
                  <a:gd name="T103" fmla="*/ 89 h 590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665"/>
                  <a:gd name="T157" fmla="*/ 0 h 590"/>
                  <a:gd name="T158" fmla="*/ 665 w 665"/>
                  <a:gd name="T159" fmla="*/ 590 h 590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665" h="590">
                    <a:moveTo>
                      <a:pt x="418" y="89"/>
                    </a:moveTo>
                    <a:cubicBezTo>
                      <a:pt x="411" y="90"/>
                      <a:pt x="402" y="95"/>
                      <a:pt x="395" y="96"/>
                    </a:cubicBezTo>
                    <a:cubicBezTo>
                      <a:pt x="384" y="95"/>
                      <a:pt x="382" y="94"/>
                      <a:pt x="373" y="92"/>
                    </a:cubicBezTo>
                    <a:cubicBezTo>
                      <a:pt x="369" y="91"/>
                      <a:pt x="361" y="90"/>
                      <a:pt x="361" y="90"/>
                    </a:cubicBezTo>
                    <a:cubicBezTo>
                      <a:pt x="358" y="86"/>
                      <a:pt x="356" y="84"/>
                      <a:pt x="351" y="83"/>
                    </a:cubicBezTo>
                    <a:cubicBezTo>
                      <a:pt x="346" y="84"/>
                      <a:pt x="337" y="86"/>
                      <a:pt x="337" y="86"/>
                    </a:cubicBezTo>
                    <a:cubicBezTo>
                      <a:pt x="332" y="84"/>
                      <a:pt x="332" y="78"/>
                      <a:pt x="327" y="75"/>
                    </a:cubicBezTo>
                    <a:cubicBezTo>
                      <a:pt x="323" y="73"/>
                      <a:pt x="315" y="72"/>
                      <a:pt x="310" y="71"/>
                    </a:cubicBezTo>
                    <a:cubicBezTo>
                      <a:pt x="302" y="70"/>
                      <a:pt x="285" y="68"/>
                      <a:pt x="285" y="68"/>
                    </a:cubicBezTo>
                    <a:cubicBezTo>
                      <a:pt x="274" y="64"/>
                      <a:pt x="271" y="62"/>
                      <a:pt x="258" y="61"/>
                    </a:cubicBezTo>
                    <a:cubicBezTo>
                      <a:pt x="249" y="58"/>
                      <a:pt x="240" y="57"/>
                      <a:pt x="231" y="56"/>
                    </a:cubicBezTo>
                    <a:cubicBezTo>
                      <a:pt x="227" y="55"/>
                      <a:pt x="224" y="54"/>
                      <a:pt x="220" y="53"/>
                    </a:cubicBezTo>
                    <a:cubicBezTo>
                      <a:pt x="210" y="43"/>
                      <a:pt x="202" y="37"/>
                      <a:pt x="187" y="35"/>
                    </a:cubicBezTo>
                    <a:cubicBezTo>
                      <a:pt x="168" y="29"/>
                      <a:pt x="160" y="27"/>
                      <a:pt x="137" y="26"/>
                    </a:cubicBezTo>
                    <a:cubicBezTo>
                      <a:pt x="128" y="24"/>
                      <a:pt x="125" y="15"/>
                      <a:pt x="115" y="13"/>
                    </a:cubicBezTo>
                    <a:cubicBezTo>
                      <a:pt x="103" y="5"/>
                      <a:pt x="107" y="3"/>
                      <a:pt x="90" y="2"/>
                    </a:cubicBezTo>
                    <a:cubicBezTo>
                      <a:pt x="84" y="0"/>
                      <a:pt x="84" y="4"/>
                      <a:pt x="79" y="7"/>
                    </a:cubicBezTo>
                    <a:cubicBezTo>
                      <a:pt x="77" y="12"/>
                      <a:pt x="71" y="17"/>
                      <a:pt x="66" y="18"/>
                    </a:cubicBezTo>
                    <a:cubicBezTo>
                      <a:pt x="62" y="21"/>
                      <a:pt x="59" y="24"/>
                      <a:pt x="54" y="26"/>
                    </a:cubicBezTo>
                    <a:cubicBezTo>
                      <a:pt x="49" y="25"/>
                      <a:pt x="45" y="25"/>
                      <a:pt x="40" y="23"/>
                    </a:cubicBezTo>
                    <a:cubicBezTo>
                      <a:pt x="38" y="18"/>
                      <a:pt x="33" y="18"/>
                      <a:pt x="28" y="17"/>
                    </a:cubicBezTo>
                    <a:cubicBezTo>
                      <a:pt x="24" y="18"/>
                      <a:pt x="15" y="20"/>
                      <a:pt x="15" y="20"/>
                    </a:cubicBezTo>
                    <a:cubicBezTo>
                      <a:pt x="6" y="33"/>
                      <a:pt x="14" y="53"/>
                      <a:pt x="16" y="68"/>
                    </a:cubicBezTo>
                    <a:cubicBezTo>
                      <a:pt x="15" y="91"/>
                      <a:pt x="15" y="87"/>
                      <a:pt x="12" y="102"/>
                    </a:cubicBezTo>
                    <a:cubicBezTo>
                      <a:pt x="12" y="109"/>
                      <a:pt x="7" y="121"/>
                      <a:pt x="16" y="119"/>
                    </a:cubicBezTo>
                    <a:cubicBezTo>
                      <a:pt x="23" y="120"/>
                      <a:pt x="24" y="116"/>
                      <a:pt x="29" y="115"/>
                    </a:cubicBezTo>
                    <a:cubicBezTo>
                      <a:pt x="42" y="116"/>
                      <a:pt x="45" y="111"/>
                      <a:pt x="49" y="122"/>
                    </a:cubicBezTo>
                    <a:cubicBezTo>
                      <a:pt x="48" y="127"/>
                      <a:pt x="47" y="130"/>
                      <a:pt x="43" y="133"/>
                    </a:cubicBezTo>
                    <a:cubicBezTo>
                      <a:pt x="55" y="141"/>
                      <a:pt x="67" y="139"/>
                      <a:pt x="81" y="141"/>
                    </a:cubicBezTo>
                    <a:cubicBezTo>
                      <a:pt x="97" y="140"/>
                      <a:pt x="117" y="135"/>
                      <a:pt x="129" y="147"/>
                    </a:cubicBezTo>
                    <a:cubicBezTo>
                      <a:pt x="133" y="158"/>
                      <a:pt x="130" y="164"/>
                      <a:pt x="141" y="170"/>
                    </a:cubicBezTo>
                    <a:cubicBezTo>
                      <a:pt x="142" y="175"/>
                      <a:pt x="142" y="178"/>
                      <a:pt x="138" y="182"/>
                    </a:cubicBezTo>
                    <a:cubicBezTo>
                      <a:pt x="133" y="196"/>
                      <a:pt x="121" y="196"/>
                      <a:pt x="109" y="199"/>
                    </a:cubicBezTo>
                    <a:cubicBezTo>
                      <a:pt x="105" y="204"/>
                      <a:pt x="102" y="207"/>
                      <a:pt x="99" y="212"/>
                    </a:cubicBezTo>
                    <a:cubicBezTo>
                      <a:pt x="98" y="217"/>
                      <a:pt x="95" y="227"/>
                      <a:pt x="95" y="227"/>
                    </a:cubicBezTo>
                    <a:cubicBezTo>
                      <a:pt x="94" y="237"/>
                      <a:pt x="95" y="239"/>
                      <a:pt x="91" y="247"/>
                    </a:cubicBezTo>
                    <a:cubicBezTo>
                      <a:pt x="90" y="255"/>
                      <a:pt x="91" y="263"/>
                      <a:pt x="82" y="266"/>
                    </a:cubicBezTo>
                    <a:cubicBezTo>
                      <a:pt x="78" y="270"/>
                      <a:pt x="80" y="270"/>
                      <a:pt x="82" y="275"/>
                    </a:cubicBezTo>
                    <a:cubicBezTo>
                      <a:pt x="81" y="282"/>
                      <a:pt x="78" y="291"/>
                      <a:pt x="73" y="296"/>
                    </a:cubicBezTo>
                    <a:cubicBezTo>
                      <a:pt x="72" y="300"/>
                      <a:pt x="63" y="303"/>
                      <a:pt x="63" y="303"/>
                    </a:cubicBezTo>
                    <a:cubicBezTo>
                      <a:pt x="59" y="302"/>
                      <a:pt x="55" y="301"/>
                      <a:pt x="51" y="300"/>
                    </a:cubicBezTo>
                    <a:cubicBezTo>
                      <a:pt x="40" y="301"/>
                      <a:pt x="41" y="301"/>
                      <a:pt x="45" y="309"/>
                    </a:cubicBezTo>
                    <a:cubicBezTo>
                      <a:pt x="45" y="316"/>
                      <a:pt x="54" y="336"/>
                      <a:pt x="54" y="345"/>
                    </a:cubicBezTo>
                    <a:cubicBezTo>
                      <a:pt x="65" y="351"/>
                      <a:pt x="54" y="358"/>
                      <a:pt x="48" y="362"/>
                    </a:cubicBezTo>
                    <a:cubicBezTo>
                      <a:pt x="44" y="369"/>
                      <a:pt x="40" y="375"/>
                      <a:pt x="37" y="383"/>
                    </a:cubicBezTo>
                    <a:cubicBezTo>
                      <a:pt x="36" y="386"/>
                      <a:pt x="35" y="389"/>
                      <a:pt x="34" y="392"/>
                    </a:cubicBezTo>
                    <a:cubicBezTo>
                      <a:pt x="34" y="393"/>
                      <a:pt x="33" y="395"/>
                      <a:pt x="33" y="395"/>
                    </a:cubicBezTo>
                    <a:cubicBezTo>
                      <a:pt x="35" y="401"/>
                      <a:pt x="35" y="405"/>
                      <a:pt x="40" y="409"/>
                    </a:cubicBezTo>
                    <a:cubicBezTo>
                      <a:pt x="43" y="415"/>
                      <a:pt x="48" y="416"/>
                      <a:pt x="39" y="422"/>
                    </a:cubicBezTo>
                    <a:cubicBezTo>
                      <a:pt x="35" y="427"/>
                      <a:pt x="29" y="427"/>
                      <a:pt x="23" y="428"/>
                    </a:cubicBezTo>
                    <a:cubicBezTo>
                      <a:pt x="21" y="435"/>
                      <a:pt x="24" y="427"/>
                      <a:pt x="13" y="434"/>
                    </a:cubicBezTo>
                    <a:cubicBezTo>
                      <a:pt x="12" y="435"/>
                      <a:pt x="1" y="458"/>
                      <a:pt x="0" y="461"/>
                    </a:cubicBezTo>
                    <a:cubicBezTo>
                      <a:pt x="1" y="470"/>
                      <a:pt x="2" y="466"/>
                      <a:pt x="4" y="483"/>
                    </a:cubicBezTo>
                    <a:cubicBezTo>
                      <a:pt x="21" y="477"/>
                      <a:pt x="25" y="483"/>
                      <a:pt x="34" y="492"/>
                    </a:cubicBezTo>
                    <a:cubicBezTo>
                      <a:pt x="37" y="500"/>
                      <a:pt x="39" y="510"/>
                      <a:pt x="46" y="515"/>
                    </a:cubicBezTo>
                    <a:cubicBezTo>
                      <a:pt x="51" y="522"/>
                      <a:pt x="52" y="530"/>
                      <a:pt x="57" y="537"/>
                    </a:cubicBezTo>
                    <a:cubicBezTo>
                      <a:pt x="59" y="550"/>
                      <a:pt x="58" y="545"/>
                      <a:pt x="60" y="552"/>
                    </a:cubicBezTo>
                    <a:cubicBezTo>
                      <a:pt x="62" y="565"/>
                      <a:pt x="68" y="579"/>
                      <a:pt x="75" y="590"/>
                    </a:cubicBezTo>
                    <a:cubicBezTo>
                      <a:pt x="87" y="587"/>
                      <a:pt x="97" y="579"/>
                      <a:pt x="111" y="577"/>
                    </a:cubicBezTo>
                    <a:cubicBezTo>
                      <a:pt x="116" y="575"/>
                      <a:pt x="120" y="573"/>
                      <a:pt x="124" y="572"/>
                    </a:cubicBezTo>
                    <a:cubicBezTo>
                      <a:pt x="133" y="563"/>
                      <a:pt x="142" y="565"/>
                      <a:pt x="155" y="564"/>
                    </a:cubicBezTo>
                    <a:cubicBezTo>
                      <a:pt x="166" y="561"/>
                      <a:pt x="175" y="555"/>
                      <a:pt x="186" y="554"/>
                    </a:cubicBezTo>
                    <a:cubicBezTo>
                      <a:pt x="198" y="555"/>
                      <a:pt x="204" y="560"/>
                      <a:pt x="216" y="561"/>
                    </a:cubicBezTo>
                    <a:cubicBezTo>
                      <a:pt x="236" y="569"/>
                      <a:pt x="260" y="566"/>
                      <a:pt x="281" y="567"/>
                    </a:cubicBezTo>
                    <a:cubicBezTo>
                      <a:pt x="302" y="566"/>
                      <a:pt x="289" y="572"/>
                      <a:pt x="309" y="569"/>
                    </a:cubicBezTo>
                    <a:cubicBezTo>
                      <a:pt x="312" y="567"/>
                      <a:pt x="336" y="537"/>
                      <a:pt x="336" y="537"/>
                    </a:cubicBezTo>
                    <a:cubicBezTo>
                      <a:pt x="340" y="526"/>
                      <a:pt x="358" y="529"/>
                      <a:pt x="370" y="527"/>
                    </a:cubicBezTo>
                    <a:cubicBezTo>
                      <a:pt x="394" y="528"/>
                      <a:pt x="396" y="531"/>
                      <a:pt x="402" y="518"/>
                    </a:cubicBezTo>
                    <a:cubicBezTo>
                      <a:pt x="400" y="507"/>
                      <a:pt x="404" y="486"/>
                      <a:pt x="414" y="483"/>
                    </a:cubicBezTo>
                    <a:cubicBezTo>
                      <a:pt x="421" y="474"/>
                      <a:pt x="431" y="462"/>
                      <a:pt x="438" y="455"/>
                    </a:cubicBezTo>
                    <a:cubicBezTo>
                      <a:pt x="440" y="449"/>
                      <a:pt x="455" y="453"/>
                      <a:pt x="459" y="447"/>
                    </a:cubicBezTo>
                    <a:cubicBezTo>
                      <a:pt x="458" y="439"/>
                      <a:pt x="459" y="428"/>
                      <a:pt x="450" y="425"/>
                    </a:cubicBezTo>
                    <a:cubicBezTo>
                      <a:pt x="448" y="421"/>
                      <a:pt x="443" y="418"/>
                      <a:pt x="439" y="415"/>
                    </a:cubicBezTo>
                    <a:cubicBezTo>
                      <a:pt x="437" y="412"/>
                      <a:pt x="435" y="405"/>
                      <a:pt x="435" y="405"/>
                    </a:cubicBezTo>
                    <a:cubicBezTo>
                      <a:pt x="438" y="394"/>
                      <a:pt x="439" y="390"/>
                      <a:pt x="445" y="381"/>
                    </a:cubicBezTo>
                    <a:cubicBezTo>
                      <a:pt x="448" y="377"/>
                      <a:pt x="456" y="371"/>
                      <a:pt x="456" y="371"/>
                    </a:cubicBezTo>
                    <a:cubicBezTo>
                      <a:pt x="458" y="365"/>
                      <a:pt x="466" y="355"/>
                      <a:pt x="471" y="350"/>
                    </a:cubicBezTo>
                    <a:cubicBezTo>
                      <a:pt x="474" y="347"/>
                      <a:pt x="480" y="341"/>
                      <a:pt x="480" y="341"/>
                    </a:cubicBezTo>
                    <a:cubicBezTo>
                      <a:pt x="481" y="337"/>
                      <a:pt x="486" y="333"/>
                      <a:pt x="489" y="330"/>
                    </a:cubicBezTo>
                    <a:cubicBezTo>
                      <a:pt x="491" y="325"/>
                      <a:pt x="492" y="317"/>
                      <a:pt x="497" y="315"/>
                    </a:cubicBezTo>
                    <a:cubicBezTo>
                      <a:pt x="499" y="310"/>
                      <a:pt x="505" y="306"/>
                      <a:pt x="509" y="303"/>
                    </a:cubicBezTo>
                    <a:cubicBezTo>
                      <a:pt x="511" y="300"/>
                      <a:pt x="519" y="300"/>
                      <a:pt x="522" y="297"/>
                    </a:cubicBezTo>
                    <a:cubicBezTo>
                      <a:pt x="524" y="295"/>
                      <a:pt x="528" y="293"/>
                      <a:pt x="528" y="293"/>
                    </a:cubicBezTo>
                    <a:cubicBezTo>
                      <a:pt x="530" y="286"/>
                      <a:pt x="542" y="282"/>
                      <a:pt x="549" y="281"/>
                    </a:cubicBezTo>
                    <a:cubicBezTo>
                      <a:pt x="560" y="276"/>
                      <a:pt x="574" y="277"/>
                      <a:pt x="586" y="275"/>
                    </a:cubicBezTo>
                    <a:cubicBezTo>
                      <a:pt x="592" y="271"/>
                      <a:pt x="600" y="270"/>
                      <a:pt x="607" y="267"/>
                    </a:cubicBezTo>
                    <a:cubicBezTo>
                      <a:pt x="610" y="266"/>
                      <a:pt x="616" y="264"/>
                      <a:pt x="616" y="264"/>
                    </a:cubicBezTo>
                    <a:cubicBezTo>
                      <a:pt x="621" y="259"/>
                      <a:pt x="633" y="254"/>
                      <a:pt x="640" y="251"/>
                    </a:cubicBezTo>
                    <a:cubicBezTo>
                      <a:pt x="643" y="247"/>
                      <a:pt x="650" y="243"/>
                      <a:pt x="654" y="240"/>
                    </a:cubicBezTo>
                    <a:cubicBezTo>
                      <a:pt x="665" y="218"/>
                      <a:pt x="665" y="199"/>
                      <a:pt x="659" y="191"/>
                    </a:cubicBezTo>
                    <a:lnTo>
                      <a:pt x="616" y="194"/>
                    </a:lnTo>
                    <a:lnTo>
                      <a:pt x="598" y="193"/>
                    </a:lnTo>
                    <a:lnTo>
                      <a:pt x="593" y="179"/>
                    </a:lnTo>
                    <a:lnTo>
                      <a:pt x="569" y="170"/>
                    </a:lnTo>
                    <a:lnTo>
                      <a:pt x="539" y="153"/>
                    </a:lnTo>
                    <a:lnTo>
                      <a:pt x="531" y="162"/>
                    </a:lnTo>
                    <a:lnTo>
                      <a:pt x="519" y="164"/>
                    </a:lnTo>
                    <a:lnTo>
                      <a:pt x="504" y="159"/>
                    </a:lnTo>
                    <a:lnTo>
                      <a:pt x="486" y="156"/>
                    </a:lnTo>
                    <a:lnTo>
                      <a:pt x="467" y="143"/>
                    </a:lnTo>
                    <a:lnTo>
                      <a:pt x="455" y="131"/>
                    </a:lnTo>
                    <a:lnTo>
                      <a:pt x="437" y="131"/>
                    </a:lnTo>
                    <a:lnTo>
                      <a:pt x="419" y="110"/>
                    </a:lnTo>
                    <a:lnTo>
                      <a:pt x="418" y="89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</p:grpSp>
        <p:grpSp>
          <p:nvGrpSpPr>
            <p:cNvPr id="87" name="Group 58"/>
            <p:cNvGrpSpPr>
              <a:grpSpLocks/>
            </p:cNvGrpSpPr>
            <p:nvPr/>
          </p:nvGrpSpPr>
          <p:grpSpPr bwMode="auto">
            <a:xfrm>
              <a:off x="2355" y="2602"/>
              <a:ext cx="422" cy="564"/>
              <a:chOff x="2491" y="2445"/>
              <a:chExt cx="418" cy="558"/>
            </a:xfrm>
            <a:grpFill/>
          </p:grpSpPr>
          <p:grpSp>
            <p:nvGrpSpPr>
              <p:cNvPr id="152" name="Group 59"/>
              <p:cNvGrpSpPr>
                <a:grpSpLocks noChangeAspect="1"/>
              </p:cNvGrpSpPr>
              <p:nvPr/>
            </p:nvGrpSpPr>
            <p:grpSpPr bwMode="auto">
              <a:xfrm>
                <a:off x="2491" y="2445"/>
                <a:ext cx="418" cy="558"/>
                <a:chOff x="2492" y="2445"/>
                <a:chExt cx="418" cy="558"/>
              </a:xfrm>
              <a:grpFill/>
            </p:grpSpPr>
            <p:sp>
              <p:nvSpPr>
                <p:cNvPr id="154" name="Freeform 60"/>
                <p:cNvSpPr>
                  <a:spLocks noChangeAspect="1"/>
                </p:cNvSpPr>
                <p:nvPr/>
              </p:nvSpPr>
              <p:spPr bwMode="auto">
                <a:xfrm>
                  <a:off x="2606" y="2445"/>
                  <a:ext cx="12" cy="31"/>
                </a:xfrm>
                <a:custGeom>
                  <a:avLst/>
                  <a:gdLst>
                    <a:gd name="T0" fmla="*/ 6 w 12"/>
                    <a:gd name="T1" fmla="*/ 0 h 31"/>
                    <a:gd name="T2" fmla="*/ 0 w 12"/>
                    <a:gd name="T3" fmla="*/ 12 h 31"/>
                    <a:gd name="T4" fmla="*/ 3 w 12"/>
                    <a:gd name="T5" fmla="*/ 31 h 31"/>
                    <a:gd name="T6" fmla="*/ 6 w 12"/>
                    <a:gd name="T7" fmla="*/ 0 h 31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2"/>
                    <a:gd name="T13" fmla="*/ 0 h 31"/>
                    <a:gd name="T14" fmla="*/ 12 w 12"/>
                    <a:gd name="T15" fmla="*/ 31 h 31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2" h="31">
                      <a:moveTo>
                        <a:pt x="6" y="0"/>
                      </a:moveTo>
                      <a:cubicBezTo>
                        <a:pt x="5" y="4"/>
                        <a:pt x="0" y="12"/>
                        <a:pt x="0" y="12"/>
                      </a:cubicBezTo>
                      <a:cubicBezTo>
                        <a:pt x="1" y="18"/>
                        <a:pt x="2" y="25"/>
                        <a:pt x="3" y="31"/>
                      </a:cubicBezTo>
                      <a:cubicBezTo>
                        <a:pt x="12" y="22"/>
                        <a:pt x="8" y="11"/>
                        <a:pt x="6" y="0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orpoS" pitchFamily="2" charset="0"/>
                    <a:ea typeface="+mn-ea"/>
                  </a:endParaRPr>
                </a:p>
              </p:txBody>
            </p:sp>
            <p:sp>
              <p:nvSpPr>
                <p:cNvPr id="155" name="Freeform 61"/>
                <p:cNvSpPr>
                  <a:spLocks noChangeAspect="1"/>
                </p:cNvSpPr>
                <p:nvPr/>
              </p:nvSpPr>
              <p:spPr bwMode="auto">
                <a:xfrm>
                  <a:off x="2492" y="2450"/>
                  <a:ext cx="418" cy="553"/>
                </a:xfrm>
                <a:custGeom>
                  <a:avLst/>
                  <a:gdLst>
                    <a:gd name="T0" fmla="*/ 351 w 418"/>
                    <a:gd name="T1" fmla="*/ 427 h 553"/>
                    <a:gd name="T2" fmla="*/ 335 w 418"/>
                    <a:gd name="T3" fmla="*/ 412 h 553"/>
                    <a:gd name="T4" fmla="*/ 320 w 418"/>
                    <a:gd name="T5" fmla="*/ 398 h 553"/>
                    <a:gd name="T6" fmla="*/ 303 w 418"/>
                    <a:gd name="T7" fmla="*/ 379 h 553"/>
                    <a:gd name="T8" fmla="*/ 287 w 418"/>
                    <a:gd name="T9" fmla="*/ 344 h 553"/>
                    <a:gd name="T10" fmla="*/ 313 w 418"/>
                    <a:gd name="T11" fmla="*/ 328 h 553"/>
                    <a:gd name="T12" fmla="*/ 354 w 418"/>
                    <a:gd name="T13" fmla="*/ 306 h 553"/>
                    <a:gd name="T14" fmla="*/ 371 w 418"/>
                    <a:gd name="T15" fmla="*/ 298 h 553"/>
                    <a:gd name="T16" fmla="*/ 398 w 418"/>
                    <a:gd name="T17" fmla="*/ 287 h 553"/>
                    <a:gd name="T18" fmla="*/ 411 w 418"/>
                    <a:gd name="T19" fmla="*/ 263 h 553"/>
                    <a:gd name="T20" fmla="*/ 411 w 418"/>
                    <a:gd name="T21" fmla="*/ 242 h 553"/>
                    <a:gd name="T22" fmla="*/ 393 w 418"/>
                    <a:gd name="T23" fmla="*/ 214 h 553"/>
                    <a:gd name="T24" fmla="*/ 392 w 418"/>
                    <a:gd name="T25" fmla="*/ 172 h 553"/>
                    <a:gd name="T26" fmla="*/ 381 w 418"/>
                    <a:gd name="T27" fmla="*/ 154 h 553"/>
                    <a:gd name="T28" fmla="*/ 371 w 418"/>
                    <a:gd name="T29" fmla="*/ 137 h 553"/>
                    <a:gd name="T30" fmla="*/ 371 w 418"/>
                    <a:gd name="T31" fmla="*/ 86 h 553"/>
                    <a:gd name="T32" fmla="*/ 345 w 418"/>
                    <a:gd name="T33" fmla="*/ 59 h 553"/>
                    <a:gd name="T34" fmla="*/ 326 w 418"/>
                    <a:gd name="T35" fmla="*/ 44 h 553"/>
                    <a:gd name="T36" fmla="*/ 303 w 418"/>
                    <a:gd name="T37" fmla="*/ 38 h 553"/>
                    <a:gd name="T38" fmla="*/ 254 w 418"/>
                    <a:gd name="T39" fmla="*/ 61 h 553"/>
                    <a:gd name="T40" fmla="*/ 233 w 418"/>
                    <a:gd name="T41" fmla="*/ 44 h 553"/>
                    <a:gd name="T42" fmla="*/ 195 w 418"/>
                    <a:gd name="T43" fmla="*/ 37 h 553"/>
                    <a:gd name="T44" fmla="*/ 162 w 418"/>
                    <a:gd name="T45" fmla="*/ 6 h 553"/>
                    <a:gd name="T46" fmla="*/ 129 w 418"/>
                    <a:gd name="T47" fmla="*/ 1 h 553"/>
                    <a:gd name="T48" fmla="*/ 138 w 418"/>
                    <a:gd name="T49" fmla="*/ 18 h 553"/>
                    <a:gd name="T50" fmla="*/ 141 w 418"/>
                    <a:gd name="T51" fmla="*/ 46 h 553"/>
                    <a:gd name="T52" fmla="*/ 131 w 418"/>
                    <a:gd name="T53" fmla="*/ 79 h 553"/>
                    <a:gd name="T54" fmla="*/ 117 w 418"/>
                    <a:gd name="T55" fmla="*/ 103 h 553"/>
                    <a:gd name="T56" fmla="*/ 92 w 418"/>
                    <a:gd name="T57" fmla="*/ 86 h 553"/>
                    <a:gd name="T58" fmla="*/ 63 w 418"/>
                    <a:gd name="T59" fmla="*/ 113 h 553"/>
                    <a:gd name="T60" fmla="*/ 63 w 418"/>
                    <a:gd name="T61" fmla="*/ 145 h 553"/>
                    <a:gd name="T62" fmla="*/ 51 w 418"/>
                    <a:gd name="T63" fmla="*/ 167 h 553"/>
                    <a:gd name="T64" fmla="*/ 39 w 418"/>
                    <a:gd name="T65" fmla="*/ 164 h 553"/>
                    <a:gd name="T66" fmla="*/ 57 w 418"/>
                    <a:gd name="T67" fmla="*/ 185 h 553"/>
                    <a:gd name="T68" fmla="*/ 44 w 418"/>
                    <a:gd name="T69" fmla="*/ 200 h 553"/>
                    <a:gd name="T70" fmla="*/ 9 w 418"/>
                    <a:gd name="T71" fmla="*/ 220 h 553"/>
                    <a:gd name="T72" fmla="*/ 13 w 418"/>
                    <a:gd name="T73" fmla="*/ 242 h 553"/>
                    <a:gd name="T74" fmla="*/ 0 w 418"/>
                    <a:gd name="T75" fmla="*/ 280 h 553"/>
                    <a:gd name="T76" fmla="*/ 3 w 418"/>
                    <a:gd name="T77" fmla="*/ 295 h 553"/>
                    <a:gd name="T78" fmla="*/ 18 w 418"/>
                    <a:gd name="T79" fmla="*/ 328 h 553"/>
                    <a:gd name="T80" fmla="*/ 7 w 418"/>
                    <a:gd name="T81" fmla="*/ 350 h 553"/>
                    <a:gd name="T82" fmla="*/ 18 w 418"/>
                    <a:gd name="T83" fmla="*/ 392 h 553"/>
                    <a:gd name="T84" fmla="*/ 65 w 418"/>
                    <a:gd name="T85" fmla="*/ 415 h 553"/>
                    <a:gd name="T86" fmla="*/ 102 w 418"/>
                    <a:gd name="T87" fmla="*/ 434 h 553"/>
                    <a:gd name="T88" fmla="*/ 81 w 418"/>
                    <a:gd name="T89" fmla="*/ 455 h 553"/>
                    <a:gd name="T90" fmla="*/ 66 w 418"/>
                    <a:gd name="T91" fmla="*/ 509 h 553"/>
                    <a:gd name="T92" fmla="*/ 111 w 418"/>
                    <a:gd name="T93" fmla="*/ 532 h 553"/>
                    <a:gd name="T94" fmla="*/ 111 w 418"/>
                    <a:gd name="T95" fmla="*/ 514 h 553"/>
                    <a:gd name="T96" fmla="*/ 134 w 418"/>
                    <a:gd name="T97" fmla="*/ 528 h 553"/>
                    <a:gd name="T98" fmla="*/ 157 w 418"/>
                    <a:gd name="T99" fmla="*/ 526 h 553"/>
                    <a:gd name="T100" fmla="*/ 188 w 418"/>
                    <a:gd name="T101" fmla="*/ 541 h 553"/>
                    <a:gd name="T102" fmla="*/ 204 w 418"/>
                    <a:gd name="T103" fmla="*/ 553 h 553"/>
                    <a:gd name="T104" fmla="*/ 231 w 418"/>
                    <a:gd name="T105" fmla="*/ 542 h 553"/>
                    <a:gd name="T106" fmla="*/ 258 w 418"/>
                    <a:gd name="T107" fmla="*/ 540 h 553"/>
                    <a:gd name="T108" fmla="*/ 299 w 418"/>
                    <a:gd name="T109" fmla="*/ 523 h 553"/>
                    <a:gd name="T110" fmla="*/ 324 w 418"/>
                    <a:gd name="T111" fmla="*/ 527 h 553"/>
                    <a:gd name="T112" fmla="*/ 333 w 418"/>
                    <a:gd name="T113" fmla="*/ 522 h 553"/>
                    <a:gd name="T114" fmla="*/ 320 w 418"/>
                    <a:gd name="T115" fmla="*/ 490 h 553"/>
                    <a:gd name="T116" fmla="*/ 348 w 418"/>
                    <a:gd name="T117" fmla="*/ 473 h 553"/>
                    <a:gd name="T118" fmla="*/ 369 w 418"/>
                    <a:gd name="T119" fmla="*/ 444 h 553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w 418"/>
                    <a:gd name="T181" fmla="*/ 0 h 553"/>
                    <a:gd name="T182" fmla="*/ 418 w 418"/>
                    <a:gd name="T183" fmla="*/ 553 h 553"/>
                  </a:gdLst>
                  <a:ahLst/>
                  <a:cxnLst>
                    <a:cxn ang="T120">
                      <a:pos x="T0" y="T1"/>
                    </a:cxn>
                    <a:cxn ang="T121">
                      <a:pos x="T2" y="T3"/>
                    </a:cxn>
                    <a:cxn ang="T122">
                      <a:pos x="T4" y="T5"/>
                    </a:cxn>
                    <a:cxn ang="T123">
                      <a:pos x="T6" y="T7"/>
                    </a:cxn>
                    <a:cxn ang="T124">
                      <a:pos x="T8" y="T9"/>
                    </a:cxn>
                    <a:cxn ang="T125">
                      <a:pos x="T10" y="T11"/>
                    </a:cxn>
                    <a:cxn ang="T126">
                      <a:pos x="T12" y="T13"/>
                    </a:cxn>
                    <a:cxn ang="T127">
                      <a:pos x="T14" y="T15"/>
                    </a:cxn>
                    <a:cxn ang="T128">
                      <a:pos x="T16" y="T17"/>
                    </a:cxn>
                    <a:cxn ang="T129">
                      <a:pos x="T18" y="T19"/>
                    </a:cxn>
                    <a:cxn ang="T130">
                      <a:pos x="T20" y="T21"/>
                    </a:cxn>
                    <a:cxn ang="T131">
                      <a:pos x="T22" y="T23"/>
                    </a:cxn>
                    <a:cxn ang="T132">
                      <a:pos x="T24" y="T25"/>
                    </a:cxn>
                    <a:cxn ang="T133">
                      <a:pos x="T26" y="T27"/>
                    </a:cxn>
                    <a:cxn ang="T134">
                      <a:pos x="T28" y="T29"/>
                    </a:cxn>
                    <a:cxn ang="T135">
                      <a:pos x="T30" y="T31"/>
                    </a:cxn>
                    <a:cxn ang="T136">
                      <a:pos x="T32" y="T33"/>
                    </a:cxn>
                    <a:cxn ang="T137">
                      <a:pos x="T34" y="T35"/>
                    </a:cxn>
                    <a:cxn ang="T138">
                      <a:pos x="T36" y="T37"/>
                    </a:cxn>
                    <a:cxn ang="T139">
                      <a:pos x="T38" y="T39"/>
                    </a:cxn>
                    <a:cxn ang="T140">
                      <a:pos x="T40" y="T41"/>
                    </a:cxn>
                    <a:cxn ang="T141">
                      <a:pos x="T42" y="T43"/>
                    </a:cxn>
                    <a:cxn ang="T142">
                      <a:pos x="T44" y="T45"/>
                    </a:cxn>
                    <a:cxn ang="T143">
                      <a:pos x="T46" y="T47"/>
                    </a:cxn>
                    <a:cxn ang="T144">
                      <a:pos x="T48" y="T49"/>
                    </a:cxn>
                    <a:cxn ang="T145">
                      <a:pos x="T50" y="T51"/>
                    </a:cxn>
                    <a:cxn ang="T146">
                      <a:pos x="T52" y="T53"/>
                    </a:cxn>
                    <a:cxn ang="T147">
                      <a:pos x="T54" y="T55"/>
                    </a:cxn>
                    <a:cxn ang="T148">
                      <a:pos x="T56" y="T57"/>
                    </a:cxn>
                    <a:cxn ang="T149">
                      <a:pos x="T58" y="T59"/>
                    </a:cxn>
                    <a:cxn ang="T150">
                      <a:pos x="T60" y="T61"/>
                    </a:cxn>
                    <a:cxn ang="T151">
                      <a:pos x="T62" y="T63"/>
                    </a:cxn>
                    <a:cxn ang="T152">
                      <a:pos x="T64" y="T65"/>
                    </a:cxn>
                    <a:cxn ang="T153">
                      <a:pos x="T66" y="T67"/>
                    </a:cxn>
                    <a:cxn ang="T154">
                      <a:pos x="T68" y="T69"/>
                    </a:cxn>
                    <a:cxn ang="T155">
                      <a:pos x="T70" y="T71"/>
                    </a:cxn>
                    <a:cxn ang="T156">
                      <a:pos x="T72" y="T73"/>
                    </a:cxn>
                    <a:cxn ang="T157">
                      <a:pos x="T74" y="T75"/>
                    </a:cxn>
                    <a:cxn ang="T158">
                      <a:pos x="T76" y="T77"/>
                    </a:cxn>
                    <a:cxn ang="T159">
                      <a:pos x="T78" y="T79"/>
                    </a:cxn>
                    <a:cxn ang="T160">
                      <a:pos x="T80" y="T81"/>
                    </a:cxn>
                    <a:cxn ang="T161">
                      <a:pos x="T82" y="T83"/>
                    </a:cxn>
                    <a:cxn ang="T162">
                      <a:pos x="T84" y="T85"/>
                    </a:cxn>
                    <a:cxn ang="T163">
                      <a:pos x="T86" y="T87"/>
                    </a:cxn>
                    <a:cxn ang="T164">
                      <a:pos x="T88" y="T89"/>
                    </a:cxn>
                    <a:cxn ang="T165">
                      <a:pos x="T90" y="T91"/>
                    </a:cxn>
                    <a:cxn ang="T166">
                      <a:pos x="T92" y="T93"/>
                    </a:cxn>
                    <a:cxn ang="T167">
                      <a:pos x="T94" y="T95"/>
                    </a:cxn>
                    <a:cxn ang="T168">
                      <a:pos x="T96" y="T97"/>
                    </a:cxn>
                    <a:cxn ang="T169">
                      <a:pos x="T98" y="T99"/>
                    </a:cxn>
                    <a:cxn ang="T170">
                      <a:pos x="T100" y="T101"/>
                    </a:cxn>
                    <a:cxn ang="T171">
                      <a:pos x="T102" y="T103"/>
                    </a:cxn>
                    <a:cxn ang="T172">
                      <a:pos x="T104" y="T105"/>
                    </a:cxn>
                    <a:cxn ang="T173">
                      <a:pos x="T106" y="T107"/>
                    </a:cxn>
                    <a:cxn ang="T174">
                      <a:pos x="T108" y="T109"/>
                    </a:cxn>
                    <a:cxn ang="T175">
                      <a:pos x="T110" y="T111"/>
                    </a:cxn>
                    <a:cxn ang="T176">
                      <a:pos x="T112" y="T113"/>
                    </a:cxn>
                    <a:cxn ang="T177">
                      <a:pos x="T114" y="T115"/>
                    </a:cxn>
                    <a:cxn ang="T178">
                      <a:pos x="T116" y="T117"/>
                    </a:cxn>
                    <a:cxn ang="T179">
                      <a:pos x="T118" y="T119"/>
                    </a:cxn>
                  </a:cxnLst>
                  <a:rect l="T180" t="T181" r="T182" b="T183"/>
                  <a:pathLst>
                    <a:path w="418" h="553">
                      <a:moveTo>
                        <a:pt x="369" y="444"/>
                      </a:moveTo>
                      <a:cubicBezTo>
                        <a:pt x="366" y="430"/>
                        <a:pt x="362" y="428"/>
                        <a:pt x="351" y="427"/>
                      </a:cubicBezTo>
                      <a:cubicBezTo>
                        <a:pt x="349" y="423"/>
                        <a:pt x="345" y="421"/>
                        <a:pt x="342" y="418"/>
                      </a:cubicBezTo>
                      <a:cubicBezTo>
                        <a:pt x="340" y="413"/>
                        <a:pt x="339" y="414"/>
                        <a:pt x="335" y="412"/>
                      </a:cubicBezTo>
                      <a:cubicBezTo>
                        <a:pt x="332" y="410"/>
                        <a:pt x="326" y="406"/>
                        <a:pt x="326" y="406"/>
                      </a:cubicBezTo>
                      <a:cubicBezTo>
                        <a:pt x="325" y="403"/>
                        <a:pt x="322" y="400"/>
                        <a:pt x="320" y="398"/>
                      </a:cubicBezTo>
                      <a:cubicBezTo>
                        <a:pt x="318" y="396"/>
                        <a:pt x="314" y="394"/>
                        <a:pt x="314" y="394"/>
                      </a:cubicBezTo>
                      <a:cubicBezTo>
                        <a:pt x="312" y="389"/>
                        <a:pt x="306" y="385"/>
                        <a:pt x="303" y="379"/>
                      </a:cubicBezTo>
                      <a:cubicBezTo>
                        <a:pt x="301" y="369"/>
                        <a:pt x="305" y="357"/>
                        <a:pt x="294" y="353"/>
                      </a:cubicBezTo>
                      <a:cubicBezTo>
                        <a:pt x="287" y="346"/>
                        <a:pt x="289" y="350"/>
                        <a:pt x="287" y="344"/>
                      </a:cubicBezTo>
                      <a:cubicBezTo>
                        <a:pt x="288" y="335"/>
                        <a:pt x="295" y="335"/>
                        <a:pt x="303" y="330"/>
                      </a:cubicBezTo>
                      <a:cubicBezTo>
                        <a:pt x="306" y="328"/>
                        <a:pt x="313" y="328"/>
                        <a:pt x="313" y="328"/>
                      </a:cubicBezTo>
                      <a:cubicBezTo>
                        <a:pt x="314" y="326"/>
                        <a:pt x="339" y="311"/>
                        <a:pt x="343" y="310"/>
                      </a:cubicBezTo>
                      <a:cubicBezTo>
                        <a:pt x="344" y="310"/>
                        <a:pt x="353" y="306"/>
                        <a:pt x="354" y="306"/>
                      </a:cubicBezTo>
                      <a:cubicBezTo>
                        <a:pt x="356" y="305"/>
                        <a:pt x="360" y="304"/>
                        <a:pt x="360" y="304"/>
                      </a:cubicBezTo>
                      <a:cubicBezTo>
                        <a:pt x="361" y="300"/>
                        <a:pt x="371" y="298"/>
                        <a:pt x="371" y="298"/>
                      </a:cubicBezTo>
                      <a:cubicBezTo>
                        <a:pt x="375" y="294"/>
                        <a:pt x="381" y="284"/>
                        <a:pt x="384" y="283"/>
                      </a:cubicBezTo>
                      <a:cubicBezTo>
                        <a:pt x="390" y="284"/>
                        <a:pt x="393" y="285"/>
                        <a:pt x="398" y="287"/>
                      </a:cubicBezTo>
                      <a:cubicBezTo>
                        <a:pt x="407" y="286"/>
                        <a:pt x="409" y="286"/>
                        <a:pt x="416" y="282"/>
                      </a:cubicBezTo>
                      <a:cubicBezTo>
                        <a:pt x="418" y="275"/>
                        <a:pt x="417" y="267"/>
                        <a:pt x="411" y="263"/>
                      </a:cubicBezTo>
                      <a:cubicBezTo>
                        <a:pt x="410" y="258"/>
                        <a:pt x="408" y="252"/>
                        <a:pt x="414" y="250"/>
                      </a:cubicBezTo>
                      <a:cubicBezTo>
                        <a:pt x="417" y="246"/>
                        <a:pt x="418" y="240"/>
                        <a:pt x="411" y="242"/>
                      </a:cubicBezTo>
                      <a:cubicBezTo>
                        <a:pt x="403" y="241"/>
                        <a:pt x="398" y="243"/>
                        <a:pt x="395" y="236"/>
                      </a:cubicBezTo>
                      <a:cubicBezTo>
                        <a:pt x="392" y="222"/>
                        <a:pt x="395" y="224"/>
                        <a:pt x="393" y="214"/>
                      </a:cubicBezTo>
                      <a:cubicBezTo>
                        <a:pt x="398" y="199"/>
                        <a:pt x="391" y="191"/>
                        <a:pt x="387" y="185"/>
                      </a:cubicBezTo>
                      <a:cubicBezTo>
                        <a:pt x="388" y="180"/>
                        <a:pt x="389" y="176"/>
                        <a:pt x="392" y="172"/>
                      </a:cubicBezTo>
                      <a:cubicBezTo>
                        <a:pt x="393" y="167"/>
                        <a:pt x="394" y="164"/>
                        <a:pt x="389" y="161"/>
                      </a:cubicBezTo>
                      <a:cubicBezTo>
                        <a:pt x="387" y="158"/>
                        <a:pt x="381" y="154"/>
                        <a:pt x="381" y="154"/>
                      </a:cubicBezTo>
                      <a:cubicBezTo>
                        <a:pt x="378" y="150"/>
                        <a:pt x="369" y="146"/>
                        <a:pt x="369" y="146"/>
                      </a:cubicBezTo>
                      <a:cubicBezTo>
                        <a:pt x="366" y="142"/>
                        <a:pt x="366" y="139"/>
                        <a:pt x="371" y="137"/>
                      </a:cubicBezTo>
                      <a:cubicBezTo>
                        <a:pt x="372" y="134"/>
                        <a:pt x="374" y="128"/>
                        <a:pt x="374" y="128"/>
                      </a:cubicBezTo>
                      <a:cubicBezTo>
                        <a:pt x="373" y="114"/>
                        <a:pt x="383" y="94"/>
                        <a:pt x="371" y="86"/>
                      </a:cubicBezTo>
                      <a:cubicBezTo>
                        <a:pt x="368" y="81"/>
                        <a:pt x="362" y="75"/>
                        <a:pt x="357" y="72"/>
                      </a:cubicBezTo>
                      <a:cubicBezTo>
                        <a:pt x="355" y="65"/>
                        <a:pt x="352" y="61"/>
                        <a:pt x="345" y="59"/>
                      </a:cubicBezTo>
                      <a:cubicBezTo>
                        <a:pt x="342" y="55"/>
                        <a:pt x="337" y="53"/>
                        <a:pt x="333" y="52"/>
                      </a:cubicBezTo>
                      <a:cubicBezTo>
                        <a:pt x="328" y="45"/>
                        <a:pt x="331" y="47"/>
                        <a:pt x="326" y="44"/>
                      </a:cubicBezTo>
                      <a:cubicBezTo>
                        <a:pt x="326" y="40"/>
                        <a:pt x="327" y="34"/>
                        <a:pt x="321" y="34"/>
                      </a:cubicBezTo>
                      <a:cubicBezTo>
                        <a:pt x="316" y="34"/>
                        <a:pt x="308" y="36"/>
                        <a:pt x="303" y="38"/>
                      </a:cubicBezTo>
                      <a:cubicBezTo>
                        <a:pt x="291" y="43"/>
                        <a:pt x="286" y="49"/>
                        <a:pt x="273" y="52"/>
                      </a:cubicBezTo>
                      <a:cubicBezTo>
                        <a:pt x="269" y="54"/>
                        <a:pt x="254" y="61"/>
                        <a:pt x="254" y="61"/>
                      </a:cubicBezTo>
                      <a:cubicBezTo>
                        <a:pt x="252" y="65"/>
                        <a:pt x="247" y="67"/>
                        <a:pt x="243" y="68"/>
                      </a:cubicBezTo>
                      <a:cubicBezTo>
                        <a:pt x="232" y="66"/>
                        <a:pt x="238" y="51"/>
                        <a:pt x="233" y="44"/>
                      </a:cubicBezTo>
                      <a:cubicBezTo>
                        <a:pt x="230" y="34"/>
                        <a:pt x="230" y="43"/>
                        <a:pt x="222" y="38"/>
                      </a:cubicBezTo>
                      <a:cubicBezTo>
                        <a:pt x="214" y="44"/>
                        <a:pt x="204" y="39"/>
                        <a:pt x="195" y="37"/>
                      </a:cubicBezTo>
                      <a:cubicBezTo>
                        <a:pt x="190" y="30"/>
                        <a:pt x="190" y="19"/>
                        <a:pt x="183" y="14"/>
                      </a:cubicBezTo>
                      <a:cubicBezTo>
                        <a:pt x="177" y="5"/>
                        <a:pt x="175" y="7"/>
                        <a:pt x="162" y="6"/>
                      </a:cubicBezTo>
                      <a:cubicBezTo>
                        <a:pt x="154" y="4"/>
                        <a:pt x="148" y="1"/>
                        <a:pt x="140" y="0"/>
                      </a:cubicBezTo>
                      <a:cubicBezTo>
                        <a:pt x="136" y="0"/>
                        <a:pt x="132" y="0"/>
                        <a:pt x="129" y="1"/>
                      </a:cubicBezTo>
                      <a:cubicBezTo>
                        <a:pt x="128" y="1"/>
                        <a:pt x="131" y="3"/>
                        <a:pt x="131" y="4"/>
                      </a:cubicBezTo>
                      <a:cubicBezTo>
                        <a:pt x="134" y="10"/>
                        <a:pt x="133" y="15"/>
                        <a:pt x="138" y="18"/>
                      </a:cubicBezTo>
                      <a:cubicBezTo>
                        <a:pt x="140" y="23"/>
                        <a:pt x="143" y="27"/>
                        <a:pt x="146" y="31"/>
                      </a:cubicBezTo>
                      <a:cubicBezTo>
                        <a:pt x="145" y="37"/>
                        <a:pt x="144" y="41"/>
                        <a:pt x="141" y="46"/>
                      </a:cubicBezTo>
                      <a:cubicBezTo>
                        <a:pt x="142" y="51"/>
                        <a:pt x="145" y="62"/>
                        <a:pt x="145" y="62"/>
                      </a:cubicBezTo>
                      <a:cubicBezTo>
                        <a:pt x="147" y="78"/>
                        <a:pt x="144" y="75"/>
                        <a:pt x="131" y="79"/>
                      </a:cubicBezTo>
                      <a:cubicBezTo>
                        <a:pt x="127" y="83"/>
                        <a:pt x="126" y="87"/>
                        <a:pt x="122" y="91"/>
                      </a:cubicBezTo>
                      <a:cubicBezTo>
                        <a:pt x="121" y="96"/>
                        <a:pt x="122" y="100"/>
                        <a:pt x="117" y="103"/>
                      </a:cubicBezTo>
                      <a:cubicBezTo>
                        <a:pt x="110" y="101"/>
                        <a:pt x="111" y="99"/>
                        <a:pt x="105" y="95"/>
                      </a:cubicBezTo>
                      <a:cubicBezTo>
                        <a:pt x="103" y="89"/>
                        <a:pt x="97" y="89"/>
                        <a:pt x="92" y="86"/>
                      </a:cubicBezTo>
                      <a:cubicBezTo>
                        <a:pt x="81" y="87"/>
                        <a:pt x="70" y="84"/>
                        <a:pt x="66" y="95"/>
                      </a:cubicBezTo>
                      <a:cubicBezTo>
                        <a:pt x="65" y="101"/>
                        <a:pt x="64" y="107"/>
                        <a:pt x="63" y="113"/>
                      </a:cubicBezTo>
                      <a:cubicBezTo>
                        <a:pt x="63" y="117"/>
                        <a:pt x="65" y="117"/>
                        <a:pt x="65" y="122"/>
                      </a:cubicBezTo>
                      <a:cubicBezTo>
                        <a:pt x="66" y="130"/>
                        <a:pt x="66" y="137"/>
                        <a:pt x="63" y="145"/>
                      </a:cubicBezTo>
                      <a:cubicBezTo>
                        <a:pt x="61" y="149"/>
                        <a:pt x="57" y="157"/>
                        <a:pt x="57" y="157"/>
                      </a:cubicBezTo>
                      <a:cubicBezTo>
                        <a:pt x="56" y="163"/>
                        <a:pt x="57" y="166"/>
                        <a:pt x="51" y="167"/>
                      </a:cubicBezTo>
                      <a:cubicBezTo>
                        <a:pt x="50" y="165"/>
                        <a:pt x="50" y="163"/>
                        <a:pt x="49" y="161"/>
                      </a:cubicBezTo>
                      <a:cubicBezTo>
                        <a:pt x="48" y="158"/>
                        <a:pt x="39" y="164"/>
                        <a:pt x="39" y="164"/>
                      </a:cubicBezTo>
                      <a:cubicBezTo>
                        <a:pt x="42" y="174"/>
                        <a:pt x="43" y="174"/>
                        <a:pt x="53" y="176"/>
                      </a:cubicBezTo>
                      <a:cubicBezTo>
                        <a:pt x="55" y="179"/>
                        <a:pt x="57" y="185"/>
                        <a:pt x="57" y="185"/>
                      </a:cubicBezTo>
                      <a:cubicBezTo>
                        <a:pt x="57" y="188"/>
                        <a:pt x="57" y="191"/>
                        <a:pt x="56" y="194"/>
                      </a:cubicBezTo>
                      <a:cubicBezTo>
                        <a:pt x="54" y="198"/>
                        <a:pt x="44" y="200"/>
                        <a:pt x="44" y="200"/>
                      </a:cubicBezTo>
                      <a:cubicBezTo>
                        <a:pt x="41" y="204"/>
                        <a:pt x="37" y="203"/>
                        <a:pt x="42" y="206"/>
                      </a:cubicBezTo>
                      <a:cubicBezTo>
                        <a:pt x="52" y="221"/>
                        <a:pt x="21" y="219"/>
                        <a:pt x="9" y="220"/>
                      </a:cubicBezTo>
                      <a:cubicBezTo>
                        <a:pt x="7" y="227"/>
                        <a:pt x="5" y="227"/>
                        <a:pt x="11" y="224"/>
                      </a:cubicBezTo>
                      <a:cubicBezTo>
                        <a:pt x="12" y="230"/>
                        <a:pt x="11" y="236"/>
                        <a:pt x="13" y="242"/>
                      </a:cubicBezTo>
                      <a:cubicBezTo>
                        <a:pt x="14" y="244"/>
                        <a:pt x="15" y="248"/>
                        <a:pt x="15" y="248"/>
                      </a:cubicBezTo>
                      <a:cubicBezTo>
                        <a:pt x="13" y="261"/>
                        <a:pt x="11" y="273"/>
                        <a:pt x="0" y="280"/>
                      </a:cubicBezTo>
                      <a:cubicBezTo>
                        <a:pt x="4" y="281"/>
                        <a:pt x="7" y="290"/>
                        <a:pt x="7" y="290"/>
                      </a:cubicBezTo>
                      <a:cubicBezTo>
                        <a:pt x="6" y="292"/>
                        <a:pt x="3" y="293"/>
                        <a:pt x="3" y="295"/>
                      </a:cubicBezTo>
                      <a:cubicBezTo>
                        <a:pt x="2" y="300"/>
                        <a:pt x="13" y="317"/>
                        <a:pt x="17" y="319"/>
                      </a:cubicBezTo>
                      <a:cubicBezTo>
                        <a:pt x="18" y="321"/>
                        <a:pt x="21" y="326"/>
                        <a:pt x="18" y="328"/>
                      </a:cubicBezTo>
                      <a:cubicBezTo>
                        <a:pt x="16" y="330"/>
                        <a:pt x="12" y="332"/>
                        <a:pt x="12" y="332"/>
                      </a:cubicBezTo>
                      <a:cubicBezTo>
                        <a:pt x="10" y="338"/>
                        <a:pt x="9" y="344"/>
                        <a:pt x="7" y="350"/>
                      </a:cubicBezTo>
                      <a:cubicBezTo>
                        <a:pt x="7" y="356"/>
                        <a:pt x="18" y="360"/>
                        <a:pt x="21" y="367"/>
                      </a:cubicBezTo>
                      <a:cubicBezTo>
                        <a:pt x="23" y="374"/>
                        <a:pt x="15" y="385"/>
                        <a:pt x="18" y="392"/>
                      </a:cubicBezTo>
                      <a:cubicBezTo>
                        <a:pt x="20" y="395"/>
                        <a:pt x="34" y="411"/>
                        <a:pt x="38" y="412"/>
                      </a:cubicBezTo>
                      <a:cubicBezTo>
                        <a:pt x="47" y="414"/>
                        <a:pt x="55" y="414"/>
                        <a:pt x="65" y="415"/>
                      </a:cubicBezTo>
                      <a:cubicBezTo>
                        <a:pt x="75" y="417"/>
                        <a:pt x="80" y="426"/>
                        <a:pt x="90" y="428"/>
                      </a:cubicBezTo>
                      <a:cubicBezTo>
                        <a:pt x="94" y="431"/>
                        <a:pt x="98" y="431"/>
                        <a:pt x="102" y="434"/>
                      </a:cubicBezTo>
                      <a:cubicBezTo>
                        <a:pt x="101" y="440"/>
                        <a:pt x="100" y="442"/>
                        <a:pt x="96" y="446"/>
                      </a:cubicBezTo>
                      <a:cubicBezTo>
                        <a:pt x="94" y="451"/>
                        <a:pt x="83" y="450"/>
                        <a:pt x="81" y="455"/>
                      </a:cubicBezTo>
                      <a:cubicBezTo>
                        <a:pt x="78" y="461"/>
                        <a:pt x="86" y="470"/>
                        <a:pt x="80" y="474"/>
                      </a:cubicBezTo>
                      <a:cubicBezTo>
                        <a:pt x="77" y="486"/>
                        <a:pt x="68" y="496"/>
                        <a:pt x="66" y="509"/>
                      </a:cubicBezTo>
                      <a:cubicBezTo>
                        <a:pt x="67" y="542"/>
                        <a:pt x="65" y="531"/>
                        <a:pt x="90" y="533"/>
                      </a:cubicBezTo>
                      <a:cubicBezTo>
                        <a:pt x="97" y="534"/>
                        <a:pt x="104" y="533"/>
                        <a:pt x="111" y="532"/>
                      </a:cubicBezTo>
                      <a:cubicBezTo>
                        <a:pt x="121" y="527"/>
                        <a:pt x="122" y="526"/>
                        <a:pt x="111" y="522"/>
                      </a:cubicBezTo>
                      <a:cubicBezTo>
                        <a:pt x="109" y="518"/>
                        <a:pt x="106" y="516"/>
                        <a:pt x="111" y="514"/>
                      </a:cubicBezTo>
                      <a:cubicBezTo>
                        <a:pt x="116" y="515"/>
                        <a:pt x="125" y="518"/>
                        <a:pt x="125" y="518"/>
                      </a:cubicBezTo>
                      <a:cubicBezTo>
                        <a:pt x="127" y="523"/>
                        <a:pt x="129" y="526"/>
                        <a:pt x="134" y="528"/>
                      </a:cubicBezTo>
                      <a:cubicBezTo>
                        <a:pt x="141" y="526"/>
                        <a:pt x="138" y="527"/>
                        <a:pt x="143" y="524"/>
                      </a:cubicBezTo>
                      <a:cubicBezTo>
                        <a:pt x="147" y="527"/>
                        <a:pt x="152" y="525"/>
                        <a:pt x="157" y="526"/>
                      </a:cubicBezTo>
                      <a:cubicBezTo>
                        <a:pt x="161" y="530"/>
                        <a:pt x="171" y="533"/>
                        <a:pt x="176" y="536"/>
                      </a:cubicBezTo>
                      <a:cubicBezTo>
                        <a:pt x="180" y="538"/>
                        <a:pt x="184" y="540"/>
                        <a:pt x="188" y="541"/>
                      </a:cubicBezTo>
                      <a:cubicBezTo>
                        <a:pt x="189" y="541"/>
                        <a:pt x="191" y="542"/>
                        <a:pt x="191" y="542"/>
                      </a:cubicBezTo>
                      <a:cubicBezTo>
                        <a:pt x="195" y="548"/>
                        <a:pt x="197" y="551"/>
                        <a:pt x="204" y="553"/>
                      </a:cubicBezTo>
                      <a:cubicBezTo>
                        <a:pt x="215" y="551"/>
                        <a:pt x="212" y="549"/>
                        <a:pt x="215" y="539"/>
                      </a:cubicBezTo>
                      <a:cubicBezTo>
                        <a:pt x="226" y="540"/>
                        <a:pt x="224" y="536"/>
                        <a:pt x="231" y="542"/>
                      </a:cubicBezTo>
                      <a:cubicBezTo>
                        <a:pt x="234" y="544"/>
                        <a:pt x="240" y="546"/>
                        <a:pt x="240" y="546"/>
                      </a:cubicBezTo>
                      <a:cubicBezTo>
                        <a:pt x="246" y="545"/>
                        <a:pt x="254" y="545"/>
                        <a:pt x="258" y="540"/>
                      </a:cubicBezTo>
                      <a:cubicBezTo>
                        <a:pt x="259" y="539"/>
                        <a:pt x="266" y="530"/>
                        <a:pt x="267" y="530"/>
                      </a:cubicBezTo>
                      <a:cubicBezTo>
                        <a:pt x="274" y="527"/>
                        <a:pt x="292" y="523"/>
                        <a:pt x="299" y="523"/>
                      </a:cubicBezTo>
                      <a:cubicBezTo>
                        <a:pt x="302" y="524"/>
                        <a:pt x="305" y="526"/>
                        <a:pt x="308" y="527"/>
                      </a:cubicBezTo>
                      <a:cubicBezTo>
                        <a:pt x="316" y="524"/>
                        <a:pt x="312" y="521"/>
                        <a:pt x="324" y="527"/>
                      </a:cubicBezTo>
                      <a:cubicBezTo>
                        <a:pt x="328" y="529"/>
                        <a:pt x="336" y="536"/>
                        <a:pt x="336" y="536"/>
                      </a:cubicBezTo>
                      <a:cubicBezTo>
                        <a:pt x="344" y="533"/>
                        <a:pt x="338" y="524"/>
                        <a:pt x="333" y="522"/>
                      </a:cubicBezTo>
                      <a:cubicBezTo>
                        <a:pt x="331" y="514"/>
                        <a:pt x="335" y="503"/>
                        <a:pt x="327" y="498"/>
                      </a:cubicBezTo>
                      <a:cubicBezTo>
                        <a:pt x="325" y="494"/>
                        <a:pt x="324" y="491"/>
                        <a:pt x="320" y="490"/>
                      </a:cubicBezTo>
                      <a:cubicBezTo>
                        <a:pt x="323" y="488"/>
                        <a:pt x="329" y="486"/>
                        <a:pt x="329" y="486"/>
                      </a:cubicBezTo>
                      <a:cubicBezTo>
                        <a:pt x="334" y="479"/>
                        <a:pt x="341" y="478"/>
                        <a:pt x="348" y="473"/>
                      </a:cubicBezTo>
                      <a:cubicBezTo>
                        <a:pt x="352" y="460"/>
                        <a:pt x="353" y="457"/>
                        <a:pt x="367" y="455"/>
                      </a:cubicBezTo>
                      <a:cubicBezTo>
                        <a:pt x="370" y="450"/>
                        <a:pt x="374" y="447"/>
                        <a:pt x="369" y="444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orpoS" pitchFamily="2" charset="0"/>
                    <a:ea typeface="+mn-ea"/>
                  </a:endParaRPr>
                </a:p>
              </p:txBody>
            </p:sp>
          </p:grpSp>
          <p:sp>
            <p:nvSpPr>
              <p:cNvPr id="153" name="Freeform 62"/>
              <p:cNvSpPr>
                <a:spLocks noChangeAspect="1"/>
              </p:cNvSpPr>
              <p:nvPr/>
            </p:nvSpPr>
            <p:spPr bwMode="auto">
              <a:xfrm>
                <a:off x="2812" y="2466"/>
                <a:ext cx="24" cy="19"/>
              </a:xfrm>
              <a:custGeom>
                <a:avLst/>
                <a:gdLst>
                  <a:gd name="T0" fmla="*/ 4 w 24"/>
                  <a:gd name="T1" fmla="*/ 0 h 19"/>
                  <a:gd name="T2" fmla="*/ 9 w 24"/>
                  <a:gd name="T3" fmla="*/ 12 h 19"/>
                  <a:gd name="T4" fmla="*/ 15 w 24"/>
                  <a:gd name="T5" fmla="*/ 19 h 19"/>
                  <a:gd name="T6" fmla="*/ 18 w 24"/>
                  <a:gd name="T7" fmla="*/ 9 h 19"/>
                  <a:gd name="T8" fmla="*/ 9 w 24"/>
                  <a:gd name="T9" fmla="*/ 4 h 19"/>
                  <a:gd name="T10" fmla="*/ 3 w 24"/>
                  <a:gd name="T11" fmla="*/ 2 h 19"/>
                  <a:gd name="T12" fmla="*/ 4 w 24"/>
                  <a:gd name="T13" fmla="*/ 0 h 1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4"/>
                  <a:gd name="T22" fmla="*/ 0 h 19"/>
                  <a:gd name="T23" fmla="*/ 24 w 24"/>
                  <a:gd name="T24" fmla="*/ 19 h 1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4" h="19">
                    <a:moveTo>
                      <a:pt x="4" y="0"/>
                    </a:moveTo>
                    <a:cubicBezTo>
                      <a:pt x="0" y="6"/>
                      <a:pt x="4" y="9"/>
                      <a:pt x="9" y="12"/>
                    </a:cubicBezTo>
                    <a:cubicBezTo>
                      <a:pt x="11" y="16"/>
                      <a:pt x="14" y="15"/>
                      <a:pt x="15" y="19"/>
                    </a:cubicBezTo>
                    <a:cubicBezTo>
                      <a:pt x="21" y="18"/>
                      <a:pt x="24" y="15"/>
                      <a:pt x="18" y="9"/>
                    </a:cubicBezTo>
                    <a:cubicBezTo>
                      <a:pt x="16" y="6"/>
                      <a:pt x="12" y="6"/>
                      <a:pt x="9" y="4"/>
                    </a:cubicBezTo>
                    <a:cubicBezTo>
                      <a:pt x="7" y="3"/>
                      <a:pt x="2" y="4"/>
                      <a:pt x="3" y="2"/>
                    </a:cubicBezTo>
                    <a:cubicBezTo>
                      <a:pt x="3" y="1"/>
                      <a:pt x="4" y="1"/>
                      <a:pt x="4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</p:grpSp>
        <p:grpSp>
          <p:nvGrpSpPr>
            <p:cNvPr id="88" name="Group 63"/>
            <p:cNvGrpSpPr>
              <a:grpSpLocks/>
            </p:cNvGrpSpPr>
            <p:nvPr/>
          </p:nvGrpSpPr>
          <p:grpSpPr bwMode="auto">
            <a:xfrm>
              <a:off x="2464" y="2401"/>
              <a:ext cx="301" cy="238"/>
              <a:chOff x="2599" y="2246"/>
              <a:chExt cx="298" cy="236"/>
            </a:xfrm>
            <a:grpFill/>
          </p:grpSpPr>
          <p:sp>
            <p:nvSpPr>
              <p:cNvPr id="147" name="Freeform 64"/>
              <p:cNvSpPr>
                <a:spLocks noChangeAspect="1"/>
              </p:cNvSpPr>
              <p:nvPr/>
            </p:nvSpPr>
            <p:spPr bwMode="auto">
              <a:xfrm>
                <a:off x="2868" y="2422"/>
                <a:ext cx="29" cy="24"/>
              </a:xfrm>
              <a:custGeom>
                <a:avLst/>
                <a:gdLst>
                  <a:gd name="T0" fmla="*/ 4 w 29"/>
                  <a:gd name="T1" fmla="*/ 0 h 24"/>
                  <a:gd name="T2" fmla="*/ 15 w 29"/>
                  <a:gd name="T3" fmla="*/ 4 h 24"/>
                  <a:gd name="T4" fmla="*/ 16 w 29"/>
                  <a:gd name="T5" fmla="*/ 24 h 24"/>
                  <a:gd name="T6" fmla="*/ 3 w 29"/>
                  <a:gd name="T7" fmla="*/ 18 h 24"/>
                  <a:gd name="T8" fmla="*/ 4 w 29"/>
                  <a:gd name="T9" fmla="*/ 0 h 2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9"/>
                  <a:gd name="T16" fmla="*/ 0 h 24"/>
                  <a:gd name="T17" fmla="*/ 29 w 29"/>
                  <a:gd name="T18" fmla="*/ 24 h 2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9" h="24">
                    <a:moveTo>
                      <a:pt x="4" y="0"/>
                    </a:moveTo>
                    <a:cubicBezTo>
                      <a:pt x="8" y="2"/>
                      <a:pt x="11" y="3"/>
                      <a:pt x="15" y="4"/>
                    </a:cubicBezTo>
                    <a:cubicBezTo>
                      <a:pt x="19" y="10"/>
                      <a:pt x="29" y="21"/>
                      <a:pt x="16" y="24"/>
                    </a:cubicBezTo>
                    <a:cubicBezTo>
                      <a:pt x="11" y="23"/>
                      <a:pt x="3" y="18"/>
                      <a:pt x="3" y="18"/>
                    </a:cubicBezTo>
                    <a:cubicBezTo>
                      <a:pt x="0" y="13"/>
                      <a:pt x="4" y="6"/>
                      <a:pt x="4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148" name="Freeform 65"/>
              <p:cNvSpPr>
                <a:spLocks noChangeAspect="1"/>
              </p:cNvSpPr>
              <p:nvPr/>
            </p:nvSpPr>
            <p:spPr bwMode="auto">
              <a:xfrm>
                <a:off x="2708" y="2364"/>
                <a:ext cx="79" cy="88"/>
              </a:xfrm>
              <a:custGeom>
                <a:avLst/>
                <a:gdLst>
                  <a:gd name="T0" fmla="*/ 60 w 79"/>
                  <a:gd name="T1" fmla="*/ 0 h 88"/>
                  <a:gd name="T2" fmla="*/ 49 w 79"/>
                  <a:gd name="T3" fmla="*/ 8 h 88"/>
                  <a:gd name="T4" fmla="*/ 53 w 79"/>
                  <a:gd name="T5" fmla="*/ 26 h 88"/>
                  <a:gd name="T6" fmla="*/ 52 w 79"/>
                  <a:gd name="T7" fmla="*/ 32 h 88"/>
                  <a:gd name="T8" fmla="*/ 42 w 79"/>
                  <a:gd name="T9" fmla="*/ 31 h 88"/>
                  <a:gd name="T10" fmla="*/ 40 w 79"/>
                  <a:gd name="T11" fmla="*/ 21 h 88"/>
                  <a:gd name="T12" fmla="*/ 23 w 79"/>
                  <a:gd name="T13" fmla="*/ 8 h 88"/>
                  <a:gd name="T14" fmla="*/ 17 w 79"/>
                  <a:gd name="T15" fmla="*/ 26 h 88"/>
                  <a:gd name="T16" fmla="*/ 12 w 79"/>
                  <a:gd name="T17" fmla="*/ 33 h 88"/>
                  <a:gd name="T18" fmla="*/ 19 w 79"/>
                  <a:gd name="T19" fmla="*/ 67 h 88"/>
                  <a:gd name="T20" fmla="*/ 32 w 79"/>
                  <a:gd name="T21" fmla="*/ 68 h 88"/>
                  <a:gd name="T22" fmla="*/ 40 w 79"/>
                  <a:gd name="T23" fmla="*/ 72 h 88"/>
                  <a:gd name="T24" fmla="*/ 52 w 79"/>
                  <a:gd name="T25" fmla="*/ 82 h 88"/>
                  <a:gd name="T26" fmla="*/ 61 w 79"/>
                  <a:gd name="T27" fmla="*/ 88 h 88"/>
                  <a:gd name="T28" fmla="*/ 58 w 79"/>
                  <a:gd name="T29" fmla="*/ 69 h 88"/>
                  <a:gd name="T30" fmla="*/ 70 w 79"/>
                  <a:gd name="T31" fmla="*/ 61 h 88"/>
                  <a:gd name="T32" fmla="*/ 61 w 79"/>
                  <a:gd name="T33" fmla="*/ 48 h 88"/>
                  <a:gd name="T34" fmla="*/ 76 w 79"/>
                  <a:gd name="T35" fmla="*/ 39 h 88"/>
                  <a:gd name="T36" fmla="*/ 73 w 79"/>
                  <a:gd name="T37" fmla="*/ 24 h 88"/>
                  <a:gd name="T38" fmla="*/ 76 w 79"/>
                  <a:gd name="T39" fmla="*/ 10 h 88"/>
                  <a:gd name="T40" fmla="*/ 76 w 79"/>
                  <a:gd name="T41" fmla="*/ 4 h 88"/>
                  <a:gd name="T42" fmla="*/ 60 w 79"/>
                  <a:gd name="T43" fmla="*/ 0 h 88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79"/>
                  <a:gd name="T67" fmla="*/ 0 h 88"/>
                  <a:gd name="T68" fmla="*/ 79 w 79"/>
                  <a:gd name="T69" fmla="*/ 88 h 88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79" h="88">
                    <a:moveTo>
                      <a:pt x="60" y="0"/>
                    </a:moveTo>
                    <a:cubicBezTo>
                      <a:pt x="53" y="2"/>
                      <a:pt x="54" y="5"/>
                      <a:pt x="49" y="8"/>
                    </a:cubicBezTo>
                    <a:cubicBezTo>
                      <a:pt x="50" y="18"/>
                      <a:pt x="51" y="18"/>
                      <a:pt x="53" y="26"/>
                    </a:cubicBezTo>
                    <a:cubicBezTo>
                      <a:pt x="53" y="28"/>
                      <a:pt x="54" y="31"/>
                      <a:pt x="52" y="32"/>
                    </a:cubicBezTo>
                    <a:cubicBezTo>
                      <a:pt x="49" y="33"/>
                      <a:pt x="44" y="33"/>
                      <a:pt x="42" y="31"/>
                    </a:cubicBezTo>
                    <a:cubicBezTo>
                      <a:pt x="39" y="29"/>
                      <a:pt x="42" y="24"/>
                      <a:pt x="40" y="21"/>
                    </a:cubicBezTo>
                    <a:cubicBezTo>
                      <a:pt x="35" y="13"/>
                      <a:pt x="32" y="11"/>
                      <a:pt x="23" y="8"/>
                    </a:cubicBezTo>
                    <a:cubicBezTo>
                      <a:pt x="25" y="17"/>
                      <a:pt x="29" y="28"/>
                      <a:pt x="17" y="26"/>
                    </a:cubicBezTo>
                    <a:cubicBezTo>
                      <a:pt x="6" y="27"/>
                      <a:pt x="0" y="30"/>
                      <a:pt x="12" y="33"/>
                    </a:cubicBezTo>
                    <a:cubicBezTo>
                      <a:pt x="21" y="42"/>
                      <a:pt x="18" y="55"/>
                      <a:pt x="19" y="67"/>
                    </a:cubicBezTo>
                    <a:cubicBezTo>
                      <a:pt x="24" y="66"/>
                      <a:pt x="28" y="66"/>
                      <a:pt x="32" y="68"/>
                    </a:cubicBezTo>
                    <a:cubicBezTo>
                      <a:pt x="35" y="69"/>
                      <a:pt x="40" y="72"/>
                      <a:pt x="40" y="72"/>
                    </a:cubicBezTo>
                    <a:cubicBezTo>
                      <a:pt x="44" y="78"/>
                      <a:pt x="45" y="81"/>
                      <a:pt x="52" y="82"/>
                    </a:cubicBezTo>
                    <a:cubicBezTo>
                      <a:pt x="54" y="86"/>
                      <a:pt x="57" y="87"/>
                      <a:pt x="61" y="88"/>
                    </a:cubicBezTo>
                    <a:cubicBezTo>
                      <a:pt x="74" y="85"/>
                      <a:pt x="67" y="72"/>
                      <a:pt x="58" y="69"/>
                    </a:cubicBezTo>
                    <a:cubicBezTo>
                      <a:pt x="60" y="64"/>
                      <a:pt x="70" y="61"/>
                      <a:pt x="70" y="61"/>
                    </a:cubicBezTo>
                    <a:cubicBezTo>
                      <a:pt x="73" y="53"/>
                      <a:pt x="68" y="50"/>
                      <a:pt x="61" y="48"/>
                    </a:cubicBezTo>
                    <a:cubicBezTo>
                      <a:pt x="62" y="33"/>
                      <a:pt x="63" y="36"/>
                      <a:pt x="76" y="39"/>
                    </a:cubicBezTo>
                    <a:cubicBezTo>
                      <a:pt x="79" y="34"/>
                      <a:pt x="76" y="29"/>
                      <a:pt x="73" y="24"/>
                    </a:cubicBezTo>
                    <a:cubicBezTo>
                      <a:pt x="71" y="18"/>
                      <a:pt x="73" y="15"/>
                      <a:pt x="76" y="10"/>
                    </a:cubicBezTo>
                    <a:cubicBezTo>
                      <a:pt x="77" y="4"/>
                      <a:pt x="79" y="4"/>
                      <a:pt x="76" y="4"/>
                    </a:cubicBezTo>
                    <a:lnTo>
                      <a:pt x="60" y="0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149" name="Freeform 66"/>
              <p:cNvSpPr>
                <a:spLocks noChangeAspect="1"/>
              </p:cNvSpPr>
              <p:nvPr/>
            </p:nvSpPr>
            <p:spPr bwMode="auto">
              <a:xfrm>
                <a:off x="2717" y="2445"/>
                <a:ext cx="47" cy="37"/>
              </a:xfrm>
              <a:custGeom>
                <a:avLst/>
                <a:gdLst>
                  <a:gd name="T0" fmla="*/ 9 w 47"/>
                  <a:gd name="T1" fmla="*/ 3 h 37"/>
                  <a:gd name="T2" fmla="*/ 19 w 47"/>
                  <a:gd name="T3" fmla="*/ 9 h 37"/>
                  <a:gd name="T4" fmla="*/ 25 w 47"/>
                  <a:gd name="T5" fmla="*/ 13 h 37"/>
                  <a:gd name="T6" fmla="*/ 33 w 47"/>
                  <a:gd name="T7" fmla="*/ 11 h 37"/>
                  <a:gd name="T8" fmla="*/ 35 w 47"/>
                  <a:gd name="T9" fmla="*/ 3 h 37"/>
                  <a:gd name="T10" fmla="*/ 44 w 47"/>
                  <a:gd name="T11" fmla="*/ 12 h 37"/>
                  <a:gd name="T12" fmla="*/ 43 w 47"/>
                  <a:gd name="T13" fmla="*/ 21 h 37"/>
                  <a:gd name="T14" fmla="*/ 34 w 47"/>
                  <a:gd name="T15" fmla="*/ 18 h 37"/>
                  <a:gd name="T16" fmla="*/ 31 w 47"/>
                  <a:gd name="T17" fmla="*/ 27 h 37"/>
                  <a:gd name="T18" fmla="*/ 22 w 47"/>
                  <a:gd name="T19" fmla="*/ 30 h 37"/>
                  <a:gd name="T20" fmla="*/ 5 w 47"/>
                  <a:gd name="T21" fmla="*/ 12 h 37"/>
                  <a:gd name="T22" fmla="*/ 13 w 47"/>
                  <a:gd name="T23" fmla="*/ 0 h 37"/>
                  <a:gd name="T24" fmla="*/ 28 w 47"/>
                  <a:gd name="T25" fmla="*/ 9 h 37"/>
                  <a:gd name="T26" fmla="*/ 9 w 47"/>
                  <a:gd name="T27" fmla="*/ 3 h 37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47"/>
                  <a:gd name="T43" fmla="*/ 0 h 37"/>
                  <a:gd name="T44" fmla="*/ 47 w 47"/>
                  <a:gd name="T45" fmla="*/ 37 h 37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47" h="37">
                    <a:moveTo>
                      <a:pt x="9" y="3"/>
                    </a:moveTo>
                    <a:cubicBezTo>
                      <a:pt x="14" y="4"/>
                      <a:pt x="15" y="6"/>
                      <a:pt x="19" y="9"/>
                    </a:cubicBezTo>
                    <a:cubicBezTo>
                      <a:pt x="21" y="10"/>
                      <a:pt x="25" y="13"/>
                      <a:pt x="25" y="13"/>
                    </a:cubicBezTo>
                    <a:cubicBezTo>
                      <a:pt x="28" y="12"/>
                      <a:pt x="31" y="13"/>
                      <a:pt x="33" y="11"/>
                    </a:cubicBezTo>
                    <a:cubicBezTo>
                      <a:pt x="35" y="9"/>
                      <a:pt x="35" y="3"/>
                      <a:pt x="35" y="3"/>
                    </a:cubicBezTo>
                    <a:cubicBezTo>
                      <a:pt x="40" y="5"/>
                      <a:pt x="40" y="9"/>
                      <a:pt x="44" y="12"/>
                    </a:cubicBezTo>
                    <a:cubicBezTo>
                      <a:pt x="47" y="16"/>
                      <a:pt x="46" y="17"/>
                      <a:pt x="43" y="21"/>
                    </a:cubicBezTo>
                    <a:cubicBezTo>
                      <a:pt x="39" y="37"/>
                      <a:pt x="37" y="26"/>
                      <a:pt x="34" y="18"/>
                    </a:cubicBezTo>
                    <a:cubicBezTo>
                      <a:pt x="34" y="20"/>
                      <a:pt x="33" y="26"/>
                      <a:pt x="31" y="27"/>
                    </a:cubicBezTo>
                    <a:cubicBezTo>
                      <a:pt x="28" y="29"/>
                      <a:pt x="22" y="30"/>
                      <a:pt x="22" y="30"/>
                    </a:cubicBezTo>
                    <a:cubicBezTo>
                      <a:pt x="18" y="27"/>
                      <a:pt x="6" y="17"/>
                      <a:pt x="5" y="12"/>
                    </a:cubicBezTo>
                    <a:cubicBezTo>
                      <a:pt x="0" y="5"/>
                      <a:pt x="5" y="2"/>
                      <a:pt x="13" y="0"/>
                    </a:cubicBezTo>
                    <a:cubicBezTo>
                      <a:pt x="19" y="2"/>
                      <a:pt x="22" y="9"/>
                      <a:pt x="28" y="9"/>
                    </a:cubicBezTo>
                    <a:lnTo>
                      <a:pt x="9" y="3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150" name="Freeform 67"/>
              <p:cNvSpPr>
                <a:spLocks noChangeAspect="1"/>
              </p:cNvSpPr>
              <p:nvPr/>
            </p:nvSpPr>
            <p:spPr bwMode="auto">
              <a:xfrm>
                <a:off x="2608" y="2246"/>
                <a:ext cx="95" cy="76"/>
              </a:xfrm>
              <a:custGeom>
                <a:avLst/>
                <a:gdLst>
                  <a:gd name="T0" fmla="*/ 0 w 95"/>
                  <a:gd name="T1" fmla="*/ 72 h 76"/>
                  <a:gd name="T2" fmla="*/ 8 w 95"/>
                  <a:gd name="T3" fmla="*/ 54 h 76"/>
                  <a:gd name="T4" fmla="*/ 14 w 95"/>
                  <a:gd name="T5" fmla="*/ 46 h 76"/>
                  <a:gd name="T6" fmla="*/ 50 w 95"/>
                  <a:gd name="T7" fmla="*/ 40 h 76"/>
                  <a:gd name="T8" fmla="*/ 57 w 95"/>
                  <a:gd name="T9" fmla="*/ 29 h 76"/>
                  <a:gd name="T10" fmla="*/ 63 w 95"/>
                  <a:gd name="T11" fmla="*/ 22 h 76"/>
                  <a:gd name="T12" fmla="*/ 81 w 95"/>
                  <a:gd name="T13" fmla="*/ 10 h 76"/>
                  <a:gd name="T14" fmla="*/ 90 w 95"/>
                  <a:gd name="T15" fmla="*/ 4 h 76"/>
                  <a:gd name="T16" fmla="*/ 93 w 95"/>
                  <a:gd name="T17" fmla="*/ 1 h 76"/>
                  <a:gd name="T18" fmla="*/ 86 w 95"/>
                  <a:gd name="T19" fmla="*/ 11 h 76"/>
                  <a:gd name="T20" fmla="*/ 93 w 95"/>
                  <a:gd name="T21" fmla="*/ 22 h 76"/>
                  <a:gd name="T22" fmla="*/ 86 w 95"/>
                  <a:gd name="T23" fmla="*/ 43 h 76"/>
                  <a:gd name="T24" fmla="*/ 84 w 95"/>
                  <a:gd name="T25" fmla="*/ 46 h 76"/>
                  <a:gd name="T26" fmla="*/ 83 w 95"/>
                  <a:gd name="T27" fmla="*/ 53 h 76"/>
                  <a:gd name="T28" fmla="*/ 80 w 95"/>
                  <a:gd name="T29" fmla="*/ 47 h 76"/>
                  <a:gd name="T30" fmla="*/ 72 w 95"/>
                  <a:gd name="T31" fmla="*/ 44 h 76"/>
                  <a:gd name="T32" fmla="*/ 48 w 95"/>
                  <a:gd name="T33" fmla="*/ 49 h 76"/>
                  <a:gd name="T34" fmla="*/ 39 w 95"/>
                  <a:gd name="T35" fmla="*/ 54 h 76"/>
                  <a:gd name="T36" fmla="*/ 29 w 95"/>
                  <a:gd name="T37" fmla="*/ 52 h 76"/>
                  <a:gd name="T38" fmla="*/ 24 w 95"/>
                  <a:gd name="T39" fmla="*/ 58 h 76"/>
                  <a:gd name="T40" fmla="*/ 18 w 95"/>
                  <a:gd name="T41" fmla="*/ 60 h 76"/>
                  <a:gd name="T42" fmla="*/ 0 w 95"/>
                  <a:gd name="T43" fmla="*/ 72 h 7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95"/>
                  <a:gd name="T67" fmla="*/ 0 h 76"/>
                  <a:gd name="T68" fmla="*/ 95 w 95"/>
                  <a:gd name="T69" fmla="*/ 76 h 7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95" h="76">
                    <a:moveTo>
                      <a:pt x="0" y="72"/>
                    </a:moveTo>
                    <a:cubicBezTo>
                      <a:pt x="2" y="64"/>
                      <a:pt x="1" y="58"/>
                      <a:pt x="8" y="54"/>
                    </a:cubicBezTo>
                    <a:cubicBezTo>
                      <a:pt x="9" y="49"/>
                      <a:pt x="9" y="47"/>
                      <a:pt x="14" y="46"/>
                    </a:cubicBezTo>
                    <a:cubicBezTo>
                      <a:pt x="26" y="48"/>
                      <a:pt x="38" y="42"/>
                      <a:pt x="50" y="40"/>
                    </a:cubicBezTo>
                    <a:cubicBezTo>
                      <a:pt x="53" y="36"/>
                      <a:pt x="53" y="32"/>
                      <a:pt x="57" y="29"/>
                    </a:cubicBezTo>
                    <a:cubicBezTo>
                      <a:pt x="58" y="25"/>
                      <a:pt x="59" y="23"/>
                      <a:pt x="63" y="22"/>
                    </a:cubicBezTo>
                    <a:cubicBezTo>
                      <a:pt x="68" y="17"/>
                      <a:pt x="73" y="12"/>
                      <a:pt x="81" y="10"/>
                    </a:cubicBezTo>
                    <a:cubicBezTo>
                      <a:pt x="84" y="7"/>
                      <a:pt x="86" y="5"/>
                      <a:pt x="90" y="4"/>
                    </a:cubicBezTo>
                    <a:cubicBezTo>
                      <a:pt x="91" y="3"/>
                      <a:pt x="93" y="0"/>
                      <a:pt x="93" y="1"/>
                    </a:cubicBezTo>
                    <a:cubicBezTo>
                      <a:pt x="93" y="5"/>
                      <a:pt x="86" y="11"/>
                      <a:pt x="86" y="11"/>
                    </a:cubicBezTo>
                    <a:cubicBezTo>
                      <a:pt x="87" y="17"/>
                      <a:pt x="89" y="17"/>
                      <a:pt x="93" y="22"/>
                    </a:cubicBezTo>
                    <a:cubicBezTo>
                      <a:pt x="95" y="28"/>
                      <a:pt x="91" y="40"/>
                      <a:pt x="86" y="43"/>
                    </a:cubicBezTo>
                    <a:cubicBezTo>
                      <a:pt x="85" y="44"/>
                      <a:pt x="84" y="45"/>
                      <a:pt x="84" y="46"/>
                    </a:cubicBezTo>
                    <a:cubicBezTo>
                      <a:pt x="83" y="48"/>
                      <a:pt x="84" y="51"/>
                      <a:pt x="83" y="53"/>
                    </a:cubicBezTo>
                    <a:cubicBezTo>
                      <a:pt x="82" y="55"/>
                      <a:pt x="82" y="48"/>
                      <a:pt x="80" y="47"/>
                    </a:cubicBezTo>
                    <a:cubicBezTo>
                      <a:pt x="78" y="45"/>
                      <a:pt x="75" y="45"/>
                      <a:pt x="72" y="44"/>
                    </a:cubicBezTo>
                    <a:cubicBezTo>
                      <a:pt x="64" y="45"/>
                      <a:pt x="56" y="47"/>
                      <a:pt x="48" y="49"/>
                    </a:cubicBezTo>
                    <a:cubicBezTo>
                      <a:pt x="46" y="51"/>
                      <a:pt x="39" y="54"/>
                      <a:pt x="39" y="54"/>
                    </a:cubicBezTo>
                    <a:cubicBezTo>
                      <a:pt x="36" y="54"/>
                      <a:pt x="32" y="51"/>
                      <a:pt x="29" y="52"/>
                    </a:cubicBezTo>
                    <a:cubicBezTo>
                      <a:pt x="27" y="53"/>
                      <a:pt x="26" y="57"/>
                      <a:pt x="24" y="58"/>
                    </a:cubicBezTo>
                    <a:cubicBezTo>
                      <a:pt x="22" y="59"/>
                      <a:pt x="18" y="60"/>
                      <a:pt x="18" y="60"/>
                    </a:cubicBezTo>
                    <a:cubicBezTo>
                      <a:pt x="12" y="68"/>
                      <a:pt x="11" y="76"/>
                      <a:pt x="0" y="72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151" name="Freeform 68"/>
              <p:cNvSpPr>
                <a:spLocks noChangeAspect="1"/>
              </p:cNvSpPr>
              <p:nvPr/>
            </p:nvSpPr>
            <p:spPr bwMode="auto">
              <a:xfrm>
                <a:off x="2599" y="2294"/>
                <a:ext cx="117" cy="175"/>
              </a:xfrm>
              <a:custGeom>
                <a:avLst/>
                <a:gdLst>
                  <a:gd name="T0" fmla="*/ 21 w 117"/>
                  <a:gd name="T1" fmla="*/ 156 h 175"/>
                  <a:gd name="T2" fmla="*/ 20 w 117"/>
                  <a:gd name="T3" fmla="*/ 130 h 175"/>
                  <a:gd name="T4" fmla="*/ 12 w 117"/>
                  <a:gd name="T5" fmla="*/ 122 h 175"/>
                  <a:gd name="T6" fmla="*/ 7 w 117"/>
                  <a:gd name="T7" fmla="*/ 108 h 175"/>
                  <a:gd name="T8" fmla="*/ 5 w 117"/>
                  <a:gd name="T9" fmla="*/ 89 h 175"/>
                  <a:gd name="T10" fmla="*/ 2 w 117"/>
                  <a:gd name="T11" fmla="*/ 74 h 175"/>
                  <a:gd name="T12" fmla="*/ 17 w 117"/>
                  <a:gd name="T13" fmla="*/ 34 h 175"/>
                  <a:gd name="T14" fmla="*/ 24 w 117"/>
                  <a:gd name="T15" fmla="*/ 29 h 175"/>
                  <a:gd name="T16" fmla="*/ 33 w 117"/>
                  <a:gd name="T17" fmla="*/ 23 h 175"/>
                  <a:gd name="T18" fmla="*/ 53 w 117"/>
                  <a:gd name="T19" fmla="*/ 10 h 175"/>
                  <a:gd name="T20" fmla="*/ 68 w 117"/>
                  <a:gd name="T21" fmla="*/ 2 h 175"/>
                  <a:gd name="T22" fmla="*/ 86 w 117"/>
                  <a:gd name="T23" fmla="*/ 5 h 175"/>
                  <a:gd name="T24" fmla="*/ 92 w 117"/>
                  <a:gd name="T25" fmla="*/ 25 h 175"/>
                  <a:gd name="T26" fmla="*/ 99 w 117"/>
                  <a:gd name="T27" fmla="*/ 37 h 175"/>
                  <a:gd name="T28" fmla="*/ 114 w 117"/>
                  <a:gd name="T29" fmla="*/ 41 h 175"/>
                  <a:gd name="T30" fmla="*/ 110 w 117"/>
                  <a:gd name="T31" fmla="*/ 59 h 175"/>
                  <a:gd name="T32" fmla="*/ 105 w 117"/>
                  <a:gd name="T33" fmla="*/ 67 h 175"/>
                  <a:gd name="T34" fmla="*/ 92 w 117"/>
                  <a:gd name="T35" fmla="*/ 78 h 175"/>
                  <a:gd name="T36" fmla="*/ 81 w 117"/>
                  <a:gd name="T37" fmla="*/ 97 h 175"/>
                  <a:gd name="T38" fmla="*/ 72 w 117"/>
                  <a:gd name="T39" fmla="*/ 109 h 175"/>
                  <a:gd name="T40" fmla="*/ 96 w 117"/>
                  <a:gd name="T41" fmla="*/ 108 h 175"/>
                  <a:gd name="T42" fmla="*/ 107 w 117"/>
                  <a:gd name="T43" fmla="*/ 124 h 175"/>
                  <a:gd name="T44" fmla="*/ 110 w 117"/>
                  <a:gd name="T45" fmla="*/ 133 h 175"/>
                  <a:gd name="T46" fmla="*/ 98 w 117"/>
                  <a:gd name="T47" fmla="*/ 156 h 175"/>
                  <a:gd name="T48" fmla="*/ 90 w 117"/>
                  <a:gd name="T49" fmla="*/ 138 h 175"/>
                  <a:gd name="T50" fmla="*/ 72 w 117"/>
                  <a:gd name="T51" fmla="*/ 131 h 175"/>
                  <a:gd name="T52" fmla="*/ 62 w 117"/>
                  <a:gd name="T53" fmla="*/ 132 h 175"/>
                  <a:gd name="T54" fmla="*/ 71 w 117"/>
                  <a:gd name="T55" fmla="*/ 162 h 175"/>
                  <a:gd name="T56" fmla="*/ 79 w 117"/>
                  <a:gd name="T57" fmla="*/ 175 h 175"/>
                  <a:gd name="T58" fmla="*/ 75 w 117"/>
                  <a:gd name="T59" fmla="*/ 172 h 175"/>
                  <a:gd name="T60" fmla="*/ 41 w 117"/>
                  <a:gd name="T61" fmla="*/ 162 h 175"/>
                  <a:gd name="T62" fmla="*/ 21 w 117"/>
                  <a:gd name="T63" fmla="*/ 156 h 175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117"/>
                  <a:gd name="T97" fmla="*/ 0 h 175"/>
                  <a:gd name="T98" fmla="*/ 117 w 117"/>
                  <a:gd name="T99" fmla="*/ 175 h 175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117" h="175">
                    <a:moveTo>
                      <a:pt x="21" y="156"/>
                    </a:moveTo>
                    <a:cubicBezTo>
                      <a:pt x="24" y="151"/>
                      <a:pt x="20" y="134"/>
                      <a:pt x="20" y="130"/>
                    </a:cubicBezTo>
                    <a:cubicBezTo>
                      <a:pt x="17" y="124"/>
                      <a:pt x="16" y="126"/>
                      <a:pt x="12" y="122"/>
                    </a:cubicBezTo>
                    <a:cubicBezTo>
                      <a:pt x="10" y="117"/>
                      <a:pt x="8" y="113"/>
                      <a:pt x="7" y="108"/>
                    </a:cubicBezTo>
                    <a:cubicBezTo>
                      <a:pt x="6" y="101"/>
                      <a:pt x="6" y="96"/>
                      <a:pt x="5" y="89"/>
                    </a:cubicBezTo>
                    <a:cubicBezTo>
                      <a:pt x="4" y="84"/>
                      <a:pt x="2" y="74"/>
                      <a:pt x="2" y="74"/>
                    </a:cubicBezTo>
                    <a:cubicBezTo>
                      <a:pt x="11" y="65"/>
                      <a:pt x="0" y="38"/>
                      <a:pt x="17" y="34"/>
                    </a:cubicBezTo>
                    <a:cubicBezTo>
                      <a:pt x="18" y="31"/>
                      <a:pt x="24" y="29"/>
                      <a:pt x="24" y="29"/>
                    </a:cubicBezTo>
                    <a:cubicBezTo>
                      <a:pt x="27" y="26"/>
                      <a:pt x="30" y="25"/>
                      <a:pt x="33" y="23"/>
                    </a:cubicBezTo>
                    <a:cubicBezTo>
                      <a:pt x="37" y="16"/>
                      <a:pt x="46" y="12"/>
                      <a:pt x="53" y="10"/>
                    </a:cubicBezTo>
                    <a:cubicBezTo>
                      <a:pt x="57" y="6"/>
                      <a:pt x="62" y="4"/>
                      <a:pt x="68" y="2"/>
                    </a:cubicBezTo>
                    <a:cubicBezTo>
                      <a:pt x="74" y="3"/>
                      <a:pt x="83" y="0"/>
                      <a:pt x="86" y="5"/>
                    </a:cubicBezTo>
                    <a:cubicBezTo>
                      <a:pt x="89" y="10"/>
                      <a:pt x="88" y="21"/>
                      <a:pt x="92" y="25"/>
                    </a:cubicBezTo>
                    <a:cubicBezTo>
                      <a:pt x="95" y="28"/>
                      <a:pt x="99" y="37"/>
                      <a:pt x="99" y="37"/>
                    </a:cubicBezTo>
                    <a:cubicBezTo>
                      <a:pt x="101" y="39"/>
                      <a:pt x="114" y="41"/>
                      <a:pt x="114" y="41"/>
                    </a:cubicBezTo>
                    <a:cubicBezTo>
                      <a:pt x="117" y="49"/>
                      <a:pt x="116" y="53"/>
                      <a:pt x="110" y="59"/>
                    </a:cubicBezTo>
                    <a:cubicBezTo>
                      <a:pt x="108" y="66"/>
                      <a:pt x="110" y="64"/>
                      <a:pt x="105" y="67"/>
                    </a:cubicBezTo>
                    <a:cubicBezTo>
                      <a:pt x="102" y="72"/>
                      <a:pt x="97" y="75"/>
                      <a:pt x="92" y="78"/>
                    </a:cubicBezTo>
                    <a:cubicBezTo>
                      <a:pt x="89" y="84"/>
                      <a:pt x="86" y="92"/>
                      <a:pt x="81" y="97"/>
                    </a:cubicBezTo>
                    <a:cubicBezTo>
                      <a:pt x="79" y="102"/>
                      <a:pt x="72" y="109"/>
                      <a:pt x="72" y="109"/>
                    </a:cubicBezTo>
                    <a:cubicBezTo>
                      <a:pt x="69" y="119"/>
                      <a:pt x="90" y="106"/>
                      <a:pt x="96" y="108"/>
                    </a:cubicBezTo>
                    <a:cubicBezTo>
                      <a:pt x="102" y="111"/>
                      <a:pt x="102" y="117"/>
                      <a:pt x="107" y="124"/>
                    </a:cubicBezTo>
                    <a:cubicBezTo>
                      <a:pt x="109" y="127"/>
                      <a:pt x="110" y="133"/>
                      <a:pt x="110" y="133"/>
                    </a:cubicBezTo>
                    <a:cubicBezTo>
                      <a:pt x="109" y="167"/>
                      <a:pt x="117" y="162"/>
                      <a:pt x="98" y="156"/>
                    </a:cubicBezTo>
                    <a:cubicBezTo>
                      <a:pt x="96" y="153"/>
                      <a:pt x="93" y="141"/>
                      <a:pt x="90" y="138"/>
                    </a:cubicBezTo>
                    <a:cubicBezTo>
                      <a:pt x="88" y="131"/>
                      <a:pt x="78" y="133"/>
                      <a:pt x="72" y="131"/>
                    </a:cubicBezTo>
                    <a:cubicBezTo>
                      <a:pt x="69" y="131"/>
                      <a:pt x="65" y="131"/>
                      <a:pt x="62" y="132"/>
                    </a:cubicBezTo>
                    <a:cubicBezTo>
                      <a:pt x="54" y="136"/>
                      <a:pt x="66" y="159"/>
                      <a:pt x="71" y="162"/>
                    </a:cubicBezTo>
                    <a:cubicBezTo>
                      <a:pt x="74" y="169"/>
                      <a:pt x="78" y="174"/>
                      <a:pt x="79" y="175"/>
                    </a:cubicBezTo>
                    <a:cubicBezTo>
                      <a:pt x="78" y="174"/>
                      <a:pt x="76" y="173"/>
                      <a:pt x="75" y="172"/>
                    </a:cubicBezTo>
                    <a:cubicBezTo>
                      <a:pt x="70" y="158"/>
                      <a:pt x="52" y="162"/>
                      <a:pt x="41" y="162"/>
                    </a:cubicBezTo>
                    <a:cubicBezTo>
                      <a:pt x="34" y="161"/>
                      <a:pt x="28" y="158"/>
                      <a:pt x="21" y="156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</p:grpSp>
        <p:sp>
          <p:nvSpPr>
            <p:cNvPr id="89" name="Freeform 69"/>
            <p:cNvSpPr>
              <a:spLocks noChangeAspect="1"/>
            </p:cNvSpPr>
            <p:nvPr/>
          </p:nvSpPr>
          <p:spPr bwMode="auto">
            <a:xfrm>
              <a:off x="1631" y="2486"/>
              <a:ext cx="222" cy="257"/>
            </a:xfrm>
            <a:custGeom>
              <a:avLst/>
              <a:gdLst>
                <a:gd name="T0" fmla="*/ 474 w 219"/>
                <a:gd name="T1" fmla="*/ 203 h 254"/>
                <a:gd name="T2" fmla="*/ 446 w 219"/>
                <a:gd name="T3" fmla="*/ 165 h 254"/>
                <a:gd name="T4" fmla="*/ 392 w 219"/>
                <a:gd name="T5" fmla="*/ 177 h 254"/>
                <a:gd name="T6" fmla="*/ 335 w 219"/>
                <a:gd name="T7" fmla="*/ 137 h 254"/>
                <a:gd name="T8" fmla="*/ 360 w 219"/>
                <a:gd name="T9" fmla="*/ 117 h 254"/>
                <a:gd name="T10" fmla="*/ 420 w 219"/>
                <a:gd name="T11" fmla="*/ 38 h 254"/>
                <a:gd name="T12" fmla="*/ 458 w 219"/>
                <a:gd name="T13" fmla="*/ 19 h 254"/>
                <a:gd name="T14" fmla="*/ 434 w 219"/>
                <a:gd name="T15" fmla="*/ 7 h 254"/>
                <a:gd name="T16" fmla="*/ 417 w 219"/>
                <a:gd name="T17" fmla="*/ 25 h 254"/>
                <a:gd name="T18" fmla="*/ 335 w 219"/>
                <a:gd name="T19" fmla="*/ 18 h 254"/>
                <a:gd name="T20" fmla="*/ 298 w 219"/>
                <a:gd name="T21" fmla="*/ 35 h 254"/>
                <a:gd name="T22" fmla="*/ 306 w 219"/>
                <a:gd name="T23" fmla="*/ 105 h 254"/>
                <a:gd name="T24" fmla="*/ 316 w 219"/>
                <a:gd name="T25" fmla="*/ 120 h 254"/>
                <a:gd name="T26" fmla="*/ 284 w 219"/>
                <a:gd name="T27" fmla="*/ 137 h 254"/>
                <a:gd name="T28" fmla="*/ 211 w 219"/>
                <a:gd name="T29" fmla="*/ 120 h 254"/>
                <a:gd name="T30" fmla="*/ 138 w 219"/>
                <a:gd name="T31" fmla="*/ 119 h 254"/>
                <a:gd name="T32" fmla="*/ 134 w 219"/>
                <a:gd name="T33" fmla="*/ 159 h 254"/>
                <a:gd name="T34" fmla="*/ 130 w 219"/>
                <a:gd name="T35" fmla="*/ 175 h 254"/>
                <a:gd name="T36" fmla="*/ 106 w 219"/>
                <a:gd name="T37" fmla="*/ 207 h 254"/>
                <a:gd name="T38" fmla="*/ 208 w 219"/>
                <a:gd name="T39" fmla="*/ 278 h 254"/>
                <a:gd name="T40" fmla="*/ 140 w 219"/>
                <a:gd name="T41" fmla="*/ 303 h 254"/>
                <a:gd name="T42" fmla="*/ 105 w 219"/>
                <a:gd name="T43" fmla="*/ 349 h 254"/>
                <a:gd name="T44" fmla="*/ 118 w 219"/>
                <a:gd name="T45" fmla="*/ 363 h 254"/>
                <a:gd name="T46" fmla="*/ 29 w 219"/>
                <a:gd name="T47" fmla="*/ 398 h 254"/>
                <a:gd name="T48" fmla="*/ 13 w 219"/>
                <a:gd name="T49" fmla="*/ 377 h 254"/>
                <a:gd name="T50" fmla="*/ 4 w 219"/>
                <a:gd name="T51" fmla="*/ 413 h 254"/>
                <a:gd name="T52" fmla="*/ 23 w 219"/>
                <a:gd name="T53" fmla="*/ 408 h 254"/>
                <a:gd name="T54" fmla="*/ 4 w 219"/>
                <a:gd name="T55" fmla="*/ 447 h 254"/>
                <a:gd name="T56" fmla="*/ 29 w 219"/>
                <a:gd name="T57" fmla="*/ 456 h 254"/>
                <a:gd name="T58" fmla="*/ 5 w 219"/>
                <a:gd name="T59" fmla="*/ 480 h 254"/>
                <a:gd name="T60" fmla="*/ 26 w 219"/>
                <a:gd name="T61" fmla="*/ 509 h 254"/>
                <a:gd name="T62" fmla="*/ 170 w 219"/>
                <a:gd name="T63" fmla="*/ 504 h 254"/>
                <a:gd name="T64" fmla="*/ 274 w 219"/>
                <a:gd name="T65" fmla="*/ 497 h 254"/>
                <a:gd name="T66" fmla="*/ 332 w 219"/>
                <a:gd name="T67" fmla="*/ 468 h 254"/>
                <a:gd name="T68" fmla="*/ 428 w 219"/>
                <a:gd name="T69" fmla="*/ 452 h 254"/>
                <a:gd name="T70" fmla="*/ 464 w 219"/>
                <a:gd name="T71" fmla="*/ 398 h 254"/>
                <a:gd name="T72" fmla="*/ 474 w 219"/>
                <a:gd name="T73" fmla="*/ 377 h 254"/>
                <a:gd name="T74" fmla="*/ 471 w 219"/>
                <a:gd name="T75" fmla="*/ 278 h 254"/>
                <a:gd name="T76" fmla="*/ 494 w 219"/>
                <a:gd name="T77" fmla="*/ 216 h 254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219"/>
                <a:gd name="T118" fmla="*/ 0 h 254"/>
                <a:gd name="T119" fmla="*/ 219 w 219"/>
                <a:gd name="T120" fmla="*/ 254 h 254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219" h="254">
                  <a:moveTo>
                    <a:pt x="217" y="110"/>
                  </a:moveTo>
                  <a:cubicBezTo>
                    <a:pt x="219" y="105"/>
                    <a:pt x="213" y="105"/>
                    <a:pt x="208" y="104"/>
                  </a:cubicBezTo>
                  <a:cubicBezTo>
                    <a:pt x="202" y="100"/>
                    <a:pt x="201" y="97"/>
                    <a:pt x="196" y="92"/>
                  </a:cubicBezTo>
                  <a:cubicBezTo>
                    <a:pt x="194" y="90"/>
                    <a:pt x="194" y="85"/>
                    <a:pt x="194" y="85"/>
                  </a:cubicBezTo>
                  <a:cubicBezTo>
                    <a:pt x="191" y="77"/>
                    <a:pt x="190" y="79"/>
                    <a:pt x="182" y="82"/>
                  </a:cubicBezTo>
                  <a:cubicBezTo>
                    <a:pt x="179" y="90"/>
                    <a:pt x="182" y="92"/>
                    <a:pt x="172" y="91"/>
                  </a:cubicBezTo>
                  <a:cubicBezTo>
                    <a:pt x="165" y="89"/>
                    <a:pt x="164" y="79"/>
                    <a:pt x="154" y="76"/>
                  </a:cubicBezTo>
                  <a:cubicBezTo>
                    <a:pt x="152" y="69"/>
                    <a:pt x="155" y="77"/>
                    <a:pt x="149" y="71"/>
                  </a:cubicBezTo>
                  <a:cubicBezTo>
                    <a:pt x="147" y="69"/>
                    <a:pt x="147" y="64"/>
                    <a:pt x="146" y="61"/>
                  </a:cubicBezTo>
                  <a:cubicBezTo>
                    <a:pt x="150" y="58"/>
                    <a:pt x="154" y="57"/>
                    <a:pt x="159" y="56"/>
                  </a:cubicBezTo>
                  <a:cubicBezTo>
                    <a:pt x="165" y="47"/>
                    <a:pt x="162" y="47"/>
                    <a:pt x="173" y="46"/>
                  </a:cubicBezTo>
                  <a:cubicBezTo>
                    <a:pt x="180" y="41"/>
                    <a:pt x="178" y="44"/>
                    <a:pt x="182" y="38"/>
                  </a:cubicBezTo>
                  <a:cubicBezTo>
                    <a:pt x="184" y="32"/>
                    <a:pt x="184" y="31"/>
                    <a:pt x="190" y="29"/>
                  </a:cubicBezTo>
                  <a:cubicBezTo>
                    <a:pt x="193" y="26"/>
                    <a:pt x="196" y="20"/>
                    <a:pt x="200" y="19"/>
                  </a:cubicBezTo>
                  <a:cubicBezTo>
                    <a:pt x="202" y="14"/>
                    <a:pt x="206" y="9"/>
                    <a:pt x="202" y="6"/>
                  </a:cubicBezTo>
                  <a:cubicBezTo>
                    <a:pt x="200" y="0"/>
                    <a:pt x="194" y="3"/>
                    <a:pt x="188" y="7"/>
                  </a:cubicBezTo>
                  <a:cubicBezTo>
                    <a:pt x="187" y="11"/>
                    <a:pt x="184" y="15"/>
                    <a:pt x="183" y="19"/>
                  </a:cubicBezTo>
                  <a:cubicBezTo>
                    <a:pt x="182" y="21"/>
                    <a:pt x="181" y="25"/>
                    <a:pt x="181" y="25"/>
                  </a:cubicBezTo>
                  <a:cubicBezTo>
                    <a:pt x="170" y="22"/>
                    <a:pt x="182" y="10"/>
                    <a:pt x="165" y="8"/>
                  </a:cubicBezTo>
                  <a:cubicBezTo>
                    <a:pt x="149" y="9"/>
                    <a:pt x="158" y="15"/>
                    <a:pt x="149" y="18"/>
                  </a:cubicBezTo>
                  <a:cubicBezTo>
                    <a:pt x="148" y="23"/>
                    <a:pt x="147" y="23"/>
                    <a:pt x="142" y="25"/>
                  </a:cubicBezTo>
                  <a:cubicBezTo>
                    <a:pt x="139" y="29"/>
                    <a:pt x="135" y="34"/>
                    <a:pt x="131" y="35"/>
                  </a:cubicBezTo>
                  <a:cubicBezTo>
                    <a:pt x="131" y="36"/>
                    <a:pt x="127" y="40"/>
                    <a:pt x="128" y="41"/>
                  </a:cubicBezTo>
                  <a:cubicBezTo>
                    <a:pt x="129" y="43"/>
                    <a:pt x="134" y="43"/>
                    <a:pt x="135" y="44"/>
                  </a:cubicBezTo>
                  <a:cubicBezTo>
                    <a:pt x="138" y="45"/>
                    <a:pt x="145" y="48"/>
                    <a:pt x="145" y="48"/>
                  </a:cubicBezTo>
                  <a:cubicBezTo>
                    <a:pt x="144" y="49"/>
                    <a:pt x="142" y="58"/>
                    <a:pt x="140" y="59"/>
                  </a:cubicBezTo>
                  <a:cubicBezTo>
                    <a:pt x="137" y="61"/>
                    <a:pt x="131" y="62"/>
                    <a:pt x="131" y="62"/>
                  </a:cubicBezTo>
                  <a:cubicBezTo>
                    <a:pt x="127" y="67"/>
                    <a:pt x="125" y="64"/>
                    <a:pt x="124" y="71"/>
                  </a:cubicBezTo>
                  <a:cubicBezTo>
                    <a:pt x="116" y="70"/>
                    <a:pt x="120" y="68"/>
                    <a:pt x="113" y="65"/>
                  </a:cubicBezTo>
                  <a:cubicBezTo>
                    <a:pt x="111" y="58"/>
                    <a:pt x="101" y="60"/>
                    <a:pt x="95" y="59"/>
                  </a:cubicBezTo>
                  <a:cubicBezTo>
                    <a:pt x="92" y="55"/>
                    <a:pt x="87" y="53"/>
                    <a:pt x="83" y="52"/>
                  </a:cubicBezTo>
                  <a:cubicBezTo>
                    <a:pt x="75" y="53"/>
                    <a:pt x="67" y="51"/>
                    <a:pt x="63" y="58"/>
                  </a:cubicBezTo>
                  <a:cubicBezTo>
                    <a:pt x="62" y="64"/>
                    <a:pt x="62" y="66"/>
                    <a:pt x="58" y="70"/>
                  </a:cubicBezTo>
                  <a:cubicBezTo>
                    <a:pt x="57" y="74"/>
                    <a:pt x="57" y="79"/>
                    <a:pt x="61" y="82"/>
                  </a:cubicBezTo>
                  <a:cubicBezTo>
                    <a:pt x="64" y="85"/>
                    <a:pt x="74" y="86"/>
                    <a:pt x="74" y="86"/>
                  </a:cubicBezTo>
                  <a:cubicBezTo>
                    <a:pt x="69" y="88"/>
                    <a:pt x="64" y="88"/>
                    <a:pt x="59" y="90"/>
                  </a:cubicBezTo>
                  <a:cubicBezTo>
                    <a:pt x="61" y="95"/>
                    <a:pt x="62" y="96"/>
                    <a:pt x="61" y="101"/>
                  </a:cubicBezTo>
                  <a:cubicBezTo>
                    <a:pt x="48" y="100"/>
                    <a:pt x="47" y="93"/>
                    <a:pt x="45" y="106"/>
                  </a:cubicBezTo>
                  <a:cubicBezTo>
                    <a:pt x="46" y="114"/>
                    <a:pt x="50" y="119"/>
                    <a:pt x="59" y="121"/>
                  </a:cubicBezTo>
                  <a:cubicBezTo>
                    <a:pt x="70" y="128"/>
                    <a:pt x="81" y="133"/>
                    <a:pt x="94" y="134"/>
                  </a:cubicBezTo>
                  <a:cubicBezTo>
                    <a:pt x="89" y="141"/>
                    <a:pt x="84" y="138"/>
                    <a:pt x="74" y="137"/>
                  </a:cubicBezTo>
                  <a:cubicBezTo>
                    <a:pt x="67" y="139"/>
                    <a:pt x="70" y="146"/>
                    <a:pt x="64" y="150"/>
                  </a:cubicBezTo>
                  <a:cubicBezTo>
                    <a:pt x="62" y="155"/>
                    <a:pt x="58" y="160"/>
                    <a:pt x="53" y="162"/>
                  </a:cubicBezTo>
                  <a:cubicBezTo>
                    <a:pt x="50" y="166"/>
                    <a:pt x="39" y="175"/>
                    <a:pt x="44" y="173"/>
                  </a:cubicBezTo>
                  <a:cubicBezTo>
                    <a:pt x="58" y="174"/>
                    <a:pt x="71" y="171"/>
                    <a:pt x="85" y="173"/>
                  </a:cubicBezTo>
                  <a:cubicBezTo>
                    <a:pt x="74" y="175"/>
                    <a:pt x="64" y="179"/>
                    <a:pt x="53" y="180"/>
                  </a:cubicBezTo>
                  <a:cubicBezTo>
                    <a:pt x="47" y="182"/>
                    <a:pt x="43" y="178"/>
                    <a:pt x="37" y="180"/>
                  </a:cubicBezTo>
                  <a:cubicBezTo>
                    <a:pt x="35" y="183"/>
                    <a:pt x="31" y="192"/>
                    <a:pt x="29" y="196"/>
                  </a:cubicBezTo>
                  <a:cubicBezTo>
                    <a:pt x="28" y="198"/>
                    <a:pt x="27" y="202"/>
                    <a:pt x="27" y="202"/>
                  </a:cubicBezTo>
                  <a:cubicBezTo>
                    <a:pt x="25" y="195"/>
                    <a:pt x="20" y="189"/>
                    <a:pt x="13" y="187"/>
                  </a:cubicBezTo>
                  <a:cubicBezTo>
                    <a:pt x="6" y="188"/>
                    <a:pt x="9" y="190"/>
                    <a:pt x="4" y="193"/>
                  </a:cubicBezTo>
                  <a:cubicBezTo>
                    <a:pt x="3" y="196"/>
                    <a:pt x="0" y="200"/>
                    <a:pt x="4" y="202"/>
                  </a:cubicBezTo>
                  <a:cubicBezTo>
                    <a:pt x="6" y="203"/>
                    <a:pt x="10" y="204"/>
                    <a:pt x="10" y="204"/>
                  </a:cubicBezTo>
                  <a:cubicBezTo>
                    <a:pt x="16" y="203"/>
                    <a:pt x="18" y="203"/>
                    <a:pt x="23" y="200"/>
                  </a:cubicBezTo>
                  <a:cubicBezTo>
                    <a:pt x="24" y="201"/>
                    <a:pt x="27" y="201"/>
                    <a:pt x="27" y="202"/>
                  </a:cubicBezTo>
                  <a:cubicBezTo>
                    <a:pt x="27" y="205"/>
                    <a:pt x="7" y="216"/>
                    <a:pt x="4" y="217"/>
                  </a:cubicBezTo>
                  <a:cubicBezTo>
                    <a:pt x="5" y="222"/>
                    <a:pt x="6" y="222"/>
                    <a:pt x="11" y="224"/>
                  </a:cubicBezTo>
                  <a:cubicBezTo>
                    <a:pt x="17" y="223"/>
                    <a:pt x="24" y="218"/>
                    <a:pt x="29" y="222"/>
                  </a:cubicBezTo>
                  <a:cubicBezTo>
                    <a:pt x="31" y="223"/>
                    <a:pt x="29" y="226"/>
                    <a:pt x="28" y="228"/>
                  </a:cubicBezTo>
                  <a:cubicBezTo>
                    <a:pt x="23" y="235"/>
                    <a:pt x="12" y="234"/>
                    <a:pt x="5" y="236"/>
                  </a:cubicBezTo>
                  <a:cubicBezTo>
                    <a:pt x="14" y="240"/>
                    <a:pt x="23" y="238"/>
                    <a:pt x="32" y="241"/>
                  </a:cubicBezTo>
                  <a:cubicBezTo>
                    <a:pt x="31" y="245"/>
                    <a:pt x="30" y="249"/>
                    <a:pt x="26" y="250"/>
                  </a:cubicBezTo>
                  <a:cubicBezTo>
                    <a:pt x="32" y="254"/>
                    <a:pt x="38" y="253"/>
                    <a:pt x="45" y="254"/>
                  </a:cubicBezTo>
                  <a:cubicBezTo>
                    <a:pt x="56" y="252"/>
                    <a:pt x="68" y="250"/>
                    <a:pt x="79" y="248"/>
                  </a:cubicBezTo>
                  <a:cubicBezTo>
                    <a:pt x="83" y="247"/>
                    <a:pt x="92" y="244"/>
                    <a:pt x="92" y="244"/>
                  </a:cubicBezTo>
                  <a:cubicBezTo>
                    <a:pt x="98" y="238"/>
                    <a:pt x="112" y="243"/>
                    <a:pt x="119" y="244"/>
                  </a:cubicBezTo>
                  <a:cubicBezTo>
                    <a:pt x="122" y="242"/>
                    <a:pt x="128" y="238"/>
                    <a:pt x="128" y="238"/>
                  </a:cubicBezTo>
                  <a:cubicBezTo>
                    <a:pt x="130" y="232"/>
                    <a:pt x="143" y="231"/>
                    <a:pt x="148" y="230"/>
                  </a:cubicBezTo>
                  <a:cubicBezTo>
                    <a:pt x="162" y="232"/>
                    <a:pt x="166" y="235"/>
                    <a:pt x="178" y="239"/>
                  </a:cubicBezTo>
                  <a:cubicBezTo>
                    <a:pt x="188" y="236"/>
                    <a:pt x="182" y="231"/>
                    <a:pt x="185" y="220"/>
                  </a:cubicBezTo>
                  <a:cubicBezTo>
                    <a:pt x="186" y="216"/>
                    <a:pt x="197" y="215"/>
                    <a:pt x="197" y="215"/>
                  </a:cubicBezTo>
                  <a:cubicBezTo>
                    <a:pt x="203" y="209"/>
                    <a:pt x="200" y="203"/>
                    <a:pt x="203" y="196"/>
                  </a:cubicBezTo>
                  <a:cubicBezTo>
                    <a:pt x="204" y="194"/>
                    <a:pt x="206" y="192"/>
                    <a:pt x="207" y="190"/>
                  </a:cubicBezTo>
                  <a:cubicBezTo>
                    <a:pt x="207" y="189"/>
                    <a:pt x="208" y="188"/>
                    <a:pt x="208" y="187"/>
                  </a:cubicBezTo>
                  <a:cubicBezTo>
                    <a:pt x="211" y="169"/>
                    <a:pt x="211" y="159"/>
                    <a:pt x="209" y="140"/>
                  </a:cubicBezTo>
                  <a:cubicBezTo>
                    <a:pt x="209" y="138"/>
                    <a:pt x="207" y="134"/>
                    <a:pt x="207" y="134"/>
                  </a:cubicBezTo>
                  <a:cubicBezTo>
                    <a:pt x="208" y="128"/>
                    <a:pt x="209" y="124"/>
                    <a:pt x="211" y="119"/>
                  </a:cubicBezTo>
                  <a:cubicBezTo>
                    <a:pt x="212" y="111"/>
                    <a:pt x="210" y="114"/>
                    <a:pt x="217" y="110"/>
                  </a:cubicBez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  <p:grpSp>
          <p:nvGrpSpPr>
            <p:cNvPr id="90" name="Group 70"/>
            <p:cNvGrpSpPr>
              <a:grpSpLocks noChangeAspect="1"/>
            </p:cNvGrpSpPr>
            <p:nvPr/>
          </p:nvGrpSpPr>
          <p:grpSpPr bwMode="auto">
            <a:xfrm>
              <a:off x="2582" y="1531"/>
              <a:ext cx="400" cy="1042"/>
              <a:chOff x="2717" y="1385"/>
              <a:chExt cx="395" cy="1031"/>
            </a:xfrm>
            <a:grpFill/>
          </p:grpSpPr>
          <p:sp>
            <p:nvSpPr>
              <p:cNvPr id="144" name="Freeform 71"/>
              <p:cNvSpPr>
                <a:spLocks noChangeAspect="1"/>
              </p:cNvSpPr>
              <p:nvPr/>
            </p:nvSpPr>
            <p:spPr bwMode="auto">
              <a:xfrm>
                <a:off x="2998" y="2203"/>
                <a:ext cx="50" cy="89"/>
              </a:xfrm>
              <a:custGeom>
                <a:avLst/>
                <a:gdLst>
                  <a:gd name="T0" fmla="*/ 42 w 50"/>
                  <a:gd name="T1" fmla="*/ 3 h 89"/>
                  <a:gd name="T2" fmla="*/ 24 w 50"/>
                  <a:gd name="T3" fmla="*/ 14 h 89"/>
                  <a:gd name="T4" fmla="*/ 15 w 50"/>
                  <a:gd name="T5" fmla="*/ 19 h 89"/>
                  <a:gd name="T6" fmla="*/ 0 w 50"/>
                  <a:gd name="T7" fmla="*/ 38 h 89"/>
                  <a:gd name="T8" fmla="*/ 4 w 50"/>
                  <a:gd name="T9" fmla="*/ 51 h 89"/>
                  <a:gd name="T10" fmla="*/ 0 w 50"/>
                  <a:gd name="T11" fmla="*/ 62 h 89"/>
                  <a:gd name="T12" fmla="*/ 7 w 50"/>
                  <a:gd name="T13" fmla="*/ 72 h 89"/>
                  <a:gd name="T14" fmla="*/ 6 w 50"/>
                  <a:gd name="T15" fmla="*/ 81 h 89"/>
                  <a:gd name="T16" fmla="*/ 13 w 50"/>
                  <a:gd name="T17" fmla="*/ 83 h 89"/>
                  <a:gd name="T18" fmla="*/ 23 w 50"/>
                  <a:gd name="T19" fmla="*/ 65 h 89"/>
                  <a:gd name="T20" fmla="*/ 33 w 50"/>
                  <a:gd name="T21" fmla="*/ 48 h 89"/>
                  <a:gd name="T22" fmla="*/ 23 w 50"/>
                  <a:gd name="T23" fmla="*/ 29 h 89"/>
                  <a:gd name="T24" fmla="*/ 34 w 50"/>
                  <a:gd name="T25" fmla="*/ 18 h 89"/>
                  <a:gd name="T26" fmla="*/ 48 w 50"/>
                  <a:gd name="T27" fmla="*/ 6 h 89"/>
                  <a:gd name="T28" fmla="*/ 42 w 50"/>
                  <a:gd name="T29" fmla="*/ 3 h 89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50"/>
                  <a:gd name="T46" fmla="*/ 0 h 89"/>
                  <a:gd name="T47" fmla="*/ 50 w 50"/>
                  <a:gd name="T48" fmla="*/ 89 h 89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50" h="89">
                    <a:moveTo>
                      <a:pt x="42" y="3"/>
                    </a:moveTo>
                    <a:cubicBezTo>
                      <a:pt x="27" y="4"/>
                      <a:pt x="15" y="0"/>
                      <a:pt x="24" y="14"/>
                    </a:cubicBezTo>
                    <a:cubicBezTo>
                      <a:pt x="21" y="18"/>
                      <a:pt x="20" y="18"/>
                      <a:pt x="15" y="19"/>
                    </a:cubicBezTo>
                    <a:cubicBezTo>
                      <a:pt x="7" y="24"/>
                      <a:pt x="7" y="31"/>
                      <a:pt x="0" y="38"/>
                    </a:cubicBezTo>
                    <a:cubicBezTo>
                      <a:pt x="1" y="44"/>
                      <a:pt x="2" y="46"/>
                      <a:pt x="4" y="51"/>
                    </a:cubicBezTo>
                    <a:cubicBezTo>
                      <a:pt x="3" y="55"/>
                      <a:pt x="1" y="58"/>
                      <a:pt x="0" y="62"/>
                    </a:cubicBezTo>
                    <a:cubicBezTo>
                      <a:pt x="1" y="68"/>
                      <a:pt x="1" y="70"/>
                      <a:pt x="7" y="72"/>
                    </a:cubicBezTo>
                    <a:cubicBezTo>
                      <a:pt x="10" y="76"/>
                      <a:pt x="8" y="76"/>
                      <a:pt x="6" y="81"/>
                    </a:cubicBezTo>
                    <a:cubicBezTo>
                      <a:pt x="7" y="88"/>
                      <a:pt x="9" y="89"/>
                      <a:pt x="13" y="83"/>
                    </a:cubicBezTo>
                    <a:cubicBezTo>
                      <a:pt x="15" y="71"/>
                      <a:pt x="12" y="67"/>
                      <a:pt x="23" y="65"/>
                    </a:cubicBezTo>
                    <a:cubicBezTo>
                      <a:pt x="31" y="61"/>
                      <a:pt x="27" y="54"/>
                      <a:pt x="33" y="48"/>
                    </a:cubicBezTo>
                    <a:cubicBezTo>
                      <a:pt x="30" y="40"/>
                      <a:pt x="27" y="36"/>
                      <a:pt x="23" y="29"/>
                    </a:cubicBezTo>
                    <a:cubicBezTo>
                      <a:pt x="24" y="24"/>
                      <a:pt x="29" y="21"/>
                      <a:pt x="34" y="18"/>
                    </a:cubicBezTo>
                    <a:cubicBezTo>
                      <a:pt x="37" y="8"/>
                      <a:pt x="36" y="7"/>
                      <a:pt x="48" y="6"/>
                    </a:cubicBezTo>
                    <a:cubicBezTo>
                      <a:pt x="50" y="1"/>
                      <a:pt x="50" y="3"/>
                      <a:pt x="42" y="3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145" name="Freeform 72"/>
              <p:cNvSpPr>
                <a:spLocks noChangeAspect="1"/>
              </p:cNvSpPr>
              <p:nvPr/>
            </p:nvSpPr>
            <p:spPr bwMode="auto">
              <a:xfrm>
                <a:off x="2932" y="2263"/>
                <a:ext cx="29" cy="87"/>
              </a:xfrm>
              <a:custGeom>
                <a:avLst/>
                <a:gdLst>
                  <a:gd name="T0" fmla="*/ 27 w 29"/>
                  <a:gd name="T1" fmla="*/ 0 h 87"/>
                  <a:gd name="T2" fmla="*/ 19 w 29"/>
                  <a:gd name="T3" fmla="*/ 15 h 87"/>
                  <a:gd name="T4" fmla="*/ 13 w 29"/>
                  <a:gd name="T5" fmla="*/ 30 h 87"/>
                  <a:gd name="T6" fmla="*/ 7 w 29"/>
                  <a:gd name="T7" fmla="*/ 38 h 87"/>
                  <a:gd name="T8" fmla="*/ 1 w 29"/>
                  <a:gd name="T9" fmla="*/ 57 h 87"/>
                  <a:gd name="T10" fmla="*/ 9 w 29"/>
                  <a:gd name="T11" fmla="*/ 78 h 87"/>
                  <a:gd name="T12" fmla="*/ 12 w 29"/>
                  <a:gd name="T13" fmla="*/ 85 h 87"/>
                  <a:gd name="T14" fmla="*/ 24 w 29"/>
                  <a:gd name="T15" fmla="*/ 32 h 87"/>
                  <a:gd name="T16" fmla="*/ 25 w 29"/>
                  <a:gd name="T17" fmla="*/ 17 h 87"/>
                  <a:gd name="T18" fmla="*/ 29 w 29"/>
                  <a:gd name="T19" fmla="*/ 8 h 87"/>
                  <a:gd name="T20" fmla="*/ 27 w 29"/>
                  <a:gd name="T21" fmla="*/ 0 h 87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29"/>
                  <a:gd name="T34" fmla="*/ 0 h 87"/>
                  <a:gd name="T35" fmla="*/ 29 w 29"/>
                  <a:gd name="T36" fmla="*/ 87 h 87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29" h="87">
                    <a:moveTo>
                      <a:pt x="27" y="0"/>
                    </a:moveTo>
                    <a:cubicBezTo>
                      <a:pt x="24" y="5"/>
                      <a:pt x="23" y="11"/>
                      <a:pt x="19" y="15"/>
                    </a:cubicBezTo>
                    <a:cubicBezTo>
                      <a:pt x="18" y="21"/>
                      <a:pt x="17" y="26"/>
                      <a:pt x="13" y="30"/>
                    </a:cubicBezTo>
                    <a:cubicBezTo>
                      <a:pt x="11" y="37"/>
                      <a:pt x="13" y="35"/>
                      <a:pt x="7" y="38"/>
                    </a:cubicBezTo>
                    <a:cubicBezTo>
                      <a:pt x="5" y="44"/>
                      <a:pt x="5" y="51"/>
                      <a:pt x="1" y="57"/>
                    </a:cubicBezTo>
                    <a:cubicBezTo>
                      <a:pt x="0" y="64"/>
                      <a:pt x="2" y="76"/>
                      <a:pt x="9" y="78"/>
                    </a:cubicBezTo>
                    <a:cubicBezTo>
                      <a:pt x="10" y="80"/>
                      <a:pt x="11" y="87"/>
                      <a:pt x="12" y="85"/>
                    </a:cubicBezTo>
                    <a:cubicBezTo>
                      <a:pt x="18" y="68"/>
                      <a:pt x="18" y="49"/>
                      <a:pt x="24" y="32"/>
                    </a:cubicBezTo>
                    <a:cubicBezTo>
                      <a:pt x="24" y="27"/>
                      <a:pt x="24" y="22"/>
                      <a:pt x="25" y="17"/>
                    </a:cubicBezTo>
                    <a:cubicBezTo>
                      <a:pt x="26" y="14"/>
                      <a:pt x="29" y="8"/>
                      <a:pt x="29" y="8"/>
                    </a:cubicBezTo>
                    <a:cubicBezTo>
                      <a:pt x="28" y="2"/>
                      <a:pt x="29" y="5"/>
                      <a:pt x="27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146" name="Freeform 73"/>
              <p:cNvSpPr>
                <a:spLocks noChangeAspect="1"/>
              </p:cNvSpPr>
              <p:nvPr/>
            </p:nvSpPr>
            <p:spPr bwMode="auto">
              <a:xfrm>
                <a:off x="2717" y="1385"/>
                <a:ext cx="395" cy="1031"/>
              </a:xfrm>
              <a:custGeom>
                <a:avLst/>
                <a:gdLst>
                  <a:gd name="T0" fmla="*/ 240 w 395"/>
                  <a:gd name="T1" fmla="*/ 3 h 1031"/>
                  <a:gd name="T2" fmla="*/ 240 w 395"/>
                  <a:gd name="T3" fmla="*/ 33 h 1031"/>
                  <a:gd name="T4" fmla="*/ 188 w 395"/>
                  <a:gd name="T5" fmla="*/ 73 h 1031"/>
                  <a:gd name="T6" fmla="*/ 144 w 395"/>
                  <a:gd name="T7" fmla="*/ 130 h 1031"/>
                  <a:gd name="T8" fmla="*/ 135 w 395"/>
                  <a:gd name="T9" fmla="*/ 193 h 1031"/>
                  <a:gd name="T10" fmla="*/ 103 w 395"/>
                  <a:gd name="T11" fmla="*/ 302 h 1031"/>
                  <a:gd name="T12" fmla="*/ 92 w 395"/>
                  <a:gd name="T13" fmla="*/ 331 h 1031"/>
                  <a:gd name="T14" fmla="*/ 87 w 395"/>
                  <a:gd name="T15" fmla="*/ 358 h 1031"/>
                  <a:gd name="T16" fmla="*/ 74 w 395"/>
                  <a:gd name="T17" fmla="*/ 393 h 1031"/>
                  <a:gd name="T18" fmla="*/ 29 w 395"/>
                  <a:gd name="T19" fmla="*/ 457 h 1031"/>
                  <a:gd name="T20" fmla="*/ 38 w 395"/>
                  <a:gd name="T21" fmla="*/ 563 h 1031"/>
                  <a:gd name="T22" fmla="*/ 45 w 395"/>
                  <a:gd name="T23" fmla="*/ 633 h 1031"/>
                  <a:gd name="T24" fmla="*/ 40 w 395"/>
                  <a:gd name="T25" fmla="*/ 702 h 1031"/>
                  <a:gd name="T26" fmla="*/ 21 w 395"/>
                  <a:gd name="T27" fmla="*/ 773 h 1031"/>
                  <a:gd name="T28" fmla="*/ 3 w 395"/>
                  <a:gd name="T29" fmla="*/ 771 h 1031"/>
                  <a:gd name="T30" fmla="*/ 35 w 395"/>
                  <a:gd name="T31" fmla="*/ 865 h 1031"/>
                  <a:gd name="T32" fmla="*/ 69 w 395"/>
                  <a:gd name="T33" fmla="*/ 926 h 1031"/>
                  <a:gd name="T34" fmla="*/ 94 w 395"/>
                  <a:gd name="T35" fmla="*/ 1031 h 1031"/>
                  <a:gd name="T36" fmla="*/ 136 w 395"/>
                  <a:gd name="T37" fmla="*/ 993 h 1031"/>
                  <a:gd name="T38" fmla="*/ 196 w 395"/>
                  <a:gd name="T39" fmla="*/ 963 h 1031"/>
                  <a:gd name="T40" fmla="*/ 207 w 395"/>
                  <a:gd name="T41" fmla="*/ 939 h 1031"/>
                  <a:gd name="T42" fmla="*/ 220 w 395"/>
                  <a:gd name="T43" fmla="*/ 897 h 1031"/>
                  <a:gd name="T44" fmla="*/ 201 w 395"/>
                  <a:gd name="T45" fmla="*/ 790 h 1031"/>
                  <a:gd name="T46" fmla="*/ 252 w 395"/>
                  <a:gd name="T47" fmla="*/ 750 h 1031"/>
                  <a:gd name="T48" fmla="*/ 284 w 395"/>
                  <a:gd name="T49" fmla="*/ 745 h 1031"/>
                  <a:gd name="T50" fmla="*/ 298 w 395"/>
                  <a:gd name="T51" fmla="*/ 693 h 1031"/>
                  <a:gd name="T52" fmla="*/ 255 w 395"/>
                  <a:gd name="T53" fmla="*/ 645 h 1031"/>
                  <a:gd name="T54" fmla="*/ 226 w 395"/>
                  <a:gd name="T55" fmla="*/ 637 h 1031"/>
                  <a:gd name="T56" fmla="*/ 226 w 395"/>
                  <a:gd name="T57" fmla="*/ 507 h 1031"/>
                  <a:gd name="T58" fmla="*/ 305 w 395"/>
                  <a:gd name="T59" fmla="*/ 399 h 1031"/>
                  <a:gd name="T60" fmla="*/ 332 w 395"/>
                  <a:gd name="T61" fmla="*/ 365 h 1031"/>
                  <a:gd name="T62" fmla="*/ 312 w 395"/>
                  <a:gd name="T63" fmla="*/ 309 h 1031"/>
                  <a:gd name="T64" fmla="*/ 372 w 395"/>
                  <a:gd name="T65" fmla="*/ 229 h 1031"/>
                  <a:gd name="T66" fmla="*/ 384 w 395"/>
                  <a:gd name="T67" fmla="*/ 213 h 1031"/>
                  <a:gd name="T68" fmla="*/ 365 w 395"/>
                  <a:gd name="T69" fmla="*/ 133 h 1031"/>
                  <a:gd name="T70" fmla="*/ 340 w 395"/>
                  <a:gd name="T71" fmla="*/ 62 h 1031"/>
                  <a:gd name="T72" fmla="*/ 253 w 395"/>
                  <a:gd name="T73" fmla="*/ 0 h 1031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395"/>
                  <a:gd name="T112" fmla="*/ 0 h 1031"/>
                  <a:gd name="T113" fmla="*/ 395 w 395"/>
                  <a:gd name="T114" fmla="*/ 1031 h 1031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395" h="1031">
                    <a:moveTo>
                      <a:pt x="253" y="0"/>
                    </a:moveTo>
                    <a:cubicBezTo>
                      <a:pt x="251" y="0"/>
                      <a:pt x="240" y="2"/>
                      <a:pt x="240" y="3"/>
                    </a:cubicBezTo>
                    <a:cubicBezTo>
                      <a:pt x="239" y="7"/>
                      <a:pt x="244" y="20"/>
                      <a:pt x="244" y="25"/>
                    </a:cubicBezTo>
                    <a:cubicBezTo>
                      <a:pt x="243" y="28"/>
                      <a:pt x="240" y="33"/>
                      <a:pt x="240" y="33"/>
                    </a:cubicBezTo>
                    <a:cubicBezTo>
                      <a:pt x="239" y="38"/>
                      <a:pt x="245" y="47"/>
                      <a:pt x="236" y="54"/>
                    </a:cubicBezTo>
                    <a:cubicBezTo>
                      <a:pt x="159" y="33"/>
                      <a:pt x="202" y="64"/>
                      <a:pt x="188" y="73"/>
                    </a:cubicBezTo>
                    <a:cubicBezTo>
                      <a:pt x="172" y="83"/>
                      <a:pt x="202" y="87"/>
                      <a:pt x="179" y="88"/>
                    </a:cubicBezTo>
                    <a:cubicBezTo>
                      <a:pt x="135" y="86"/>
                      <a:pt x="146" y="119"/>
                      <a:pt x="144" y="130"/>
                    </a:cubicBezTo>
                    <a:cubicBezTo>
                      <a:pt x="148" y="137"/>
                      <a:pt x="146" y="147"/>
                      <a:pt x="148" y="155"/>
                    </a:cubicBezTo>
                    <a:cubicBezTo>
                      <a:pt x="145" y="174"/>
                      <a:pt x="145" y="177"/>
                      <a:pt x="135" y="193"/>
                    </a:cubicBezTo>
                    <a:cubicBezTo>
                      <a:pt x="128" y="208"/>
                      <a:pt x="111" y="225"/>
                      <a:pt x="106" y="243"/>
                    </a:cubicBezTo>
                    <a:cubicBezTo>
                      <a:pt x="102" y="265"/>
                      <a:pt x="102" y="276"/>
                      <a:pt x="103" y="302"/>
                    </a:cubicBezTo>
                    <a:cubicBezTo>
                      <a:pt x="101" y="308"/>
                      <a:pt x="101" y="311"/>
                      <a:pt x="96" y="315"/>
                    </a:cubicBezTo>
                    <a:cubicBezTo>
                      <a:pt x="95" y="320"/>
                      <a:pt x="94" y="326"/>
                      <a:pt x="92" y="331"/>
                    </a:cubicBezTo>
                    <a:cubicBezTo>
                      <a:pt x="91" y="334"/>
                      <a:pt x="88" y="341"/>
                      <a:pt x="88" y="341"/>
                    </a:cubicBezTo>
                    <a:cubicBezTo>
                      <a:pt x="87" y="349"/>
                      <a:pt x="83" y="350"/>
                      <a:pt x="87" y="358"/>
                    </a:cubicBezTo>
                    <a:cubicBezTo>
                      <a:pt x="90" y="371"/>
                      <a:pt x="99" y="375"/>
                      <a:pt x="93" y="397"/>
                    </a:cubicBezTo>
                    <a:cubicBezTo>
                      <a:pt x="86" y="396"/>
                      <a:pt x="81" y="395"/>
                      <a:pt x="74" y="393"/>
                    </a:cubicBezTo>
                    <a:cubicBezTo>
                      <a:pt x="54" y="388"/>
                      <a:pt x="50" y="411"/>
                      <a:pt x="40" y="421"/>
                    </a:cubicBezTo>
                    <a:cubicBezTo>
                      <a:pt x="38" y="432"/>
                      <a:pt x="34" y="447"/>
                      <a:pt x="29" y="457"/>
                    </a:cubicBezTo>
                    <a:cubicBezTo>
                      <a:pt x="38" y="472"/>
                      <a:pt x="29" y="481"/>
                      <a:pt x="34" y="493"/>
                    </a:cubicBezTo>
                    <a:cubicBezTo>
                      <a:pt x="36" y="512"/>
                      <a:pt x="42" y="526"/>
                      <a:pt x="38" y="563"/>
                    </a:cubicBezTo>
                    <a:cubicBezTo>
                      <a:pt x="35" y="590"/>
                      <a:pt x="51" y="584"/>
                      <a:pt x="64" y="596"/>
                    </a:cubicBezTo>
                    <a:cubicBezTo>
                      <a:pt x="65" y="607"/>
                      <a:pt x="46" y="623"/>
                      <a:pt x="45" y="633"/>
                    </a:cubicBezTo>
                    <a:cubicBezTo>
                      <a:pt x="44" y="645"/>
                      <a:pt x="59" y="657"/>
                      <a:pt x="58" y="669"/>
                    </a:cubicBezTo>
                    <a:cubicBezTo>
                      <a:pt x="53" y="679"/>
                      <a:pt x="48" y="693"/>
                      <a:pt x="40" y="702"/>
                    </a:cubicBezTo>
                    <a:cubicBezTo>
                      <a:pt x="32" y="709"/>
                      <a:pt x="29" y="725"/>
                      <a:pt x="28" y="737"/>
                    </a:cubicBezTo>
                    <a:cubicBezTo>
                      <a:pt x="29" y="753"/>
                      <a:pt x="27" y="758"/>
                      <a:pt x="21" y="773"/>
                    </a:cubicBezTo>
                    <a:cubicBezTo>
                      <a:pt x="18" y="778"/>
                      <a:pt x="8" y="757"/>
                      <a:pt x="5" y="757"/>
                    </a:cubicBezTo>
                    <a:cubicBezTo>
                      <a:pt x="1" y="763"/>
                      <a:pt x="0" y="764"/>
                      <a:pt x="3" y="771"/>
                    </a:cubicBezTo>
                    <a:cubicBezTo>
                      <a:pt x="5" y="784"/>
                      <a:pt x="15" y="823"/>
                      <a:pt x="20" y="838"/>
                    </a:cubicBezTo>
                    <a:cubicBezTo>
                      <a:pt x="22" y="849"/>
                      <a:pt x="32" y="855"/>
                      <a:pt x="35" y="865"/>
                    </a:cubicBezTo>
                    <a:cubicBezTo>
                      <a:pt x="39" y="877"/>
                      <a:pt x="43" y="897"/>
                      <a:pt x="50" y="907"/>
                    </a:cubicBezTo>
                    <a:cubicBezTo>
                      <a:pt x="59" y="911"/>
                      <a:pt x="63" y="918"/>
                      <a:pt x="69" y="926"/>
                    </a:cubicBezTo>
                    <a:cubicBezTo>
                      <a:pt x="72" y="940"/>
                      <a:pt x="75" y="958"/>
                      <a:pt x="64" y="969"/>
                    </a:cubicBezTo>
                    <a:cubicBezTo>
                      <a:pt x="68" y="986"/>
                      <a:pt x="81" y="1021"/>
                      <a:pt x="94" y="1031"/>
                    </a:cubicBezTo>
                    <a:cubicBezTo>
                      <a:pt x="110" y="1029"/>
                      <a:pt x="124" y="1029"/>
                      <a:pt x="140" y="1027"/>
                    </a:cubicBezTo>
                    <a:cubicBezTo>
                      <a:pt x="148" y="1016"/>
                      <a:pt x="140" y="1004"/>
                      <a:pt x="136" y="993"/>
                    </a:cubicBezTo>
                    <a:cubicBezTo>
                      <a:pt x="141" y="973"/>
                      <a:pt x="160" y="970"/>
                      <a:pt x="177" y="969"/>
                    </a:cubicBezTo>
                    <a:cubicBezTo>
                      <a:pt x="184" y="966"/>
                      <a:pt x="189" y="966"/>
                      <a:pt x="196" y="963"/>
                    </a:cubicBezTo>
                    <a:cubicBezTo>
                      <a:pt x="197" y="956"/>
                      <a:pt x="201" y="951"/>
                      <a:pt x="204" y="945"/>
                    </a:cubicBezTo>
                    <a:cubicBezTo>
                      <a:pt x="205" y="943"/>
                      <a:pt x="207" y="939"/>
                      <a:pt x="207" y="939"/>
                    </a:cubicBezTo>
                    <a:cubicBezTo>
                      <a:pt x="209" y="929"/>
                      <a:pt x="212" y="918"/>
                      <a:pt x="215" y="909"/>
                    </a:cubicBezTo>
                    <a:cubicBezTo>
                      <a:pt x="216" y="905"/>
                      <a:pt x="220" y="897"/>
                      <a:pt x="220" y="897"/>
                    </a:cubicBezTo>
                    <a:cubicBezTo>
                      <a:pt x="223" y="877"/>
                      <a:pt x="220" y="851"/>
                      <a:pt x="226" y="832"/>
                    </a:cubicBezTo>
                    <a:cubicBezTo>
                      <a:pt x="224" y="801"/>
                      <a:pt x="227" y="803"/>
                      <a:pt x="201" y="790"/>
                    </a:cubicBezTo>
                    <a:cubicBezTo>
                      <a:pt x="206" y="783"/>
                      <a:pt x="227" y="780"/>
                      <a:pt x="236" y="779"/>
                    </a:cubicBezTo>
                    <a:cubicBezTo>
                      <a:pt x="248" y="772"/>
                      <a:pt x="241" y="756"/>
                      <a:pt x="252" y="750"/>
                    </a:cubicBezTo>
                    <a:cubicBezTo>
                      <a:pt x="256" y="753"/>
                      <a:pt x="257" y="760"/>
                      <a:pt x="260" y="764"/>
                    </a:cubicBezTo>
                    <a:cubicBezTo>
                      <a:pt x="271" y="760"/>
                      <a:pt x="276" y="753"/>
                      <a:pt x="284" y="745"/>
                    </a:cubicBezTo>
                    <a:cubicBezTo>
                      <a:pt x="280" y="729"/>
                      <a:pt x="264" y="732"/>
                      <a:pt x="245" y="731"/>
                    </a:cubicBezTo>
                    <a:cubicBezTo>
                      <a:pt x="247" y="722"/>
                      <a:pt x="295" y="707"/>
                      <a:pt x="298" y="693"/>
                    </a:cubicBezTo>
                    <a:cubicBezTo>
                      <a:pt x="300" y="679"/>
                      <a:pt x="283" y="659"/>
                      <a:pt x="272" y="651"/>
                    </a:cubicBezTo>
                    <a:cubicBezTo>
                      <a:pt x="271" y="644"/>
                      <a:pt x="262" y="646"/>
                      <a:pt x="255" y="645"/>
                    </a:cubicBezTo>
                    <a:cubicBezTo>
                      <a:pt x="247" y="638"/>
                      <a:pt x="253" y="642"/>
                      <a:pt x="240" y="640"/>
                    </a:cubicBezTo>
                    <a:cubicBezTo>
                      <a:pt x="235" y="639"/>
                      <a:pt x="226" y="637"/>
                      <a:pt x="226" y="637"/>
                    </a:cubicBezTo>
                    <a:cubicBezTo>
                      <a:pt x="218" y="626"/>
                      <a:pt x="221" y="632"/>
                      <a:pt x="221" y="605"/>
                    </a:cubicBezTo>
                    <a:cubicBezTo>
                      <a:pt x="221" y="585"/>
                      <a:pt x="219" y="536"/>
                      <a:pt x="226" y="507"/>
                    </a:cubicBezTo>
                    <a:cubicBezTo>
                      <a:pt x="230" y="491"/>
                      <a:pt x="240" y="477"/>
                      <a:pt x="249" y="464"/>
                    </a:cubicBezTo>
                    <a:cubicBezTo>
                      <a:pt x="266" y="441"/>
                      <a:pt x="282" y="417"/>
                      <a:pt x="305" y="399"/>
                    </a:cubicBezTo>
                    <a:cubicBezTo>
                      <a:pt x="312" y="393"/>
                      <a:pt x="317" y="387"/>
                      <a:pt x="324" y="381"/>
                    </a:cubicBezTo>
                    <a:cubicBezTo>
                      <a:pt x="331" y="369"/>
                      <a:pt x="329" y="375"/>
                      <a:pt x="332" y="365"/>
                    </a:cubicBezTo>
                    <a:cubicBezTo>
                      <a:pt x="330" y="342"/>
                      <a:pt x="344" y="349"/>
                      <a:pt x="336" y="334"/>
                    </a:cubicBezTo>
                    <a:cubicBezTo>
                      <a:pt x="335" y="327"/>
                      <a:pt x="318" y="313"/>
                      <a:pt x="312" y="309"/>
                    </a:cubicBezTo>
                    <a:cubicBezTo>
                      <a:pt x="314" y="296"/>
                      <a:pt x="334" y="264"/>
                      <a:pt x="344" y="251"/>
                    </a:cubicBezTo>
                    <a:cubicBezTo>
                      <a:pt x="350" y="241"/>
                      <a:pt x="360" y="231"/>
                      <a:pt x="372" y="229"/>
                    </a:cubicBezTo>
                    <a:cubicBezTo>
                      <a:pt x="380" y="225"/>
                      <a:pt x="386" y="229"/>
                      <a:pt x="395" y="227"/>
                    </a:cubicBezTo>
                    <a:cubicBezTo>
                      <a:pt x="388" y="225"/>
                      <a:pt x="387" y="220"/>
                      <a:pt x="384" y="213"/>
                    </a:cubicBezTo>
                    <a:cubicBezTo>
                      <a:pt x="383" y="206"/>
                      <a:pt x="377" y="199"/>
                      <a:pt x="373" y="193"/>
                    </a:cubicBezTo>
                    <a:cubicBezTo>
                      <a:pt x="370" y="173"/>
                      <a:pt x="378" y="150"/>
                      <a:pt x="365" y="133"/>
                    </a:cubicBezTo>
                    <a:cubicBezTo>
                      <a:pt x="362" y="120"/>
                      <a:pt x="351" y="107"/>
                      <a:pt x="346" y="94"/>
                    </a:cubicBezTo>
                    <a:cubicBezTo>
                      <a:pt x="345" y="80"/>
                      <a:pt x="352" y="69"/>
                      <a:pt x="340" y="62"/>
                    </a:cubicBezTo>
                    <a:cubicBezTo>
                      <a:pt x="327" y="46"/>
                      <a:pt x="304" y="36"/>
                      <a:pt x="287" y="24"/>
                    </a:cubicBezTo>
                    <a:cubicBezTo>
                      <a:pt x="276" y="16"/>
                      <a:pt x="267" y="5"/>
                      <a:pt x="253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</p:grpSp>
        <p:grpSp>
          <p:nvGrpSpPr>
            <p:cNvPr id="91" name="Group 74"/>
            <p:cNvGrpSpPr>
              <a:grpSpLocks/>
            </p:cNvGrpSpPr>
            <p:nvPr/>
          </p:nvGrpSpPr>
          <p:grpSpPr bwMode="auto">
            <a:xfrm>
              <a:off x="2358" y="1338"/>
              <a:ext cx="737" cy="1042"/>
              <a:chOff x="1955" y="-432"/>
              <a:chExt cx="2919" cy="4123"/>
            </a:xfrm>
            <a:grpFill/>
          </p:grpSpPr>
          <p:sp>
            <p:nvSpPr>
              <p:cNvPr id="142" name="Freeform 75"/>
              <p:cNvSpPr>
                <a:spLocks noChangeAspect="1"/>
              </p:cNvSpPr>
              <p:nvPr/>
            </p:nvSpPr>
            <p:spPr bwMode="auto">
              <a:xfrm>
                <a:off x="3019" y="312"/>
                <a:ext cx="392" cy="468"/>
              </a:xfrm>
              <a:custGeom>
                <a:avLst/>
                <a:gdLst>
                  <a:gd name="T0" fmla="*/ 2147483647 w 98"/>
                  <a:gd name="T1" fmla="*/ 2147483647 h 117"/>
                  <a:gd name="T2" fmla="*/ 2147483647 w 98"/>
                  <a:gd name="T3" fmla="*/ 2147483647 h 117"/>
                  <a:gd name="T4" fmla="*/ 2147483647 w 98"/>
                  <a:gd name="T5" fmla="*/ 2147483647 h 117"/>
                  <a:gd name="T6" fmla="*/ 2147483647 w 98"/>
                  <a:gd name="T7" fmla="*/ 2147483647 h 117"/>
                  <a:gd name="T8" fmla="*/ 2147483647 w 98"/>
                  <a:gd name="T9" fmla="*/ 2147483647 h 117"/>
                  <a:gd name="T10" fmla="*/ 2147483647 w 98"/>
                  <a:gd name="T11" fmla="*/ 2147483647 h 117"/>
                  <a:gd name="T12" fmla="*/ 2147483647 w 98"/>
                  <a:gd name="T13" fmla="*/ 2147483647 h 117"/>
                  <a:gd name="T14" fmla="*/ 2147483647 w 98"/>
                  <a:gd name="T15" fmla="*/ 2147483647 h 117"/>
                  <a:gd name="T16" fmla="*/ 2147483647 w 98"/>
                  <a:gd name="T17" fmla="*/ 0 h 117"/>
                  <a:gd name="T18" fmla="*/ 2147483647 w 98"/>
                  <a:gd name="T19" fmla="*/ 2147483647 h 117"/>
                  <a:gd name="T20" fmla="*/ 2147483647 w 98"/>
                  <a:gd name="T21" fmla="*/ 2147483647 h 117"/>
                  <a:gd name="T22" fmla="*/ 2147483647 w 98"/>
                  <a:gd name="T23" fmla="*/ 2147483647 h 117"/>
                  <a:gd name="T24" fmla="*/ 2147483647 w 98"/>
                  <a:gd name="T25" fmla="*/ 2147483647 h 117"/>
                  <a:gd name="T26" fmla="*/ 2147483647 w 98"/>
                  <a:gd name="T27" fmla="*/ 2147483647 h 117"/>
                  <a:gd name="T28" fmla="*/ 2147483647 w 98"/>
                  <a:gd name="T29" fmla="*/ 2147483647 h 117"/>
                  <a:gd name="T30" fmla="*/ 2147483647 w 98"/>
                  <a:gd name="T31" fmla="*/ 2147483647 h 117"/>
                  <a:gd name="T32" fmla="*/ 2147483647 w 98"/>
                  <a:gd name="T33" fmla="*/ 2147483647 h 117"/>
                  <a:gd name="T34" fmla="*/ 2147483647 w 98"/>
                  <a:gd name="T35" fmla="*/ 2147483647 h 117"/>
                  <a:gd name="T36" fmla="*/ 2147483647 w 98"/>
                  <a:gd name="T37" fmla="*/ 2147483647 h 117"/>
                  <a:gd name="T38" fmla="*/ 2147483647 w 98"/>
                  <a:gd name="T39" fmla="*/ 2147483647 h 117"/>
                  <a:gd name="T40" fmla="*/ 2147483647 w 98"/>
                  <a:gd name="T41" fmla="*/ 2147483647 h 117"/>
                  <a:gd name="T42" fmla="*/ 0 w 98"/>
                  <a:gd name="T43" fmla="*/ 2147483647 h 117"/>
                  <a:gd name="T44" fmla="*/ 2147483647 w 98"/>
                  <a:gd name="T45" fmla="*/ 2147483647 h 117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98"/>
                  <a:gd name="T70" fmla="*/ 0 h 117"/>
                  <a:gd name="T71" fmla="*/ 98 w 98"/>
                  <a:gd name="T72" fmla="*/ 117 h 117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98" h="117">
                    <a:moveTo>
                      <a:pt x="14" y="94"/>
                    </a:moveTo>
                    <a:cubicBezTo>
                      <a:pt x="22" y="88"/>
                      <a:pt x="22" y="81"/>
                      <a:pt x="30" y="74"/>
                    </a:cubicBezTo>
                    <a:cubicBezTo>
                      <a:pt x="32" y="68"/>
                      <a:pt x="33" y="76"/>
                      <a:pt x="39" y="74"/>
                    </a:cubicBezTo>
                    <a:cubicBezTo>
                      <a:pt x="45" y="75"/>
                      <a:pt x="46" y="68"/>
                      <a:pt x="52" y="70"/>
                    </a:cubicBezTo>
                    <a:cubicBezTo>
                      <a:pt x="59" y="69"/>
                      <a:pt x="64" y="66"/>
                      <a:pt x="56" y="60"/>
                    </a:cubicBezTo>
                    <a:cubicBezTo>
                      <a:pt x="51" y="57"/>
                      <a:pt x="40" y="54"/>
                      <a:pt x="40" y="54"/>
                    </a:cubicBezTo>
                    <a:cubicBezTo>
                      <a:pt x="37" y="44"/>
                      <a:pt x="54" y="34"/>
                      <a:pt x="60" y="33"/>
                    </a:cubicBezTo>
                    <a:cubicBezTo>
                      <a:pt x="63" y="29"/>
                      <a:pt x="72" y="38"/>
                      <a:pt x="74" y="33"/>
                    </a:cubicBezTo>
                    <a:cubicBezTo>
                      <a:pt x="73" y="24"/>
                      <a:pt x="67" y="3"/>
                      <a:pt x="79" y="0"/>
                    </a:cubicBezTo>
                    <a:cubicBezTo>
                      <a:pt x="84" y="2"/>
                      <a:pt x="85" y="2"/>
                      <a:pt x="86" y="7"/>
                    </a:cubicBezTo>
                    <a:cubicBezTo>
                      <a:pt x="85" y="15"/>
                      <a:pt x="83" y="15"/>
                      <a:pt x="79" y="21"/>
                    </a:cubicBezTo>
                    <a:cubicBezTo>
                      <a:pt x="78" y="25"/>
                      <a:pt x="77" y="26"/>
                      <a:pt x="80" y="31"/>
                    </a:cubicBezTo>
                    <a:cubicBezTo>
                      <a:pt x="81" y="33"/>
                      <a:pt x="84" y="37"/>
                      <a:pt x="84" y="37"/>
                    </a:cubicBezTo>
                    <a:cubicBezTo>
                      <a:pt x="88" y="35"/>
                      <a:pt x="92" y="32"/>
                      <a:pt x="97" y="30"/>
                    </a:cubicBezTo>
                    <a:cubicBezTo>
                      <a:pt x="98" y="32"/>
                      <a:pt x="88" y="46"/>
                      <a:pt x="85" y="51"/>
                    </a:cubicBezTo>
                    <a:cubicBezTo>
                      <a:pt x="82" y="56"/>
                      <a:pt x="84" y="58"/>
                      <a:pt x="79" y="63"/>
                    </a:cubicBezTo>
                    <a:cubicBezTo>
                      <a:pt x="72" y="79"/>
                      <a:pt x="78" y="81"/>
                      <a:pt x="56" y="82"/>
                    </a:cubicBezTo>
                    <a:cubicBezTo>
                      <a:pt x="50" y="84"/>
                      <a:pt x="43" y="83"/>
                      <a:pt x="37" y="85"/>
                    </a:cubicBezTo>
                    <a:cubicBezTo>
                      <a:pt x="36" y="85"/>
                      <a:pt x="32" y="93"/>
                      <a:pt x="31" y="94"/>
                    </a:cubicBezTo>
                    <a:cubicBezTo>
                      <a:pt x="26" y="100"/>
                      <a:pt x="22" y="101"/>
                      <a:pt x="16" y="105"/>
                    </a:cubicBezTo>
                    <a:cubicBezTo>
                      <a:pt x="12" y="111"/>
                      <a:pt x="15" y="107"/>
                      <a:pt x="6" y="114"/>
                    </a:cubicBezTo>
                    <a:cubicBezTo>
                      <a:pt x="4" y="115"/>
                      <a:pt x="0" y="117"/>
                      <a:pt x="0" y="117"/>
                    </a:cubicBezTo>
                    <a:lnTo>
                      <a:pt x="14" y="94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143" name="Freeform 76"/>
              <p:cNvSpPr>
                <a:spLocks noChangeAspect="1"/>
              </p:cNvSpPr>
              <p:nvPr/>
            </p:nvSpPr>
            <p:spPr bwMode="auto">
              <a:xfrm>
                <a:off x="1955" y="-432"/>
                <a:ext cx="2919" cy="4123"/>
              </a:xfrm>
              <a:custGeom>
                <a:avLst/>
                <a:gdLst>
                  <a:gd name="T0" fmla="*/ 1000 w 2919"/>
                  <a:gd name="T1" fmla="*/ 3731 h 4123"/>
                  <a:gd name="T2" fmla="*/ 1064 w 2919"/>
                  <a:gd name="T3" fmla="*/ 3291 h 4123"/>
                  <a:gd name="T4" fmla="*/ 1044 w 2919"/>
                  <a:gd name="T5" fmla="*/ 2867 h 4123"/>
                  <a:gd name="T6" fmla="*/ 1050 w 2919"/>
                  <a:gd name="T7" fmla="*/ 2452 h 4123"/>
                  <a:gd name="T8" fmla="*/ 1258 w 2919"/>
                  <a:gd name="T9" fmla="*/ 2352 h 4123"/>
                  <a:gd name="T10" fmla="*/ 1261 w 2919"/>
                  <a:gd name="T11" fmla="*/ 2075 h 4123"/>
                  <a:gd name="T12" fmla="*/ 1309 w 2919"/>
                  <a:gd name="T13" fmla="*/ 1734 h 4123"/>
                  <a:gd name="T14" fmla="*/ 1463 w 2919"/>
                  <a:gd name="T15" fmla="*/ 1288 h 4123"/>
                  <a:gd name="T16" fmla="*/ 1834 w 2919"/>
                  <a:gd name="T17" fmla="*/ 980 h 4123"/>
                  <a:gd name="T18" fmla="*/ 1967 w 2919"/>
                  <a:gd name="T19" fmla="*/ 684 h 4123"/>
                  <a:gd name="T20" fmla="*/ 2443 w 2919"/>
                  <a:gd name="T21" fmla="*/ 676 h 4123"/>
                  <a:gd name="T22" fmla="*/ 2514 w 2919"/>
                  <a:gd name="T23" fmla="*/ 381 h 4123"/>
                  <a:gd name="T24" fmla="*/ 2761 w 2919"/>
                  <a:gd name="T25" fmla="*/ 406 h 4123"/>
                  <a:gd name="T26" fmla="*/ 2857 w 2919"/>
                  <a:gd name="T27" fmla="*/ 444 h 4123"/>
                  <a:gd name="T28" fmla="*/ 2695 w 2919"/>
                  <a:gd name="T29" fmla="*/ 268 h 4123"/>
                  <a:gd name="T30" fmla="*/ 2647 w 2919"/>
                  <a:gd name="T31" fmla="*/ 40 h 4123"/>
                  <a:gd name="T32" fmla="*/ 2435 w 2919"/>
                  <a:gd name="T33" fmla="*/ 244 h 4123"/>
                  <a:gd name="T34" fmla="*/ 2319 w 2919"/>
                  <a:gd name="T35" fmla="*/ 340 h 4123"/>
                  <a:gd name="T36" fmla="*/ 2183 w 2919"/>
                  <a:gd name="T37" fmla="*/ 168 h 4123"/>
                  <a:gd name="T38" fmla="*/ 2007 w 2919"/>
                  <a:gd name="T39" fmla="*/ 360 h 4123"/>
                  <a:gd name="T40" fmla="*/ 1823 w 2919"/>
                  <a:gd name="T41" fmla="*/ 632 h 4123"/>
                  <a:gd name="T42" fmla="*/ 1695 w 2919"/>
                  <a:gd name="T43" fmla="*/ 520 h 4123"/>
                  <a:gd name="T44" fmla="*/ 1675 w 2919"/>
                  <a:gd name="T45" fmla="*/ 648 h 4123"/>
                  <a:gd name="T46" fmla="*/ 1523 w 2919"/>
                  <a:gd name="T47" fmla="*/ 820 h 4123"/>
                  <a:gd name="T48" fmla="*/ 1559 w 2919"/>
                  <a:gd name="T49" fmla="*/ 996 h 4123"/>
                  <a:gd name="T50" fmla="*/ 1324 w 2919"/>
                  <a:gd name="T51" fmla="*/ 1244 h 4123"/>
                  <a:gd name="T52" fmla="*/ 1368 w 2919"/>
                  <a:gd name="T53" fmla="*/ 1380 h 4123"/>
                  <a:gd name="T54" fmla="*/ 1220 w 2919"/>
                  <a:gd name="T55" fmla="*/ 1444 h 4123"/>
                  <a:gd name="T56" fmla="*/ 1116 w 2919"/>
                  <a:gd name="T57" fmla="*/ 1656 h 4123"/>
                  <a:gd name="T58" fmla="*/ 1092 w 2919"/>
                  <a:gd name="T59" fmla="*/ 1784 h 4123"/>
                  <a:gd name="T60" fmla="*/ 1044 w 2919"/>
                  <a:gd name="T61" fmla="*/ 1968 h 4123"/>
                  <a:gd name="T62" fmla="*/ 976 w 2919"/>
                  <a:gd name="T63" fmla="*/ 2087 h 4123"/>
                  <a:gd name="T64" fmla="*/ 720 w 2919"/>
                  <a:gd name="T65" fmla="*/ 2375 h 4123"/>
                  <a:gd name="T66" fmla="*/ 828 w 2919"/>
                  <a:gd name="T67" fmla="*/ 2539 h 4123"/>
                  <a:gd name="T68" fmla="*/ 608 w 2919"/>
                  <a:gd name="T69" fmla="*/ 2539 h 4123"/>
                  <a:gd name="T70" fmla="*/ 496 w 2919"/>
                  <a:gd name="T71" fmla="*/ 2671 h 4123"/>
                  <a:gd name="T72" fmla="*/ 332 w 2919"/>
                  <a:gd name="T73" fmla="*/ 2791 h 4123"/>
                  <a:gd name="T74" fmla="*/ 188 w 2919"/>
                  <a:gd name="T75" fmla="*/ 2855 h 4123"/>
                  <a:gd name="T76" fmla="*/ 296 w 2919"/>
                  <a:gd name="T77" fmla="*/ 3011 h 4123"/>
                  <a:gd name="T78" fmla="*/ 216 w 2919"/>
                  <a:gd name="T79" fmla="*/ 3163 h 4123"/>
                  <a:gd name="T80" fmla="*/ 8 w 2919"/>
                  <a:gd name="T81" fmla="*/ 3295 h 4123"/>
                  <a:gd name="T82" fmla="*/ 268 w 2919"/>
                  <a:gd name="T83" fmla="*/ 3411 h 4123"/>
                  <a:gd name="T84" fmla="*/ 160 w 2919"/>
                  <a:gd name="T85" fmla="*/ 3471 h 4123"/>
                  <a:gd name="T86" fmla="*/ 112 w 2919"/>
                  <a:gd name="T87" fmla="*/ 3607 h 4123"/>
                  <a:gd name="T88" fmla="*/ 116 w 2919"/>
                  <a:gd name="T89" fmla="*/ 3679 h 4123"/>
                  <a:gd name="T90" fmla="*/ 140 w 2919"/>
                  <a:gd name="T91" fmla="*/ 3795 h 4123"/>
                  <a:gd name="T92" fmla="*/ 312 w 2919"/>
                  <a:gd name="T93" fmla="*/ 4103 h 4123"/>
                  <a:gd name="T94" fmla="*/ 660 w 2919"/>
                  <a:gd name="T95" fmla="*/ 3863 h 4123"/>
                  <a:gd name="T96" fmla="*/ 896 w 2919"/>
                  <a:gd name="T97" fmla="*/ 3739 h 4123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2919"/>
                  <a:gd name="T148" fmla="*/ 0 h 4123"/>
                  <a:gd name="T149" fmla="*/ 2919 w 2919"/>
                  <a:gd name="T150" fmla="*/ 4123 h 4123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2919" h="4123">
                    <a:moveTo>
                      <a:pt x="908" y="3795"/>
                    </a:moveTo>
                    <a:cubicBezTo>
                      <a:pt x="936" y="3799"/>
                      <a:pt x="940" y="3846"/>
                      <a:pt x="969" y="3860"/>
                    </a:cubicBezTo>
                    <a:cubicBezTo>
                      <a:pt x="984" y="3828"/>
                      <a:pt x="1000" y="3779"/>
                      <a:pt x="1000" y="3731"/>
                    </a:cubicBezTo>
                    <a:cubicBezTo>
                      <a:pt x="1004" y="3695"/>
                      <a:pt x="1012" y="3591"/>
                      <a:pt x="1044" y="3575"/>
                    </a:cubicBezTo>
                    <a:cubicBezTo>
                      <a:pt x="1080" y="3527"/>
                      <a:pt x="1088" y="3503"/>
                      <a:pt x="1116" y="3447"/>
                    </a:cubicBezTo>
                    <a:cubicBezTo>
                      <a:pt x="1131" y="3395"/>
                      <a:pt x="1060" y="3339"/>
                      <a:pt x="1064" y="3291"/>
                    </a:cubicBezTo>
                    <a:cubicBezTo>
                      <a:pt x="1072" y="3259"/>
                      <a:pt x="1148" y="3192"/>
                      <a:pt x="1144" y="3152"/>
                    </a:cubicBezTo>
                    <a:cubicBezTo>
                      <a:pt x="1136" y="3128"/>
                      <a:pt x="1057" y="3114"/>
                      <a:pt x="1041" y="3066"/>
                    </a:cubicBezTo>
                    <a:cubicBezTo>
                      <a:pt x="1037" y="3010"/>
                      <a:pt x="1050" y="2922"/>
                      <a:pt x="1044" y="2867"/>
                    </a:cubicBezTo>
                    <a:cubicBezTo>
                      <a:pt x="1038" y="2795"/>
                      <a:pt x="1009" y="2712"/>
                      <a:pt x="1021" y="2658"/>
                    </a:cubicBezTo>
                    <a:cubicBezTo>
                      <a:pt x="1021" y="2606"/>
                      <a:pt x="1001" y="2620"/>
                      <a:pt x="1006" y="2586"/>
                    </a:cubicBezTo>
                    <a:cubicBezTo>
                      <a:pt x="1023" y="2550"/>
                      <a:pt x="1040" y="2479"/>
                      <a:pt x="1050" y="2452"/>
                    </a:cubicBezTo>
                    <a:cubicBezTo>
                      <a:pt x="1060" y="2425"/>
                      <a:pt x="1053" y="2442"/>
                      <a:pt x="1068" y="2423"/>
                    </a:cubicBezTo>
                    <a:cubicBezTo>
                      <a:pt x="1097" y="2381"/>
                      <a:pt x="1098" y="2363"/>
                      <a:pt x="1140" y="2336"/>
                    </a:cubicBezTo>
                    <a:cubicBezTo>
                      <a:pt x="1172" y="2324"/>
                      <a:pt x="1219" y="2351"/>
                      <a:pt x="1258" y="2352"/>
                    </a:cubicBezTo>
                    <a:cubicBezTo>
                      <a:pt x="1282" y="2291"/>
                      <a:pt x="1251" y="2230"/>
                      <a:pt x="1227" y="2178"/>
                    </a:cubicBezTo>
                    <a:cubicBezTo>
                      <a:pt x="1237" y="2136"/>
                      <a:pt x="1229" y="2151"/>
                      <a:pt x="1242" y="2118"/>
                    </a:cubicBezTo>
                    <a:cubicBezTo>
                      <a:pt x="1248" y="2101"/>
                      <a:pt x="1256" y="2090"/>
                      <a:pt x="1261" y="2075"/>
                    </a:cubicBezTo>
                    <a:cubicBezTo>
                      <a:pt x="1266" y="2060"/>
                      <a:pt x="1264" y="2041"/>
                      <a:pt x="1270" y="2025"/>
                    </a:cubicBezTo>
                    <a:cubicBezTo>
                      <a:pt x="1276" y="2009"/>
                      <a:pt x="1291" y="2027"/>
                      <a:pt x="1297" y="1979"/>
                    </a:cubicBezTo>
                    <a:cubicBezTo>
                      <a:pt x="1301" y="1899"/>
                      <a:pt x="1291" y="1804"/>
                      <a:pt x="1309" y="1734"/>
                    </a:cubicBezTo>
                    <a:cubicBezTo>
                      <a:pt x="1339" y="1683"/>
                      <a:pt x="1347" y="1664"/>
                      <a:pt x="1432" y="1528"/>
                    </a:cubicBezTo>
                    <a:cubicBezTo>
                      <a:pt x="1449" y="1493"/>
                      <a:pt x="1462" y="1497"/>
                      <a:pt x="1479" y="1391"/>
                    </a:cubicBezTo>
                    <a:cubicBezTo>
                      <a:pt x="1479" y="1340"/>
                      <a:pt x="1474" y="1332"/>
                      <a:pt x="1463" y="1288"/>
                    </a:cubicBezTo>
                    <a:cubicBezTo>
                      <a:pt x="1471" y="1170"/>
                      <a:pt x="1432" y="1122"/>
                      <a:pt x="1644" y="1113"/>
                    </a:cubicBezTo>
                    <a:cubicBezTo>
                      <a:pt x="1599" y="1074"/>
                      <a:pt x="1638" y="1067"/>
                      <a:pt x="1650" y="1047"/>
                    </a:cubicBezTo>
                    <a:cubicBezTo>
                      <a:pt x="1662" y="992"/>
                      <a:pt x="1560" y="908"/>
                      <a:pt x="1834" y="980"/>
                    </a:cubicBezTo>
                    <a:cubicBezTo>
                      <a:pt x="1866" y="972"/>
                      <a:pt x="1834" y="899"/>
                      <a:pt x="1863" y="868"/>
                    </a:cubicBezTo>
                    <a:cubicBezTo>
                      <a:pt x="1871" y="836"/>
                      <a:pt x="1845" y="806"/>
                      <a:pt x="1849" y="773"/>
                    </a:cubicBezTo>
                    <a:cubicBezTo>
                      <a:pt x="1920" y="785"/>
                      <a:pt x="1896" y="693"/>
                      <a:pt x="1967" y="684"/>
                    </a:cubicBezTo>
                    <a:cubicBezTo>
                      <a:pt x="2039" y="708"/>
                      <a:pt x="2055" y="728"/>
                      <a:pt x="2085" y="804"/>
                    </a:cubicBezTo>
                    <a:cubicBezTo>
                      <a:pt x="2166" y="816"/>
                      <a:pt x="2326" y="813"/>
                      <a:pt x="2416" y="740"/>
                    </a:cubicBezTo>
                    <a:cubicBezTo>
                      <a:pt x="2431" y="709"/>
                      <a:pt x="2423" y="720"/>
                      <a:pt x="2443" y="676"/>
                    </a:cubicBezTo>
                    <a:cubicBezTo>
                      <a:pt x="2440" y="551"/>
                      <a:pt x="2419" y="548"/>
                      <a:pt x="2419" y="504"/>
                    </a:cubicBezTo>
                    <a:cubicBezTo>
                      <a:pt x="2419" y="460"/>
                      <a:pt x="2426" y="432"/>
                      <a:pt x="2442" y="412"/>
                    </a:cubicBezTo>
                    <a:cubicBezTo>
                      <a:pt x="2458" y="392"/>
                      <a:pt x="2460" y="387"/>
                      <a:pt x="2514" y="381"/>
                    </a:cubicBezTo>
                    <a:cubicBezTo>
                      <a:pt x="2542" y="324"/>
                      <a:pt x="2521" y="323"/>
                      <a:pt x="2578" y="310"/>
                    </a:cubicBezTo>
                    <a:cubicBezTo>
                      <a:pt x="2622" y="334"/>
                      <a:pt x="2673" y="357"/>
                      <a:pt x="2700" y="385"/>
                    </a:cubicBezTo>
                    <a:cubicBezTo>
                      <a:pt x="2724" y="388"/>
                      <a:pt x="2745" y="394"/>
                      <a:pt x="2761" y="406"/>
                    </a:cubicBezTo>
                    <a:cubicBezTo>
                      <a:pt x="2772" y="422"/>
                      <a:pt x="2775" y="456"/>
                      <a:pt x="2778" y="482"/>
                    </a:cubicBezTo>
                    <a:cubicBezTo>
                      <a:pt x="2772" y="510"/>
                      <a:pt x="2760" y="525"/>
                      <a:pt x="2766" y="575"/>
                    </a:cubicBezTo>
                    <a:cubicBezTo>
                      <a:pt x="2791" y="551"/>
                      <a:pt x="2833" y="468"/>
                      <a:pt x="2857" y="444"/>
                    </a:cubicBezTo>
                    <a:cubicBezTo>
                      <a:pt x="2865" y="408"/>
                      <a:pt x="2907" y="376"/>
                      <a:pt x="2915" y="340"/>
                    </a:cubicBezTo>
                    <a:cubicBezTo>
                      <a:pt x="2907" y="280"/>
                      <a:pt x="2859" y="296"/>
                      <a:pt x="2799" y="292"/>
                    </a:cubicBezTo>
                    <a:cubicBezTo>
                      <a:pt x="2763" y="280"/>
                      <a:pt x="2683" y="292"/>
                      <a:pt x="2695" y="268"/>
                    </a:cubicBezTo>
                    <a:cubicBezTo>
                      <a:pt x="2755" y="224"/>
                      <a:pt x="2823" y="240"/>
                      <a:pt x="2879" y="184"/>
                    </a:cubicBezTo>
                    <a:cubicBezTo>
                      <a:pt x="2919" y="144"/>
                      <a:pt x="2823" y="80"/>
                      <a:pt x="2803" y="80"/>
                    </a:cubicBezTo>
                    <a:cubicBezTo>
                      <a:pt x="2663" y="48"/>
                      <a:pt x="2751" y="40"/>
                      <a:pt x="2647" y="40"/>
                    </a:cubicBezTo>
                    <a:cubicBezTo>
                      <a:pt x="2643" y="52"/>
                      <a:pt x="2563" y="160"/>
                      <a:pt x="2563" y="160"/>
                    </a:cubicBezTo>
                    <a:cubicBezTo>
                      <a:pt x="2555" y="168"/>
                      <a:pt x="2527" y="0"/>
                      <a:pt x="2511" y="4"/>
                    </a:cubicBezTo>
                    <a:cubicBezTo>
                      <a:pt x="2491" y="20"/>
                      <a:pt x="2447" y="224"/>
                      <a:pt x="2435" y="244"/>
                    </a:cubicBezTo>
                    <a:cubicBezTo>
                      <a:pt x="2423" y="308"/>
                      <a:pt x="2427" y="136"/>
                      <a:pt x="2407" y="112"/>
                    </a:cubicBezTo>
                    <a:cubicBezTo>
                      <a:pt x="2399" y="148"/>
                      <a:pt x="2375" y="256"/>
                      <a:pt x="2359" y="292"/>
                    </a:cubicBezTo>
                    <a:cubicBezTo>
                      <a:pt x="2343" y="320"/>
                      <a:pt x="2335" y="320"/>
                      <a:pt x="2319" y="340"/>
                    </a:cubicBezTo>
                    <a:cubicBezTo>
                      <a:pt x="2307" y="352"/>
                      <a:pt x="2287" y="380"/>
                      <a:pt x="2287" y="380"/>
                    </a:cubicBezTo>
                    <a:cubicBezTo>
                      <a:pt x="2287" y="296"/>
                      <a:pt x="2323" y="132"/>
                      <a:pt x="2319" y="48"/>
                    </a:cubicBezTo>
                    <a:cubicBezTo>
                      <a:pt x="2319" y="40"/>
                      <a:pt x="2199" y="164"/>
                      <a:pt x="2183" y="168"/>
                    </a:cubicBezTo>
                    <a:cubicBezTo>
                      <a:pt x="2159" y="192"/>
                      <a:pt x="2131" y="200"/>
                      <a:pt x="2099" y="212"/>
                    </a:cubicBezTo>
                    <a:cubicBezTo>
                      <a:pt x="2071" y="248"/>
                      <a:pt x="2059" y="276"/>
                      <a:pt x="2039" y="312"/>
                    </a:cubicBezTo>
                    <a:cubicBezTo>
                      <a:pt x="2031" y="328"/>
                      <a:pt x="2007" y="360"/>
                      <a:pt x="2007" y="360"/>
                    </a:cubicBezTo>
                    <a:cubicBezTo>
                      <a:pt x="1999" y="408"/>
                      <a:pt x="2011" y="484"/>
                      <a:pt x="1951" y="492"/>
                    </a:cubicBezTo>
                    <a:cubicBezTo>
                      <a:pt x="1923" y="480"/>
                      <a:pt x="1907" y="484"/>
                      <a:pt x="1883" y="500"/>
                    </a:cubicBezTo>
                    <a:cubicBezTo>
                      <a:pt x="1859" y="544"/>
                      <a:pt x="1875" y="604"/>
                      <a:pt x="1823" y="632"/>
                    </a:cubicBezTo>
                    <a:cubicBezTo>
                      <a:pt x="1807" y="604"/>
                      <a:pt x="1835" y="564"/>
                      <a:pt x="1815" y="540"/>
                    </a:cubicBezTo>
                    <a:cubicBezTo>
                      <a:pt x="1811" y="512"/>
                      <a:pt x="1787" y="452"/>
                      <a:pt x="1763" y="440"/>
                    </a:cubicBezTo>
                    <a:cubicBezTo>
                      <a:pt x="1723" y="448"/>
                      <a:pt x="1703" y="480"/>
                      <a:pt x="1695" y="520"/>
                    </a:cubicBezTo>
                    <a:cubicBezTo>
                      <a:pt x="1695" y="568"/>
                      <a:pt x="1691" y="648"/>
                      <a:pt x="1723" y="692"/>
                    </a:cubicBezTo>
                    <a:cubicBezTo>
                      <a:pt x="1715" y="708"/>
                      <a:pt x="1715" y="716"/>
                      <a:pt x="1699" y="700"/>
                    </a:cubicBezTo>
                    <a:cubicBezTo>
                      <a:pt x="1687" y="688"/>
                      <a:pt x="1683" y="664"/>
                      <a:pt x="1675" y="648"/>
                    </a:cubicBezTo>
                    <a:cubicBezTo>
                      <a:pt x="1663" y="628"/>
                      <a:pt x="1647" y="572"/>
                      <a:pt x="1627" y="560"/>
                    </a:cubicBezTo>
                    <a:cubicBezTo>
                      <a:pt x="1607" y="588"/>
                      <a:pt x="1595" y="648"/>
                      <a:pt x="1579" y="676"/>
                    </a:cubicBezTo>
                    <a:cubicBezTo>
                      <a:pt x="1571" y="724"/>
                      <a:pt x="1559" y="784"/>
                      <a:pt x="1523" y="820"/>
                    </a:cubicBezTo>
                    <a:cubicBezTo>
                      <a:pt x="1515" y="844"/>
                      <a:pt x="1475" y="900"/>
                      <a:pt x="1475" y="900"/>
                    </a:cubicBezTo>
                    <a:cubicBezTo>
                      <a:pt x="1467" y="972"/>
                      <a:pt x="1444" y="972"/>
                      <a:pt x="1535" y="976"/>
                    </a:cubicBezTo>
                    <a:cubicBezTo>
                      <a:pt x="1555" y="980"/>
                      <a:pt x="1579" y="960"/>
                      <a:pt x="1559" y="996"/>
                    </a:cubicBezTo>
                    <a:cubicBezTo>
                      <a:pt x="1543" y="1024"/>
                      <a:pt x="1471" y="1024"/>
                      <a:pt x="1471" y="1024"/>
                    </a:cubicBezTo>
                    <a:cubicBezTo>
                      <a:pt x="1444" y="1040"/>
                      <a:pt x="1444" y="1092"/>
                      <a:pt x="1420" y="1112"/>
                    </a:cubicBezTo>
                    <a:cubicBezTo>
                      <a:pt x="1396" y="1160"/>
                      <a:pt x="1348" y="1196"/>
                      <a:pt x="1324" y="1244"/>
                    </a:cubicBezTo>
                    <a:cubicBezTo>
                      <a:pt x="1336" y="1276"/>
                      <a:pt x="1352" y="1288"/>
                      <a:pt x="1372" y="1312"/>
                    </a:cubicBezTo>
                    <a:cubicBezTo>
                      <a:pt x="1328" y="1332"/>
                      <a:pt x="1296" y="1336"/>
                      <a:pt x="1248" y="1344"/>
                    </a:cubicBezTo>
                    <a:cubicBezTo>
                      <a:pt x="1220" y="1396"/>
                      <a:pt x="1332" y="1376"/>
                      <a:pt x="1368" y="1380"/>
                    </a:cubicBezTo>
                    <a:cubicBezTo>
                      <a:pt x="1376" y="1380"/>
                      <a:pt x="1392" y="1416"/>
                      <a:pt x="1384" y="1416"/>
                    </a:cubicBezTo>
                    <a:cubicBezTo>
                      <a:pt x="1372" y="1416"/>
                      <a:pt x="1344" y="1416"/>
                      <a:pt x="1332" y="1416"/>
                    </a:cubicBezTo>
                    <a:cubicBezTo>
                      <a:pt x="1288" y="1424"/>
                      <a:pt x="1264" y="1436"/>
                      <a:pt x="1220" y="1444"/>
                    </a:cubicBezTo>
                    <a:cubicBezTo>
                      <a:pt x="1196" y="1468"/>
                      <a:pt x="1172" y="1484"/>
                      <a:pt x="1152" y="1508"/>
                    </a:cubicBezTo>
                    <a:cubicBezTo>
                      <a:pt x="1140" y="1520"/>
                      <a:pt x="1124" y="1556"/>
                      <a:pt x="1124" y="1556"/>
                    </a:cubicBezTo>
                    <a:cubicBezTo>
                      <a:pt x="1136" y="1584"/>
                      <a:pt x="1124" y="1624"/>
                      <a:pt x="1116" y="1656"/>
                    </a:cubicBezTo>
                    <a:cubicBezTo>
                      <a:pt x="1156" y="1664"/>
                      <a:pt x="1180" y="1684"/>
                      <a:pt x="1224" y="1688"/>
                    </a:cubicBezTo>
                    <a:cubicBezTo>
                      <a:pt x="1204" y="1712"/>
                      <a:pt x="1184" y="1728"/>
                      <a:pt x="1152" y="1732"/>
                    </a:cubicBezTo>
                    <a:cubicBezTo>
                      <a:pt x="1124" y="1748"/>
                      <a:pt x="1108" y="1752"/>
                      <a:pt x="1092" y="1784"/>
                    </a:cubicBezTo>
                    <a:cubicBezTo>
                      <a:pt x="1112" y="1872"/>
                      <a:pt x="1100" y="1772"/>
                      <a:pt x="1076" y="1828"/>
                    </a:cubicBezTo>
                    <a:cubicBezTo>
                      <a:pt x="1068" y="1848"/>
                      <a:pt x="1088" y="1896"/>
                      <a:pt x="1092" y="1916"/>
                    </a:cubicBezTo>
                    <a:cubicBezTo>
                      <a:pt x="1064" y="1920"/>
                      <a:pt x="1000" y="1912"/>
                      <a:pt x="1044" y="1968"/>
                    </a:cubicBezTo>
                    <a:cubicBezTo>
                      <a:pt x="1036" y="1988"/>
                      <a:pt x="1032" y="2004"/>
                      <a:pt x="1028" y="2016"/>
                    </a:cubicBezTo>
                    <a:cubicBezTo>
                      <a:pt x="1016" y="2020"/>
                      <a:pt x="1020" y="2032"/>
                      <a:pt x="1012" y="2040"/>
                    </a:cubicBezTo>
                    <a:cubicBezTo>
                      <a:pt x="956" y="2103"/>
                      <a:pt x="1020" y="2067"/>
                      <a:pt x="976" y="2087"/>
                    </a:cubicBezTo>
                    <a:cubicBezTo>
                      <a:pt x="952" y="2147"/>
                      <a:pt x="904" y="2195"/>
                      <a:pt x="840" y="2203"/>
                    </a:cubicBezTo>
                    <a:cubicBezTo>
                      <a:pt x="804" y="2223"/>
                      <a:pt x="812" y="2207"/>
                      <a:pt x="800" y="2235"/>
                    </a:cubicBezTo>
                    <a:cubicBezTo>
                      <a:pt x="788" y="2291"/>
                      <a:pt x="752" y="2331"/>
                      <a:pt x="720" y="2375"/>
                    </a:cubicBezTo>
                    <a:cubicBezTo>
                      <a:pt x="752" y="2463"/>
                      <a:pt x="768" y="2443"/>
                      <a:pt x="792" y="2479"/>
                    </a:cubicBezTo>
                    <a:cubicBezTo>
                      <a:pt x="832" y="2471"/>
                      <a:pt x="876" y="2427"/>
                      <a:pt x="912" y="2407"/>
                    </a:cubicBezTo>
                    <a:cubicBezTo>
                      <a:pt x="908" y="2463"/>
                      <a:pt x="888" y="2527"/>
                      <a:pt x="828" y="2539"/>
                    </a:cubicBezTo>
                    <a:cubicBezTo>
                      <a:pt x="800" y="2559"/>
                      <a:pt x="800" y="2559"/>
                      <a:pt x="764" y="2555"/>
                    </a:cubicBezTo>
                    <a:cubicBezTo>
                      <a:pt x="716" y="2543"/>
                      <a:pt x="684" y="2539"/>
                      <a:pt x="652" y="2495"/>
                    </a:cubicBezTo>
                    <a:cubicBezTo>
                      <a:pt x="636" y="2507"/>
                      <a:pt x="608" y="2539"/>
                      <a:pt x="608" y="2539"/>
                    </a:cubicBezTo>
                    <a:cubicBezTo>
                      <a:pt x="600" y="2571"/>
                      <a:pt x="588" y="2591"/>
                      <a:pt x="564" y="2611"/>
                    </a:cubicBezTo>
                    <a:cubicBezTo>
                      <a:pt x="556" y="2643"/>
                      <a:pt x="544" y="2655"/>
                      <a:pt x="532" y="2683"/>
                    </a:cubicBezTo>
                    <a:cubicBezTo>
                      <a:pt x="604" y="2695"/>
                      <a:pt x="516" y="2675"/>
                      <a:pt x="496" y="2671"/>
                    </a:cubicBezTo>
                    <a:cubicBezTo>
                      <a:pt x="456" y="2651"/>
                      <a:pt x="432" y="2659"/>
                      <a:pt x="380" y="2663"/>
                    </a:cubicBezTo>
                    <a:cubicBezTo>
                      <a:pt x="356" y="2675"/>
                      <a:pt x="336" y="2691"/>
                      <a:pt x="312" y="2703"/>
                    </a:cubicBezTo>
                    <a:cubicBezTo>
                      <a:pt x="324" y="2771"/>
                      <a:pt x="320" y="2743"/>
                      <a:pt x="332" y="2791"/>
                    </a:cubicBezTo>
                    <a:cubicBezTo>
                      <a:pt x="328" y="2823"/>
                      <a:pt x="316" y="2843"/>
                      <a:pt x="308" y="2875"/>
                    </a:cubicBezTo>
                    <a:cubicBezTo>
                      <a:pt x="308" y="2851"/>
                      <a:pt x="312" y="2827"/>
                      <a:pt x="304" y="2803"/>
                    </a:cubicBezTo>
                    <a:cubicBezTo>
                      <a:pt x="300" y="2795"/>
                      <a:pt x="208" y="2847"/>
                      <a:pt x="188" y="2855"/>
                    </a:cubicBezTo>
                    <a:cubicBezTo>
                      <a:pt x="168" y="2887"/>
                      <a:pt x="156" y="2911"/>
                      <a:pt x="120" y="2927"/>
                    </a:cubicBezTo>
                    <a:cubicBezTo>
                      <a:pt x="136" y="2983"/>
                      <a:pt x="156" y="2979"/>
                      <a:pt x="216" y="2983"/>
                    </a:cubicBezTo>
                    <a:cubicBezTo>
                      <a:pt x="240" y="2999"/>
                      <a:pt x="268" y="2999"/>
                      <a:pt x="296" y="3011"/>
                    </a:cubicBezTo>
                    <a:cubicBezTo>
                      <a:pt x="252" y="3035"/>
                      <a:pt x="184" y="2995"/>
                      <a:pt x="140" y="2979"/>
                    </a:cubicBezTo>
                    <a:cubicBezTo>
                      <a:pt x="76" y="2983"/>
                      <a:pt x="64" y="2983"/>
                      <a:pt x="28" y="3031"/>
                    </a:cubicBezTo>
                    <a:cubicBezTo>
                      <a:pt x="4" y="3167"/>
                      <a:pt x="108" y="3159"/>
                      <a:pt x="216" y="3163"/>
                    </a:cubicBezTo>
                    <a:cubicBezTo>
                      <a:pt x="240" y="3167"/>
                      <a:pt x="452" y="3143"/>
                      <a:pt x="424" y="3183"/>
                    </a:cubicBezTo>
                    <a:cubicBezTo>
                      <a:pt x="352" y="3179"/>
                      <a:pt x="276" y="3183"/>
                      <a:pt x="216" y="3175"/>
                    </a:cubicBezTo>
                    <a:cubicBezTo>
                      <a:pt x="0" y="3179"/>
                      <a:pt x="16" y="3127"/>
                      <a:pt x="8" y="3295"/>
                    </a:cubicBezTo>
                    <a:cubicBezTo>
                      <a:pt x="12" y="3375"/>
                      <a:pt x="8" y="3419"/>
                      <a:pt x="88" y="3451"/>
                    </a:cubicBezTo>
                    <a:cubicBezTo>
                      <a:pt x="144" y="3443"/>
                      <a:pt x="180" y="3431"/>
                      <a:pt x="232" y="3423"/>
                    </a:cubicBezTo>
                    <a:cubicBezTo>
                      <a:pt x="244" y="3419"/>
                      <a:pt x="256" y="3415"/>
                      <a:pt x="268" y="3411"/>
                    </a:cubicBezTo>
                    <a:cubicBezTo>
                      <a:pt x="276" y="3407"/>
                      <a:pt x="284" y="3411"/>
                      <a:pt x="292" y="3407"/>
                    </a:cubicBezTo>
                    <a:cubicBezTo>
                      <a:pt x="296" y="3407"/>
                      <a:pt x="312" y="3395"/>
                      <a:pt x="308" y="3399"/>
                    </a:cubicBezTo>
                    <a:cubicBezTo>
                      <a:pt x="268" y="3439"/>
                      <a:pt x="216" y="3459"/>
                      <a:pt x="160" y="3471"/>
                    </a:cubicBezTo>
                    <a:cubicBezTo>
                      <a:pt x="128" y="3483"/>
                      <a:pt x="104" y="3495"/>
                      <a:pt x="76" y="3511"/>
                    </a:cubicBezTo>
                    <a:cubicBezTo>
                      <a:pt x="64" y="3531"/>
                      <a:pt x="56" y="3539"/>
                      <a:pt x="32" y="3547"/>
                    </a:cubicBezTo>
                    <a:cubicBezTo>
                      <a:pt x="92" y="3575"/>
                      <a:pt x="88" y="3543"/>
                      <a:pt x="112" y="3607"/>
                    </a:cubicBezTo>
                    <a:cubicBezTo>
                      <a:pt x="96" y="3655"/>
                      <a:pt x="84" y="3683"/>
                      <a:pt x="44" y="3723"/>
                    </a:cubicBezTo>
                    <a:cubicBezTo>
                      <a:pt x="36" y="3731"/>
                      <a:pt x="60" y="3715"/>
                      <a:pt x="68" y="3711"/>
                    </a:cubicBezTo>
                    <a:cubicBezTo>
                      <a:pt x="84" y="3699"/>
                      <a:pt x="116" y="3679"/>
                      <a:pt x="116" y="3679"/>
                    </a:cubicBezTo>
                    <a:cubicBezTo>
                      <a:pt x="140" y="3691"/>
                      <a:pt x="132" y="3703"/>
                      <a:pt x="120" y="3723"/>
                    </a:cubicBezTo>
                    <a:cubicBezTo>
                      <a:pt x="132" y="3763"/>
                      <a:pt x="148" y="3787"/>
                      <a:pt x="192" y="3795"/>
                    </a:cubicBezTo>
                    <a:cubicBezTo>
                      <a:pt x="168" y="3811"/>
                      <a:pt x="168" y="3799"/>
                      <a:pt x="140" y="3795"/>
                    </a:cubicBezTo>
                    <a:cubicBezTo>
                      <a:pt x="112" y="3799"/>
                      <a:pt x="104" y="3803"/>
                      <a:pt x="88" y="3823"/>
                    </a:cubicBezTo>
                    <a:cubicBezTo>
                      <a:pt x="96" y="3915"/>
                      <a:pt x="120" y="3959"/>
                      <a:pt x="188" y="4031"/>
                    </a:cubicBezTo>
                    <a:cubicBezTo>
                      <a:pt x="228" y="4055"/>
                      <a:pt x="268" y="4083"/>
                      <a:pt x="312" y="4103"/>
                    </a:cubicBezTo>
                    <a:cubicBezTo>
                      <a:pt x="332" y="4111"/>
                      <a:pt x="372" y="4123"/>
                      <a:pt x="372" y="4123"/>
                    </a:cubicBezTo>
                    <a:cubicBezTo>
                      <a:pt x="408" y="4107"/>
                      <a:pt x="492" y="4035"/>
                      <a:pt x="532" y="4007"/>
                    </a:cubicBezTo>
                    <a:cubicBezTo>
                      <a:pt x="584" y="3967"/>
                      <a:pt x="620" y="3899"/>
                      <a:pt x="660" y="3863"/>
                    </a:cubicBezTo>
                    <a:cubicBezTo>
                      <a:pt x="680" y="3823"/>
                      <a:pt x="740" y="3811"/>
                      <a:pt x="776" y="3783"/>
                    </a:cubicBezTo>
                    <a:cubicBezTo>
                      <a:pt x="800" y="3727"/>
                      <a:pt x="824" y="3667"/>
                      <a:pt x="836" y="3607"/>
                    </a:cubicBezTo>
                    <a:cubicBezTo>
                      <a:pt x="856" y="3599"/>
                      <a:pt x="888" y="3707"/>
                      <a:pt x="896" y="3739"/>
                    </a:cubicBezTo>
                    <a:cubicBezTo>
                      <a:pt x="900" y="3799"/>
                      <a:pt x="932" y="3767"/>
                      <a:pt x="908" y="3795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</p:grpSp>
        <p:grpSp>
          <p:nvGrpSpPr>
            <p:cNvPr id="92" name="Group 77"/>
            <p:cNvGrpSpPr>
              <a:grpSpLocks/>
            </p:cNvGrpSpPr>
            <p:nvPr/>
          </p:nvGrpSpPr>
          <p:grpSpPr bwMode="auto">
            <a:xfrm>
              <a:off x="2834" y="1417"/>
              <a:ext cx="434" cy="792"/>
              <a:chOff x="3842" y="-120"/>
              <a:chExt cx="1720" cy="3135"/>
            </a:xfrm>
            <a:grpFill/>
          </p:grpSpPr>
          <p:sp>
            <p:nvSpPr>
              <p:cNvPr id="140" name="Freeform 78"/>
              <p:cNvSpPr>
                <a:spLocks noChangeAspect="1"/>
              </p:cNvSpPr>
              <p:nvPr/>
            </p:nvSpPr>
            <p:spPr bwMode="auto">
              <a:xfrm>
                <a:off x="4079" y="2895"/>
                <a:ext cx="152" cy="120"/>
              </a:xfrm>
              <a:custGeom>
                <a:avLst/>
                <a:gdLst>
                  <a:gd name="T0" fmla="*/ 2147483647 w 38"/>
                  <a:gd name="T1" fmla="*/ 2147483647 h 30"/>
                  <a:gd name="T2" fmla="*/ 0 w 38"/>
                  <a:gd name="T3" fmla="*/ 2147483647 h 30"/>
                  <a:gd name="T4" fmla="*/ 2147483647 w 38"/>
                  <a:gd name="T5" fmla="*/ 2147483647 h 30"/>
                  <a:gd name="T6" fmla="*/ 2147483647 w 38"/>
                  <a:gd name="T7" fmla="*/ 2147483647 h 30"/>
                  <a:gd name="T8" fmla="*/ 2147483647 w 38"/>
                  <a:gd name="T9" fmla="*/ 2147483647 h 30"/>
                  <a:gd name="T10" fmla="*/ 2147483647 w 38"/>
                  <a:gd name="T11" fmla="*/ 2147483647 h 30"/>
                  <a:gd name="T12" fmla="*/ 2147483647 w 38"/>
                  <a:gd name="T13" fmla="*/ 2147483647 h 3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8"/>
                  <a:gd name="T22" fmla="*/ 0 h 30"/>
                  <a:gd name="T23" fmla="*/ 38 w 38"/>
                  <a:gd name="T24" fmla="*/ 30 h 30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8" h="30">
                    <a:moveTo>
                      <a:pt x="21" y="4"/>
                    </a:moveTo>
                    <a:cubicBezTo>
                      <a:pt x="13" y="1"/>
                      <a:pt x="4" y="0"/>
                      <a:pt x="0" y="8"/>
                    </a:cubicBezTo>
                    <a:cubicBezTo>
                      <a:pt x="1" y="26"/>
                      <a:pt x="4" y="26"/>
                      <a:pt x="19" y="30"/>
                    </a:cubicBezTo>
                    <a:cubicBezTo>
                      <a:pt x="29" y="28"/>
                      <a:pt x="31" y="22"/>
                      <a:pt x="38" y="15"/>
                    </a:cubicBezTo>
                    <a:cubicBezTo>
                      <a:pt x="36" y="5"/>
                      <a:pt x="27" y="6"/>
                      <a:pt x="17" y="5"/>
                    </a:cubicBezTo>
                    <a:cubicBezTo>
                      <a:pt x="9" y="3"/>
                      <a:pt x="11" y="5"/>
                      <a:pt x="8" y="2"/>
                    </a:cubicBezTo>
                    <a:lnTo>
                      <a:pt x="21" y="4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141" name="Freeform 79"/>
              <p:cNvSpPr>
                <a:spLocks noChangeAspect="1"/>
              </p:cNvSpPr>
              <p:nvPr/>
            </p:nvSpPr>
            <p:spPr bwMode="auto">
              <a:xfrm>
                <a:off x="3842" y="-120"/>
                <a:ext cx="1720" cy="3083"/>
              </a:xfrm>
              <a:custGeom>
                <a:avLst/>
                <a:gdLst>
                  <a:gd name="T0" fmla="*/ 1628 w 1720"/>
                  <a:gd name="T1" fmla="*/ 2255 h 3083"/>
                  <a:gd name="T2" fmla="*/ 1720 w 1720"/>
                  <a:gd name="T3" fmla="*/ 1955 h 3083"/>
                  <a:gd name="T4" fmla="*/ 1456 w 1720"/>
                  <a:gd name="T5" fmla="*/ 1775 h 3083"/>
                  <a:gd name="T6" fmla="*/ 1448 w 1720"/>
                  <a:gd name="T7" fmla="*/ 1683 h 3083"/>
                  <a:gd name="T8" fmla="*/ 1432 w 1720"/>
                  <a:gd name="T9" fmla="*/ 1583 h 3083"/>
                  <a:gd name="T10" fmla="*/ 1352 w 1720"/>
                  <a:gd name="T11" fmla="*/ 1512 h 3083"/>
                  <a:gd name="T12" fmla="*/ 1264 w 1720"/>
                  <a:gd name="T13" fmla="*/ 1320 h 3083"/>
                  <a:gd name="T14" fmla="*/ 1276 w 1720"/>
                  <a:gd name="T15" fmla="*/ 1188 h 3083"/>
                  <a:gd name="T16" fmla="*/ 1132 w 1720"/>
                  <a:gd name="T17" fmla="*/ 992 h 3083"/>
                  <a:gd name="T18" fmla="*/ 1120 w 1720"/>
                  <a:gd name="T19" fmla="*/ 688 h 3083"/>
                  <a:gd name="T20" fmla="*/ 1072 w 1720"/>
                  <a:gd name="T21" fmla="*/ 600 h 3083"/>
                  <a:gd name="T22" fmla="*/ 908 w 1720"/>
                  <a:gd name="T23" fmla="*/ 512 h 3083"/>
                  <a:gd name="T24" fmla="*/ 880 w 1720"/>
                  <a:gd name="T25" fmla="*/ 312 h 3083"/>
                  <a:gd name="T26" fmla="*/ 968 w 1720"/>
                  <a:gd name="T27" fmla="*/ 132 h 3083"/>
                  <a:gd name="T28" fmla="*/ 888 w 1720"/>
                  <a:gd name="T29" fmla="*/ 168 h 3083"/>
                  <a:gd name="T30" fmla="*/ 813 w 1720"/>
                  <a:gd name="T31" fmla="*/ 72 h 3083"/>
                  <a:gd name="T32" fmla="*/ 693 w 1720"/>
                  <a:gd name="T33" fmla="*/ 0 h 3083"/>
                  <a:gd name="T34" fmla="*/ 573 w 1720"/>
                  <a:gd name="T35" fmla="*/ 76 h 3083"/>
                  <a:gd name="T36" fmla="*/ 545 w 1720"/>
                  <a:gd name="T37" fmla="*/ 244 h 3083"/>
                  <a:gd name="T38" fmla="*/ 533 w 1720"/>
                  <a:gd name="T39" fmla="*/ 416 h 3083"/>
                  <a:gd name="T40" fmla="*/ 409 w 1720"/>
                  <a:gd name="T41" fmla="*/ 484 h 3083"/>
                  <a:gd name="T42" fmla="*/ 153 w 1720"/>
                  <a:gd name="T43" fmla="*/ 412 h 3083"/>
                  <a:gd name="T44" fmla="*/ 9 w 1720"/>
                  <a:gd name="T45" fmla="*/ 436 h 3083"/>
                  <a:gd name="T46" fmla="*/ 265 w 1720"/>
                  <a:gd name="T47" fmla="*/ 620 h 3083"/>
                  <a:gd name="T48" fmla="*/ 390 w 1720"/>
                  <a:gd name="T49" fmla="*/ 756 h 3083"/>
                  <a:gd name="T50" fmla="*/ 477 w 1720"/>
                  <a:gd name="T51" fmla="*/ 1016 h 3083"/>
                  <a:gd name="T52" fmla="*/ 495 w 1720"/>
                  <a:gd name="T53" fmla="*/ 1224 h 3083"/>
                  <a:gd name="T54" fmla="*/ 580 w 1720"/>
                  <a:gd name="T55" fmla="*/ 1365 h 3083"/>
                  <a:gd name="T56" fmla="*/ 681 w 1720"/>
                  <a:gd name="T57" fmla="*/ 1396 h 3083"/>
                  <a:gd name="T58" fmla="*/ 741 w 1720"/>
                  <a:gd name="T59" fmla="*/ 1432 h 3083"/>
                  <a:gd name="T60" fmla="*/ 545 w 1720"/>
                  <a:gd name="T61" fmla="*/ 1959 h 3083"/>
                  <a:gd name="T62" fmla="*/ 489 w 1720"/>
                  <a:gd name="T63" fmla="*/ 2051 h 3083"/>
                  <a:gd name="T64" fmla="*/ 369 w 1720"/>
                  <a:gd name="T65" fmla="*/ 2239 h 3083"/>
                  <a:gd name="T66" fmla="*/ 457 w 1720"/>
                  <a:gd name="T67" fmla="*/ 2559 h 3083"/>
                  <a:gd name="T68" fmla="*/ 457 w 1720"/>
                  <a:gd name="T69" fmla="*/ 2987 h 3083"/>
                  <a:gd name="T70" fmla="*/ 485 w 1720"/>
                  <a:gd name="T71" fmla="*/ 2999 h 3083"/>
                  <a:gd name="T72" fmla="*/ 657 w 1720"/>
                  <a:gd name="T73" fmla="*/ 3055 h 3083"/>
                  <a:gd name="T74" fmla="*/ 729 w 1720"/>
                  <a:gd name="T75" fmla="*/ 3083 h 3083"/>
                  <a:gd name="T76" fmla="*/ 956 w 1720"/>
                  <a:gd name="T77" fmla="*/ 2991 h 3083"/>
                  <a:gd name="T78" fmla="*/ 1024 w 1720"/>
                  <a:gd name="T79" fmla="*/ 2955 h 3083"/>
                  <a:gd name="T80" fmla="*/ 1192 w 1720"/>
                  <a:gd name="T81" fmla="*/ 2859 h 3083"/>
                  <a:gd name="T82" fmla="*/ 1372 w 1720"/>
                  <a:gd name="T83" fmla="*/ 2783 h 3083"/>
                  <a:gd name="T84" fmla="*/ 1396 w 1720"/>
                  <a:gd name="T85" fmla="*/ 2723 h 3083"/>
                  <a:gd name="T86" fmla="*/ 1576 w 1720"/>
                  <a:gd name="T87" fmla="*/ 2351 h 3083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1720"/>
                  <a:gd name="T133" fmla="*/ 0 h 3083"/>
                  <a:gd name="T134" fmla="*/ 1720 w 1720"/>
                  <a:gd name="T135" fmla="*/ 3083 h 3083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1720" h="3083">
                    <a:moveTo>
                      <a:pt x="1576" y="2351"/>
                    </a:moveTo>
                    <a:cubicBezTo>
                      <a:pt x="1584" y="2323"/>
                      <a:pt x="1604" y="2279"/>
                      <a:pt x="1628" y="2255"/>
                    </a:cubicBezTo>
                    <a:cubicBezTo>
                      <a:pt x="1636" y="2223"/>
                      <a:pt x="1636" y="2191"/>
                      <a:pt x="1648" y="2159"/>
                    </a:cubicBezTo>
                    <a:cubicBezTo>
                      <a:pt x="1656" y="2087"/>
                      <a:pt x="1688" y="2023"/>
                      <a:pt x="1720" y="1955"/>
                    </a:cubicBezTo>
                    <a:cubicBezTo>
                      <a:pt x="1700" y="1907"/>
                      <a:pt x="1640" y="1879"/>
                      <a:pt x="1592" y="1839"/>
                    </a:cubicBezTo>
                    <a:cubicBezTo>
                      <a:pt x="1548" y="1811"/>
                      <a:pt x="1480" y="1791"/>
                      <a:pt x="1456" y="1775"/>
                    </a:cubicBezTo>
                    <a:cubicBezTo>
                      <a:pt x="1452" y="1767"/>
                      <a:pt x="1440" y="1751"/>
                      <a:pt x="1440" y="1751"/>
                    </a:cubicBezTo>
                    <a:cubicBezTo>
                      <a:pt x="1440" y="1727"/>
                      <a:pt x="1440" y="1703"/>
                      <a:pt x="1448" y="1683"/>
                    </a:cubicBezTo>
                    <a:cubicBezTo>
                      <a:pt x="1452" y="1671"/>
                      <a:pt x="1480" y="1631"/>
                      <a:pt x="1480" y="1631"/>
                    </a:cubicBezTo>
                    <a:cubicBezTo>
                      <a:pt x="1476" y="1595"/>
                      <a:pt x="1460" y="1603"/>
                      <a:pt x="1432" y="1583"/>
                    </a:cubicBezTo>
                    <a:cubicBezTo>
                      <a:pt x="1420" y="1575"/>
                      <a:pt x="1396" y="1559"/>
                      <a:pt x="1396" y="1559"/>
                    </a:cubicBezTo>
                    <a:cubicBezTo>
                      <a:pt x="1384" y="1543"/>
                      <a:pt x="1368" y="1524"/>
                      <a:pt x="1352" y="1512"/>
                    </a:cubicBezTo>
                    <a:cubicBezTo>
                      <a:pt x="1332" y="1484"/>
                      <a:pt x="1340" y="1496"/>
                      <a:pt x="1324" y="1472"/>
                    </a:cubicBezTo>
                    <a:cubicBezTo>
                      <a:pt x="1312" y="1420"/>
                      <a:pt x="1280" y="1372"/>
                      <a:pt x="1264" y="1320"/>
                    </a:cubicBezTo>
                    <a:cubicBezTo>
                      <a:pt x="1264" y="1288"/>
                      <a:pt x="1264" y="1260"/>
                      <a:pt x="1268" y="1228"/>
                    </a:cubicBezTo>
                    <a:cubicBezTo>
                      <a:pt x="1268" y="1216"/>
                      <a:pt x="1276" y="1188"/>
                      <a:pt x="1276" y="1188"/>
                    </a:cubicBezTo>
                    <a:cubicBezTo>
                      <a:pt x="1272" y="1148"/>
                      <a:pt x="1248" y="1080"/>
                      <a:pt x="1204" y="1064"/>
                    </a:cubicBezTo>
                    <a:cubicBezTo>
                      <a:pt x="1188" y="1040"/>
                      <a:pt x="1156" y="1008"/>
                      <a:pt x="1132" y="992"/>
                    </a:cubicBezTo>
                    <a:cubicBezTo>
                      <a:pt x="1120" y="972"/>
                      <a:pt x="1104" y="932"/>
                      <a:pt x="1080" y="924"/>
                    </a:cubicBezTo>
                    <a:cubicBezTo>
                      <a:pt x="1056" y="840"/>
                      <a:pt x="1052" y="756"/>
                      <a:pt x="1120" y="688"/>
                    </a:cubicBezTo>
                    <a:cubicBezTo>
                      <a:pt x="1124" y="672"/>
                      <a:pt x="1128" y="644"/>
                      <a:pt x="1120" y="632"/>
                    </a:cubicBezTo>
                    <a:cubicBezTo>
                      <a:pt x="1108" y="616"/>
                      <a:pt x="1088" y="612"/>
                      <a:pt x="1072" y="600"/>
                    </a:cubicBezTo>
                    <a:cubicBezTo>
                      <a:pt x="1044" y="576"/>
                      <a:pt x="1020" y="556"/>
                      <a:pt x="984" y="544"/>
                    </a:cubicBezTo>
                    <a:cubicBezTo>
                      <a:pt x="968" y="528"/>
                      <a:pt x="932" y="520"/>
                      <a:pt x="908" y="512"/>
                    </a:cubicBezTo>
                    <a:cubicBezTo>
                      <a:pt x="888" y="492"/>
                      <a:pt x="876" y="448"/>
                      <a:pt x="872" y="416"/>
                    </a:cubicBezTo>
                    <a:cubicBezTo>
                      <a:pt x="864" y="380"/>
                      <a:pt x="861" y="344"/>
                      <a:pt x="880" y="312"/>
                    </a:cubicBezTo>
                    <a:cubicBezTo>
                      <a:pt x="888" y="288"/>
                      <a:pt x="888" y="260"/>
                      <a:pt x="908" y="240"/>
                    </a:cubicBezTo>
                    <a:cubicBezTo>
                      <a:pt x="924" y="212"/>
                      <a:pt x="972" y="128"/>
                      <a:pt x="968" y="132"/>
                    </a:cubicBezTo>
                    <a:cubicBezTo>
                      <a:pt x="956" y="148"/>
                      <a:pt x="892" y="256"/>
                      <a:pt x="880" y="264"/>
                    </a:cubicBezTo>
                    <a:cubicBezTo>
                      <a:pt x="872" y="228"/>
                      <a:pt x="876" y="204"/>
                      <a:pt x="888" y="168"/>
                    </a:cubicBezTo>
                    <a:cubicBezTo>
                      <a:pt x="884" y="132"/>
                      <a:pt x="892" y="108"/>
                      <a:pt x="864" y="88"/>
                    </a:cubicBezTo>
                    <a:cubicBezTo>
                      <a:pt x="849" y="76"/>
                      <a:pt x="813" y="72"/>
                      <a:pt x="813" y="72"/>
                    </a:cubicBezTo>
                    <a:cubicBezTo>
                      <a:pt x="789" y="48"/>
                      <a:pt x="757" y="36"/>
                      <a:pt x="729" y="16"/>
                    </a:cubicBezTo>
                    <a:cubicBezTo>
                      <a:pt x="717" y="8"/>
                      <a:pt x="693" y="0"/>
                      <a:pt x="693" y="0"/>
                    </a:cubicBezTo>
                    <a:cubicBezTo>
                      <a:pt x="669" y="4"/>
                      <a:pt x="657" y="0"/>
                      <a:pt x="645" y="24"/>
                    </a:cubicBezTo>
                    <a:cubicBezTo>
                      <a:pt x="637" y="72"/>
                      <a:pt x="621" y="72"/>
                      <a:pt x="573" y="76"/>
                    </a:cubicBezTo>
                    <a:cubicBezTo>
                      <a:pt x="557" y="92"/>
                      <a:pt x="549" y="116"/>
                      <a:pt x="537" y="136"/>
                    </a:cubicBezTo>
                    <a:cubicBezTo>
                      <a:pt x="529" y="172"/>
                      <a:pt x="529" y="208"/>
                      <a:pt x="545" y="244"/>
                    </a:cubicBezTo>
                    <a:cubicBezTo>
                      <a:pt x="548" y="283"/>
                      <a:pt x="560" y="337"/>
                      <a:pt x="558" y="366"/>
                    </a:cubicBezTo>
                    <a:cubicBezTo>
                      <a:pt x="544" y="390"/>
                      <a:pt x="540" y="403"/>
                      <a:pt x="533" y="416"/>
                    </a:cubicBezTo>
                    <a:cubicBezTo>
                      <a:pt x="526" y="440"/>
                      <a:pt x="537" y="408"/>
                      <a:pt x="513" y="444"/>
                    </a:cubicBezTo>
                    <a:cubicBezTo>
                      <a:pt x="497" y="456"/>
                      <a:pt x="441" y="472"/>
                      <a:pt x="409" y="484"/>
                    </a:cubicBezTo>
                    <a:cubicBezTo>
                      <a:pt x="357" y="492"/>
                      <a:pt x="245" y="504"/>
                      <a:pt x="197" y="492"/>
                    </a:cubicBezTo>
                    <a:cubicBezTo>
                      <a:pt x="181" y="460"/>
                      <a:pt x="181" y="432"/>
                      <a:pt x="153" y="412"/>
                    </a:cubicBezTo>
                    <a:cubicBezTo>
                      <a:pt x="141" y="392"/>
                      <a:pt x="105" y="380"/>
                      <a:pt x="81" y="372"/>
                    </a:cubicBezTo>
                    <a:cubicBezTo>
                      <a:pt x="41" y="384"/>
                      <a:pt x="41" y="392"/>
                      <a:pt x="9" y="436"/>
                    </a:cubicBezTo>
                    <a:cubicBezTo>
                      <a:pt x="0" y="456"/>
                      <a:pt x="27" y="455"/>
                      <a:pt x="66" y="482"/>
                    </a:cubicBezTo>
                    <a:cubicBezTo>
                      <a:pt x="108" y="513"/>
                      <a:pt x="171" y="567"/>
                      <a:pt x="265" y="620"/>
                    </a:cubicBezTo>
                    <a:cubicBezTo>
                      <a:pt x="309" y="651"/>
                      <a:pt x="309" y="642"/>
                      <a:pt x="330" y="668"/>
                    </a:cubicBezTo>
                    <a:cubicBezTo>
                      <a:pt x="369" y="701"/>
                      <a:pt x="393" y="722"/>
                      <a:pt x="390" y="756"/>
                    </a:cubicBezTo>
                    <a:cubicBezTo>
                      <a:pt x="363" y="848"/>
                      <a:pt x="438" y="911"/>
                      <a:pt x="450" y="947"/>
                    </a:cubicBezTo>
                    <a:cubicBezTo>
                      <a:pt x="465" y="990"/>
                      <a:pt x="469" y="995"/>
                      <a:pt x="477" y="1016"/>
                    </a:cubicBezTo>
                    <a:cubicBezTo>
                      <a:pt x="485" y="1032"/>
                      <a:pt x="492" y="1059"/>
                      <a:pt x="495" y="1077"/>
                    </a:cubicBezTo>
                    <a:cubicBezTo>
                      <a:pt x="491" y="1109"/>
                      <a:pt x="486" y="1193"/>
                      <a:pt x="495" y="1224"/>
                    </a:cubicBezTo>
                    <a:cubicBezTo>
                      <a:pt x="522" y="1266"/>
                      <a:pt x="535" y="1281"/>
                      <a:pt x="537" y="1301"/>
                    </a:cubicBezTo>
                    <a:cubicBezTo>
                      <a:pt x="557" y="1341"/>
                      <a:pt x="555" y="1352"/>
                      <a:pt x="580" y="1365"/>
                    </a:cubicBezTo>
                    <a:cubicBezTo>
                      <a:pt x="580" y="1369"/>
                      <a:pt x="617" y="1380"/>
                      <a:pt x="633" y="1380"/>
                    </a:cubicBezTo>
                    <a:cubicBezTo>
                      <a:pt x="649" y="1384"/>
                      <a:pt x="665" y="1392"/>
                      <a:pt x="681" y="1396"/>
                    </a:cubicBezTo>
                    <a:cubicBezTo>
                      <a:pt x="689" y="1400"/>
                      <a:pt x="705" y="1404"/>
                      <a:pt x="705" y="1404"/>
                    </a:cubicBezTo>
                    <a:cubicBezTo>
                      <a:pt x="717" y="1416"/>
                      <a:pt x="741" y="1432"/>
                      <a:pt x="741" y="1432"/>
                    </a:cubicBezTo>
                    <a:cubicBezTo>
                      <a:pt x="753" y="1488"/>
                      <a:pt x="737" y="1536"/>
                      <a:pt x="705" y="1583"/>
                    </a:cubicBezTo>
                    <a:cubicBezTo>
                      <a:pt x="673" y="1671"/>
                      <a:pt x="617" y="1879"/>
                      <a:pt x="545" y="1959"/>
                    </a:cubicBezTo>
                    <a:cubicBezTo>
                      <a:pt x="533" y="1975"/>
                      <a:pt x="525" y="1995"/>
                      <a:pt x="509" y="2003"/>
                    </a:cubicBezTo>
                    <a:cubicBezTo>
                      <a:pt x="501" y="2023"/>
                      <a:pt x="497" y="2035"/>
                      <a:pt x="489" y="2051"/>
                    </a:cubicBezTo>
                    <a:cubicBezTo>
                      <a:pt x="485" y="2059"/>
                      <a:pt x="481" y="2075"/>
                      <a:pt x="481" y="2075"/>
                    </a:cubicBezTo>
                    <a:cubicBezTo>
                      <a:pt x="461" y="2107"/>
                      <a:pt x="381" y="2167"/>
                      <a:pt x="369" y="2239"/>
                    </a:cubicBezTo>
                    <a:cubicBezTo>
                      <a:pt x="349" y="2315"/>
                      <a:pt x="365" y="2435"/>
                      <a:pt x="413" y="2507"/>
                    </a:cubicBezTo>
                    <a:cubicBezTo>
                      <a:pt x="421" y="2535"/>
                      <a:pt x="445" y="2535"/>
                      <a:pt x="457" y="2559"/>
                    </a:cubicBezTo>
                    <a:cubicBezTo>
                      <a:pt x="473" y="2591"/>
                      <a:pt x="465" y="2655"/>
                      <a:pt x="473" y="2687"/>
                    </a:cubicBezTo>
                    <a:cubicBezTo>
                      <a:pt x="477" y="2787"/>
                      <a:pt x="473" y="2887"/>
                      <a:pt x="457" y="2987"/>
                    </a:cubicBezTo>
                    <a:cubicBezTo>
                      <a:pt x="457" y="2995"/>
                      <a:pt x="453" y="3003"/>
                      <a:pt x="461" y="3007"/>
                    </a:cubicBezTo>
                    <a:cubicBezTo>
                      <a:pt x="469" y="3011"/>
                      <a:pt x="485" y="2999"/>
                      <a:pt x="485" y="2999"/>
                    </a:cubicBezTo>
                    <a:cubicBezTo>
                      <a:pt x="525" y="3007"/>
                      <a:pt x="561" y="3019"/>
                      <a:pt x="597" y="3031"/>
                    </a:cubicBezTo>
                    <a:cubicBezTo>
                      <a:pt x="621" y="3039"/>
                      <a:pt x="637" y="3047"/>
                      <a:pt x="657" y="3055"/>
                    </a:cubicBezTo>
                    <a:cubicBezTo>
                      <a:pt x="661" y="3055"/>
                      <a:pt x="669" y="3059"/>
                      <a:pt x="669" y="3059"/>
                    </a:cubicBezTo>
                    <a:cubicBezTo>
                      <a:pt x="685" y="3075"/>
                      <a:pt x="705" y="3079"/>
                      <a:pt x="729" y="3083"/>
                    </a:cubicBezTo>
                    <a:cubicBezTo>
                      <a:pt x="769" y="3075"/>
                      <a:pt x="801" y="3055"/>
                      <a:pt x="841" y="3047"/>
                    </a:cubicBezTo>
                    <a:cubicBezTo>
                      <a:pt x="880" y="3027"/>
                      <a:pt x="912" y="2999"/>
                      <a:pt x="956" y="2991"/>
                    </a:cubicBezTo>
                    <a:cubicBezTo>
                      <a:pt x="968" y="2983"/>
                      <a:pt x="980" y="2967"/>
                      <a:pt x="992" y="2963"/>
                    </a:cubicBezTo>
                    <a:cubicBezTo>
                      <a:pt x="1004" y="2959"/>
                      <a:pt x="1024" y="2955"/>
                      <a:pt x="1024" y="2955"/>
                    </a:cubicBezTo>
                    <a:cubicBezTo>
                      <a:pt x="1040" y="2931"/>
                      <a:pt x="1092" y="2915"/>
                      <a:pt x="1120" y="2907"/>
                    </a:cubicBezTo>
                    <a:cubicBezTo>
                      <a:pt x="1132" y="2887"/>
                      <a:pt x="1168" y="2867"/>
                      <a:pt x="1192" y="2859"/>
                    </a:cubicBezTo>
                    <a:cubicBezTo>
                      <a:pt x="1212" y="2827"/>
                      <a:pt x="1276" y="2839"/>
                      <a:pt x="1312" y="2831"/>
                    </a:cubicBezTo>
                    <a:cubicBezTo>
                      <a:pt x="1336" y="2811"/>
                      <a:pt x="1348" y="2791"/>
                      <a:pt x="1372" y="2783"/>
                    </a:cubicBezTo>
                    <a:cubicBezTo>
                      <a:pt x="1380" y="2779"/>
                      <a:pt x="1396" y="2767"/>
                      <a:pt x="1396" y="2767"/>
                    </a:cubicBezTo>
                    <a:cubicBezTo>
                      <a:pt x="1389" y="2753"/>
                      <a:pt x="1388" y="2743"/>
                      <a:pt x="1396" y="2723"/>
                    </a:cubicBezTo>
                    <a:cubicBezTo>
                      <a:pt x="1412" y="2675"/>
                      <a:pt x="1465" y="2573"/>
                      <a:pt x="1500" y="2534"/>
                    </a:cubicBezTo>
                    <a:cubicBezTo>
                      <a:pt x="1530" y="2472"/>
                      <a:pt x="1555" y="2397"/>
                      <a:pt x="1576" y="2351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</p:grpSp>
        <p:sp>
          <p:nvSpPr>
            <p:cNvPr id="93" name="Freeform 80"/>
            <p:cNvSpPr>
              <a:spLocks noChangeAspect="1"/>
            </p:cNvSpPr>
            <p:nvPr/>
          </p:nvSpPr>
          <p:spPr bwMode="auto">
            <a:xfrm>
              <a:off x="2987" y="2315"/>
              <a:ext cx="291" cy="179"/>
            </a:xfrm>
            <a:custGeom>
              <a:avLst/>
              <a:gdLst>
                <a:gd name="T0" fmla="*/ 0 w 1156"/>
                <a:gd name="T1" fmla="*/ 0 h 708"/>
                <a:gd name="T2" fmla="*/ 0 w 1156"/>
                <a:gd name="T3" fmla="*/ 0 h 708"/>
                <a:gd name="T4" fmla="*/ 0 w 1156"/>
                <a:gd name="T5" fmla="*/ 0 h 708"/>
                <a:gd name="T6" fmla="*/ 0 w 1156"/>
                <a:gd name="T7" fmla="*/ 0 h 708"/>
                <a:gd name="T8" fmla="*/ 0 w 1156"/>
                <a:gd name="T9" fmla="*/ 0 h 708"/>
                <a:gd name="T10" fmla="*/ 0 w 1156"/>
                <a:gd name="T11" fmla="*/ 0 h 708"/>
                <a:gd name="T12" fmla="*/ 0 w 1156"/>
                <a:gd name="T13" fmla="*/ 0 h 708"/>
                <a:gd name="T14" fmla="*/ 0 w 1156"/>
                <a:gd name="T15" fmla="*/ 0 h 708"/>
                <a:gd name="T16" fmla="*/ 0 w 1156"/>
                <a:gd name="T17" fmla="*/ 0 h 708"/>
                <a:gd name="T18" fmla="*/ 0 w 1156"/>
                <a:gd name="T19" fmla="*/ 0 h 708"/>
                <a:gd name="T20" fmla="*/ 0 w 1156"/>
                <a:gd name="T21" fmla="*/ 0 h 708"/>
                <a:gd name="T22" fmla="*/ 0 w 1156"/>
                <a:gd name="T23" fmla="*/ 0 h 708"/>
                <a:gd name="T24" fmla="*/ 0 w 1156"/>
                <a:gd name="T25" fmla="*/ 0 h 708"/>
                <a:gd name="T26" fmla="*/ 0 w 1156"/>
                <a:gd name="T27" fmla="*/ 0 h 708"/>
                <a:gd name="T28" fmla="*/ 0 w 1156"/>
                <a:gd name="T29" fmla="*/ 0 h 708"/>
                <a:gd name="T30" fmla="*/ 0 w 1156"/>
                <a:gd name="T31" fmla="*/ 0 h 708"/>
                <a:gd name="T32" fmla="*/ 0 w 1156"/>
                <a:gd name="T33" fmla="*/ 0 h 708"/>
                <a:gd name="T34" fmla="*/ 0 w 1156"/>
                <a:gd name="T35" fmla="*/ 0 h 708"/>
                <a:gd name="T36" fmla="*/ 0 w 1156"/>
                <a:gd name="T37" fmla="*/ 0 h 708"/>
                <a:gd name="T38" fmla="*/ 0 w 1156"/>
                <a:gd name="T39" fmla="*/ 0 h 708"/>
                <a:gd name="T40" fmla="*/ 0 w 1156"/>
                <a:gd name="T41" fmla="*/ 0 h 708"/>
                <a:gd name="T42" fmla="*/ 0 w 1156"/>
                <a:gd name="T43" fmla="*/ 0 h 708"/>
                <a:gd name="T44" fmla="*/ 0 w 1156"/>
                <a:gd name="T45" fmla="*/ 0 h 708"/>
                <a:gd name="T46" fmla="*/ 0 w 1156"/>
                <a:gd name="T47" fmla="*/ 0 h 708"/>
                <a:gd name="T48" fmla="*/ 0 w 1156"/>
                <a:gd name="T49" fmla="*/ 0 h 708"/>
                <a:gd name="T50" fmla="*/ 0 w 1156"/>
                <a:gd name="T51" fmla="*/ 0 h 708"/>
                <a:gd name="T52" fmla="*/ 0 w 1156"/>
                <a:gd name="T53" fmla="*/ 0 h 708"/>
                <a:gd name="T54" fmla="*/ 0 w 1156"/>
                <a:gd name="T55" fmla="*/ 0 h 708"/>
                <a:gd name="T56" fmla="*/ 0 w 1156"/>
                <a:gd name="T57" fmla="*/ 0 h 708"/>
                <a:gd name="T58" fmla="*/ 0 w 1156"/>
                <a:gd name="T59" fmla="*/ 0 h 708"/>
                <a:gd name="T60" fmla="*/ 0 w 1156"/>
                <a:gd name="T61" fmla="*/ 0 h 708"/>
                <a:gd name="T62" fmla="*/ 0 w 1156"/>
                <a:gd name="T63" fmla="*/ 0 h 708"/>
                <a:gd name="T64" fmla="*/ 0 w 1156"/>
                <a:gd name="T65" fmla="*/ 0 h 708"/>
                <a:gd name="T66" fmla="*/ 0 w 1156"/>
                <a:gd name="T67" fmla="*/ 0 h 708"/>
                <a:gd name="T68" fmla="*/ 0 w 1156"/>
                <a:gd name="T69" fmla="*/ 0 h 708"/>
                <a:gd name="T70" fmla="*/ 0 w 1156"/>
                <a:gd name="T71" fmla="*/ 0 h 708"/>
                <a:gd name="T72" fmla="*/ 0 w 1156"/>
                <a:gd name="T73" fmla="*/ 0 h 708"/>
                <a:gd name="T74" fmla="*/ 0 w 1156"/>
                <a:gd name="T75" fmla="*/ 0 h 708"/>
                <a:gd name="T76" fmla="*/ 0 w 1156"/>
                <a:gd name="T77" fmla="*/ 0 h 708"/>
                <a:gd name="T78" fmla="*/ 0 w 1156"/>
                <a:gd name="T79" fmla="*/ 0 h 708"/>
                <a:gd name="T80" fmla="*/ 0 w 1156"/>
                <a:gd name="T81" fmla="*/ 0 h 708"/>
                <a:gd name="T82" fmla="*/ 0 w 1156"/>
                <a:gd name="T83" fmla="*/ 0 h 708"/>
                <a:gd name="T84" fmla="*/ 0 w 1156"/>
                <a:gd name="T85" fmla="*/ 0 h 708"/>
                <a:gd name="T86" fmla="*/ 0 w 1156"/>
                <a:gd name="T87" fmla="*/ 0 h 708"/>
                <a:gd name="T88" fmla="*/ 0 w 1156"/>
                <a:gd name="T89" fmla="*/ 0 h 708"/>
                <a:gd name="T90" fmla="*/ 0 w 1156"/>
                <a:gd name="T91" fmla="*/ 0 h 708"/>
                <a:gd name="T92" fmla="*/ 0 w 1156"/>
                <a:gd name="T93" fmla="*/ 0 h 708"/>
                <a:gd name="T94" fmla="*/ 0 w 1156"/>
                <a:gd name="T95" fmla="*/ 0 h 708"/>
                <a:gd name="T96" fmla="*/ 0 w 1156"/>
                <a:gd name="T97" fmla="*/ 0 h 708"/>
                <a:gd name="T98" fmla="*/ 0 w 1156"/>
                <a:gd name="T99" fmla="*/ 0 h 708"/>
                <a:gd name="T100" fmla="*/ 0 w 1156"/>
                <a:gd name="T101" fmla="*/ 0 h 708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156"/>
                <a:gd name="T154" fmla="*/ 0 h 708"/>
                <a:gd name="T155" fmla="*/ 1156 w 1156"/>
                <a:gd name="T156" fmla="*/ 708 h 708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156" h="708">
                  <a:moveTo>
                    <a:pt x="1156" y="416"/>
                  </a:moveTo>
                  <a:cubicBezTo>
                    <a:pt x="1148" y="404"/>
                    <a:pt x="1144" y="392"/>
                    <a:pt x="1132" y="380"/>
                  </a:cubicBezTo>
                  <a:cubicBezTo>
                    <a:pt x="1124" y="356"/>
                    <a:pt x="1128" y="328"/>
                    <a:pt x="1104" y="312"/>
                  </a:cubicBezTo>
                  <a:cubicBezTo>
                    <a:pt x="1096" y="292"/>
                    <a:pt x="1052" y="232"/>
                    <a:pt x="1032" y="224"/>
                  </a:cubicBezTo>
                  <a:cubicBezTo>
                    <a:pt x="1036" y="132"/>
                    <a:pt x="1048" y="140"/>
                    <a:pt x="976" y="92"/>
                  </a:cubicBezTo>
                  <a:cubicBezTo>
                    <a:pt x="972" y="76"/>
                    <a:pt x="953" y="83"/>
                    <a:pt x="945" y="63"/>
                  </a:cubicBezTo>
                  <a:cubicBezTo>
                    <a:pt x="845" y="72"/>
                    <a:pt x="831" y="92"/>
                    <a:pt x="819" y="99"/>
                  </a:cubicBezTo>
                  <a:cubicBezTo>
                    <a:pt x="789" y="104"/>
                    <a:pt x="786" y="98"/>
                    <a:pt x="764" y="96"/>
                  </a:cubicBezTo>
                  <a:cubicBezTo>
                    <a:pt x="740" y="60"/>
                    <a:pt x="719" y="78"/>
                    <a:pt x="684" y="50"/>
                  </a:cubicBezTo>
                  <a:cubicBezTo>
                    <a:pt x="672" y="38"/>
                    <a:pt x="664" y="24"/>
                    <a:pt x="648" y="20"/>
                  </a:cubicBezTo>
                  <a:cubicBezTo>
                    <a:pt x="636" y="0"/>
                    <a:pt x="626" y="10"/>
                    <a:pt x="602" y="6"/>
                  </a:cubicBezTo>
                  <a:cubicBezTo>
                    <a:pt x="564" y="9"/>
                    <a:pt x="564" y="0"/>
                    <a:pt x="532" y="20"/>
                  </a:cubicBezTo>
                  <a:cubicBezTo>
                    <a:pt x="509" y="32"/>
                    <a:pt x="483" y="62"/>
                    <a:pt x="460" y="52"/>
                  </a:cubicBezTo>
                  <a:cubicBezTo>
                    <a:pt x="432" y="88"/>
                    <a:pt x="456" y="192"/>
                    <a:pt x="496" y="220"/>
                  </a:cubicBezTo>
                  <a:cubicBezTo>
                    <a:pt x="504" y="252"/>
                    <a:pt x="512" y="288"/>
                    <a:pt x="484" y="308"/>
                  </a:cubicBezTo>
                  <a:cubicBezTo>
                    <a:pt x="472" y="328"/>
                    <a:pt x="472" y="336"/>
                    <a:pt x="448" y="344"/>
                  </a:cubicBezTo>
                  <a:cubicBezTo>
                    <a:pt x="416" y="344"/>
                    <a:pt x="388" y="348"/>
                    <a:pt x="356" y="340"/>
                  </a:cubicBezTo>
                  <a:cubicBezTo>
                    <a:pt x="352" y="340"/>
                    <a:pt x="352" y="328"/>
                    <a:pt x="348" y="324"/>
                  </a:cubicBezTo>
                  <a:cubicBezTo>
                    <a:pt x="336" y="312"/>
                    <a:pt x="304" y="300"/>
                    <a:pt x="288" y="296"/>
                  </a:cubicBezTo>
                  <a:cubicBezTo>
                    <a:pt x="276" y="276"/>
                    <a:pt x="268" y="256"/>
                    <a:pt x="252" y="240"/>
                  </a:cubicBezTo>
                  <a:cubicBezTo>
                    <a:pt x="244" y="228"/>
                    <a:pt x="216" y="212"/>
                    <a:pt x="216" y="212"/>
                  </a:cubicBezTo>
                  <a:cubicBezTo>
                    <a:pt x="208" y="196"/>
                    <a:pt x="192" y="180"/>
                    <a:pt x="180" y="172"/>
                  </a:cubicBezTo>
                  <a:cubicBezTo>
                    <a:pt x="160" y="180"/>
                    <a:pt x="172" y="188"/>
                    <a:pt x="148" y="192"/>
                  </a:cubicBezTo>
                  <a:cubicBezTo>
                    <a:pt x="124" y="208"/>
                    <a:pt x="96" y="216"/>
                    <a:pt x="76" y="236"/>
                  </a:cubicBezTo>
                  <a:cubicBezTo>
                    <a:pt x="68" y="260"/>
                    <a:pt x="64" y="280"/>
                    <a:pt x="48" y="296"/>
                  </a:cubicBezTo>
                  <a:cubicBezTo>
                    <a:pt x="40" y="320"/>
                    <a:pt x="20" y="336"/>
                    <a:pt x="16" y="364"/>
                  </a:cubicBezTo>
                  <a:cubicBezTo>
                    <a:pt x="12" y="420"/>
                    <a:pt x="8" y="436"/>
                    <a:pt x="0" y="484"/>
                  </a:cubicBezTo>
                  <a:cubicBezTo>
                    <a:pt x="4" y="536"/>
                    <a:pt x="0" y="696"/>
                    <a:pt x="36" y="708"/>
                  </a:cubicBezTo>
                  <a:cubicBezTo>
                    <a:pt x="39" y="684"/>
                    <a:pt x="59" y="655"/>
                    <a:pt x="69" y="638"/>
                  </a:cubicBezTo>
                  <a:cubicBezTo>
                    <a:pt x="79" y="621"/>
                    <a:pt x="83" y="639"/>
                    <a:pt x="96" y="608"/>
                  </a:cubicBezTo>
                  <a:cubicBezTo>
                    <a:pt x="117" y="605"/>
                    <a:pt x="162" y="570"/>
                    <a:pt x="204" y="576"/>
                  </a:cubicBezTo>
                  <a:cubicBezTo>
                    <a:pt x="226" y="564"/>
                    <a:pt x="216" y="548"/>
                    <a:pt x="230" y="546"/>
                  </a:cubicBezTo>
                  <a:cubicBezTo>
                    <a:pt x="236" y="544"/>
                    <a:pt x="231" y="558"/>
                    <a:pt x="240" y="561"/>
                  </a:cubicBezTo>
                  <a:cubicBezTo>
                    <a:pt x="249" y="564"/>
                    <a:pt x="269" y="561"/>
                    <a:pt x="287" y="566"/>
                  </a:cubicBezTo>
                  <a:cubicBezTo>
                    <a:pt x="299" y="552"/>
                    <a:pt x="299" y="560"/>
                    <a:pt x="303" y="539"/>
                  </a:cubicBezTo>
                  <a:cubicBezTo>
                    <a:pt x="323" y="551"/>
                    <a:pt x="315" y="561"/>
                    <a:pt x="330" y="567"/>
                  </a:cubicBezTo>
                  <a:cubicBezTo>
                    <a:pt x="381" y="536"/>
                    <a:pt x="393" y="531"/>
                    <a:pt x="410" y="549"/>
                  </a:cubicBezTo>
                  <a:cubicBezTo>
                    <a:pt x="410" y="531"/>
                    <a:pt x="414" y="530"/>
                    <a:pt x="489" y="527"/>
                  </a:cubicBezTo>
                  <a:cubicBezTo>
                    <a:pt x="511" y="536"/>
                    <a:pt x="562" y="537"/>
                    <a:pt x="576" y="533"/>
                  </a:cubicBezTo>
                  <a:cubicBezTo>
                    <a:pt x="590" y="529"/>
                    <a:pt x="566" y="515"/>
                    <a:pt x="576" y="504"/>
                  </a:cubicBezTo>
                  <a:cubicBezTo>
                    <a:pt x="576" y="488"/>
                    <a:pt x="625" y="468"/>
                    <a:pt x="638" y="470"/>
                  </a:cubicBezTo>
                  <a:cubicBezTo>
                    <a:pt x="642" y="486"/>
                    <a:pt x="641" y="508"/>
                    <a:pt x="657" y="516"/>
                  </a:cubicBezTo>
                  <a:cubicBezTo>
                    <a:pt x="669" y="524"/>
                    <a:pt x="690" y="530"/>
                    <a:pt x="690" y="530"/>
                  </a:cubicBezTo>
                  <a:cubicBezTo>
                    <a:pt x="726" y="526"/>
                    <a:pt x="752" y="524"/>
                    <a:pt x="784" y="536"/>
                  </a:cubicBezTo>
                  <a:cubicBezTo>
                    <a:pt x="786" y="551"/>
                    <a:pt x="840" y="567"/>
                    <a:pt x="879" y="588"/>
                  </a:cubicBezTo>
                  <a:cubicBezTo>
                    <a:pt x="899" y="617"/>
                    <a:pt x="932" y="612"/>
                    <a:pt x="944" y="620"/>
                  </a:cubicBezTo>
                  <a:cubicBezTo>
                    <a:pt x="954" y="612"/>
                    <a:pt x="960" y="614"/>
                    <a:pt x="960" y="614"/>
                  </a:cubicBezTo>
                  <a:cubicBezTo>
                    <a:pt x="986" y="576"/>
                    <a:pt x="998" y="552"/>
                    <a:pt x="1094" y="566"/>
                  </a:cubicBezTo>
                  <a:cubicBezTo>
                    <a:pt x="1097" y="543"/>
                    <a:pt x="1101" y="578"/>
                    <a:pt x="1088" y="522"/>
                  </a:cubicBezTo>
                  <a:cubicBezTo>
                    <a:pt x="1091" y="488"/>
                    <a:pt x="1117" y="475"/>
                    <a:pt x="1137" y="447"/>
                  </a:cubicBezTo>
                  <a:cubicBezTo>
                    <a:pt x="1140" y="428"/>
                    <a:pt x="1145" y="422"/>
                    <a:pt x="1156" y="416"/>
                  </a:cubicBez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  <p:sp>
          <p:nvSpPr>
            <p:cNvPr id="94" name="Freeform 81"/>
            <p:cNvSpPr>
              <a:spLocks noChangeAspect="1"/>
            </p:cNvSpPr>
            <p:nvPr/>
          </p:nvSpPr>
          <p:spPr bwMode="auto">
            <a:xfrm>
              <a:off x="2996" y="2433"/>
              <a:ext cx="240" cy="192"/>
            </a:xfrm>
            <a:custGeom>
              <a:avLst/>
              <a:gdLst>
                <a:gd name="T0" fmla="*/ 0 w 952"/>
                <a:gd name="T1" fmla="*/ 0 h 758"/>
                <a:gd name="T2" fmla="*/ 0 w 952"/>
                <a:gd name="T3" fmla="*/ 0 h 758"/>
                <a:gd name="T4" fmla="*/ 0 w 952"/>
                <a:gd name="T5" fmla="*/ 0 h 758"/>
                <a:gd name="T6" fmla="*/ 0 w 952"/>
                <a:gd name="T7" fmla="*/ 0 h 758"/>
                <a:gd name="T8" fmla="*/ 0 w 952"/>
                <a:gd name="T9" fmla="*/ 0 h 758"/>
                <a:gd name="T10" fmla="*/ 0 w 952"/>
                <a:gd name="T11" fmla="*/ 0 h 758"/>
                <a:gd name="T12" fmla="*/ 0 w 952"/>
                <a:gd name="T13" fmla="*/ 0 h 758"/>
                <a:gd name="T14" fmla="*/ 0 w 952"/>
                <a:gd name="T15" fmla="*/ 0 h 758"/>
                <a:gd name="T16" fmla="*/ 0 w 952"/>
                <a:gd name="T17" fmla="*/ 0 h 758"/>
                <a:gd name="T18" fmla="*/ 0 w 952"/>
                <a:gd name="T19" fmla="*/ 0 h 758"/>
                <a:gd name="T20" fmla="*/ 0 w 952"/>
                <a:gd name="T21" fmla="*/ 0 h 758"/>
                <a:gd name="T22" fmla="*/ 0 w 952"/>
                <a:gd name="T23" fmla="*/ 0 h 758"/>
                <a:gd name="T24" fmla="*/ 0 w 952"/>
                <a:gd name="T25" fmla="*/ 0 h 758"/>
                <a:gd name="T26" fmla="*/ 0 w 952"/>
                <a:gd name="T27" fmla="*/ 0 h 758"/>
                <a:gd name="T28" fmla="*/ 0 w 952"/>
                <a:gd name="T29" fmla="*/ 0 h 758"/>
                <a:gd name="T30" fmla="*/ 0 w 952"/>
                <a:gd name="T31" fmla="*/ 0 h 758"/>
                <a:gd name="T32" fmla="*/ 0 w 952"/>
                <a:gd name="T33" fmla="*/ 0 h 758"/>
                <a:gd name="T34" fmla="*/ 0 w 952"/>
                <a:gd name="T35" fmla="*/ 0 h 758"/>
                <a:gd name="T36" fmla="*/ 0 w 952"/>
                <a:gd name="T37" fmla="*/ 0 h 758"/>
                <a:gd name="T38" fmla="*/ 0 w 952"/>
                <a:gd name="T39" fmla="*/ 0 h 758"/>
                <a:gd name="T40" fmla="*/ 0 w 952"/>
                <a:gd name="T41" fmla="*/ 0 h 758"/>
                <a:gd name="T42" fmla="*/ 0 w 952"/>
                <a:gd name="T43" fmla="*/ 0 h 758"/>
                <a:gd name="T44" fmla="*/ 0 w 952"/>
                <a:gd name="T45" fmla="*/ 0 h 758"/>
                <a:gd name="T46" fmla="*/ 0 w 952"/>
                <a:gd name="T47" fmla="*/ 0 h 758"/>
                <a:gd name="T48" fmla="*/ 0 w 952"/>
                <a:gd name="T49" fmla="*/ 0 h 758"/>
                <a:gd name="T50" fmla="*/ 0 w 952"/>
                <a:gd name="T51" fmla="*/ 0 h 758"/>
                <a:gd name="T52" fmla="*/ 0 w 952"/>
                <a:gd name="T53" fmla="*/ 0 h 758"/>
                <a:gd name="T54" fmla="*/ 0 w 952"/>
                <a:gd name="T55" fmla="*/ 0 h 758"/>
                <a:gd name="T56" fmla="*/ 0 w 952"/>
                <a:gd name="T57" fmla="*/ 0 h 758"/>
                <a:gd name="T58" fmla="*/ 0 w 952"/>
                <a:gd name="T59" fmla="*/ 0 h 758"/>
                <a:gd name="T60" fmla="*/ 0 w 952"/>
                <a:gd name="T61" fmla="*/ 0 h 758"/>
                <a:gd name="T62" fmla="*/ 0 w 952"/>
                <a:gd name="T63" fmla="*/ 0 h 758"/>
                <a:gd name="T64" fmla="*/ 0 w 952"/>
                <a:gd name="T65" fmla="*/ 0 h 758"/>
                <a:gd name="T66" fmla="*/ 0 w 952"/>
                <a:gd name="T67" fmla="*/ 0 h 758"/>
                <a:gd name="T68" fmla="*/ 0 w 952"/>
                <a:gd name="T69" fmla="*/ 0 h 758"/>
                <a:gd name="T70" fmla="*/ 0 w 952"/>
                <a:gd name="T71" fmla="*/ 0 h 758"/>
                <a:gd name="T72" fmla="*/ 0 w 952"/>
                <a:gd name="T73" fmla="*/ 0 h 758"/>
                <a:gd name="T74" fmla="*/ 0 w 952"/>
                <a:gd name="T75" fmla="*/ 0 h 758"/>
                <a:gd name="T76" fmla="*/ 0 w 952"/>
                <a:gd name="T77" fmla="*/ 0 h 758"/>
                <a:gd name="T78" fmla="*/ 0 w 952"/>
                <a:gd name="T79" fmla="*/ 0 h 758"/>
                <a:gd name="T80" fmla="*/ 0 w 952"/>
                <a:gd name="T81" fmla="*/ 0 h 758"/>
                <a:gd name="T82" fmla="*/ 0 w 952"/>
                <a:gd name="T83" fmla="*/ 0 h 758"/>
                <a:gd name="T84" fmla="*/ 0 w 952"/>
                <a:gd name="T85" fmla="*/ 0 h 758"/>
                <a:gd name="T86" fmla="*/ 0 w 952"/>
                <a:gd name="T87" fmla="*/ 0 h 758"/>
                <a:gd name="T88" fmla="*/ 0 w 952"/>
                <a:gd name="T89" fmla="*/ 0 h 758"/>
                <a:gd name="T90" fmla="*/ 0 w 952"/>
                <a:gd name="T91" fmla="*/ 0 h 758"/>
                <a:gd name="T92" fmla="*/ 0 w 952"/>
                <a:gd name="T93" fmla="*/ 0 h 758"/>
                <a:gd name="T94" fmla="*/ 0 w 952"/>
                <a:gd name="T95" fmla="*/ 0 h 758"/>
                <a:gd name="T96" fmla="*/ 0 w 952"/>
                <a:gd name="T97" fmla="*/ 0 h 758"/>
                <a:gd name="T98" fmla="*/ 0 w 952"/>
                <a:gd name="T99" fmla="*/ 0 h 758"/>
                <a:gd name="T100" fmla="*/ 0 w 952"/>
                <a:gd name="T101" fmla="*/ 0 h 758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952"/>
                <a:gd name="T154" fmla="*/ 0 h 758"/>
                <a:gd name="T155" fmla="*/ 952 w 952"/>
                <a:gd name="T156" fmla="*/ 758 h 758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952" h="758">
                  <a:moveTo>
                    <a:pt x="912" y="152"/>
                  </a:moveTo>
                  <a:cubicBezTo>
                    <a:pt x="844" y="140"/>
                    <a:pt x="856" y="120"/>
                    <a:pt x="808" y="104"/>
                  </a:cubicBezTo>
                  <a:cubicBezTo>
                    <a:pt x="792" y="88"/>
                    <a:pt x="776" y="92"/>
                    <a:pt x="756" y="80"/>
                  </a:cubicBezTo>
                  <a:cubicBezTo>
                    <a:pt x="736" y="48"/>
                    <a:pt x="696" y="60"/>
                    <a:pt x="656" y="60"/>
                  </a:cubicBezTo>
                  <a:cubicBezTo>
                    <a:pt x="648" y="60"/>
                    <a:pt x="620" y="52"/>
                    <a:pt x="616" y="48"/>
                  </a:cubicBezTo>
                  <a:cubicBezTo>
                    <a:pt x="604" y="36"/>
                    <a:pt x="600" y="0"/>
                    <a:pt x="600" y="0"/>
                  </a:cubicBezTo>
                  <a:cubicBezTo>
                    <a:pt x="580" y="4"/>
                    <a:pt x="544" y="24"/>
                    <a:pt x="544" y="24"/>
                  </a:cubicBezTo>
                  <a:cubicBezTo>
                    <a:pt x="532" y="34"/>
                    <a:pt x="542" y="50"/>
                    <a:pt x="546" y="66"/>
                  </a:cubicBezTo>
                  <a:cubicBezTo>
                    <a:pt x="531" y="68"/>
                    <a:pt x="507" y="69"/>
                    <a:pt x="492" y="68"/>
                  </a:cubicBezTo>
                  <a:cubicBezTo>
                    <a:pt x="476" y="72"/>
                    <a:pt x="472" y="64"/>
                    <a:pt x="456" y="60"/>
                  </a:cubicBezTo>
                  <a:cubicBezTo>
                    <a:pt x="416" y="64"/>
                    <a:pt x="380" y="48"/>
                    <a:pt x="372" y="84"/>
                  </a:cubicBezTo>
                  <a:cubicBezTo>
                    <a:pt x="368" y="68"/>
                    <a:pt x="356" y="64"/>
                    <a:pt x="340" y="68"/>
                  </a:cubicBezTo>
                  <a:cubicBezTo>
                    <a:pt x="328" y="80"/>
                    <a:pt x="320" y="88"/>
                    <a:pt x="304" y="92"/>
                  </a:cubicBezTo>
                  <a:cubicBezTo>
                    <a:pt x="288" y="116"/>
                    <a:pt x="280" y="80"/>
                    <a:pt x="268" y="68"/>
                  </a:cubicBezTo>
                  <a:cubicBezTo>
                    <a:pt x="260" y="108"/>
                    <a:pt x="244" y="96"/>
                    <a:pt x="204" y="92"/>
                  </a:cubicBezTo>
                  <a:cubicBezTo>
                    <a:pt x="192" y="60"/>
                    <a:pt x="184" y="100"/>
                    <a:pt x="176" y="104"/>
                  </a:cubicBezTo>
                  <a:cubicBezTo>
                    <a:pt x="160" y="108"/>
                    <a:pt x="144" y="108"/>
                    <a:pt x="128" y="108"/>
                  </a:cubicBezTo>
                  <a:cubicBezTo>
                    <a:pt x="112" y="116"/>
                    <a:pt x="100" y="124"/>
                    <a:pt x="84" y="132"/>
                  </a:cubicBezTo>
                  <a:cubicBezTo>
                    <a:pt x="76" y="136"/>
                    <a:pt x="60" y="140"/>
                    <a:pt x="60" y="140"/>
                  </a:cubicBezTo>
                  <a:cubicBezTo>
                    <a:pt x="52" y="156"/>
                    <a:pt x="52" y="164"/>
                    <a:pt x="36" y="168"/>
                  </a:cubicBezTo>
                  <a:cubicBezTo>
                    <a:pt x="28" y="188"/>
                    <a:pt x="16" y="200"/>
                    <a:pt x="4" y="216"/>
                  </a:cubicBezTo>
                  <a:cubicBezTo>
                    <a:pt x="4" y="236"/>
                    <a:pt x="0" y="320"/>
                    <a:pt x="24" y="328"/>
                  </a:cubicBezTo>
                  <a:cubicBezTo>
                    <a:pt x="32" y="356"/>
                    <a:pt x="20" y="408"/>
                    <a:pt x="52" y="420"/>
                  </a:cubicBezTo>
                  <a:cubicBezTo>
                    <a:pt x="83" y="429"/>
                    <a:pt x="100" y="442"/>
                    <a:pt x="128" y="450"/>
                  </a:cubicBezTo>
                  <a:cubicBezTo>
                    <a:pt x="148" y="462"/>
                    <a:pt x="201" y="480"/>
                    <a:pt x="201" y="480"/>
                  </a:cubicBezTo>
                  <a:cubicBezTo>
                    <a:pt x="231" y="495"/>
                    <a:pt x="287" y="480"/>
                    <a:pt x="315" y="504"/>
                  </a:cubicBezTo>
                  <a:cubicBezTo>
                    <a:pt x="319" y="528"/>
                    <a:pt x="343" y="641"/>
                    <a:pt x="359" y="657"/>
                  </a:cubicBezTo>
                  <a:cubicBezTo>
                    <a:pt x="396" y="660"/>
                    <a:pt x="422" y="663"/>
                    <a:pt x="443" y="684"/>
                  </a:cubicBezTo>
                  <a:cubicBezTo>
                    <a:pt x="485" y="708"/>
                    <a:pt x="492" y="726"/>
                    <a:pt x="509" y="758"/>
                  </a:cubicBezTo>
                  <a:cubicBezTo>
                    <a:pt x="563" y="758"/>
                    <a:pt x="566" y="755"/>
                    <a:pt x="615" y="725"/>
                  </a:cubicBezTo>
                  <a:cubicBezTo>
                    <a:pt x="636" y="750"/>
                    <a:pt x="657" y="750"/>
                    <a:pt x="683" y="714"/>
                  </a:cubicBezTo>
                  <a:cubicBezTo>
                    <a:pt x="701" y="709"/>
                    <a:pt x="719" y="701"/>
                    <a:pt x="723" y="696"/>
                  </a:cubicBezTo>
                  <a:cubicBezTo>
                    <a:pt x="741" y="686"/>
                    <a:pt x="705" y="688"/>
                    <a:pt x="707" y="680"/>
                  </a:cubicBezTo>
                  <a:cubicBezTo>
                    <a:pt x="709" y="672"/>
                    <a:pt x="725" y="651"/>
                    <a:pt x="734" y="645"/>
                  </a:cubicBezTo>
                  <a:cubicBezTo>
                    <a:pt x="746" y="642"/>
                    <a:pt x="765" y="644"/>
                    <a:pt x="765" y="644"/>
                  </a:cubicBezTo>
                  <a:cubicBezTo>
                    <a:pt x="773" y="628"/>
                    <a:pt x="791" y="597"/>
                    <a:pt x="813" y="599"/>
                  </a:cubicBezTo>
                  <a:cubicBezTo>
                    <a:pt x="823" y="595"/>
                    <a:pt x="812" y="613"/>
                    <a:pt x="818" y="620"/>
                  </a:cubicBezTo>
                  <a:cubicBezTo>
                    <a:pt x="824" y="627"/>
                    <a:pt x="837" y="630"/>
                    <a:pt x="852" y="640"/>
                  </a:cubicBezTo>
                  <a:cubicBezTo>
                    <a:pt x="884" y="632"/>
                    <a:pt x="872" y="608"/>
                    <a:pt x="852" y="592"/>
                  </a:cubicBezTo>
                  <a:cubicBezTo>
                    <a:pt x="839" y="587"/>
                    <a:pt x="845" y="594"/>
                    <a:pt x="825" y="566"/>
                  </a:cubicBezTo>
                  <a:cubicBezTo>
                    <a:pt x="821" y="558"/>
                    <a:pt x="824" y="528"/>
                    <a:pt x="824" y="528"/>
                  </a:cubicBezTo>
                  <a:cubicBezTo>
                    <a:pt x="822" y="512"/>
                    <a:pt x="818" y="482"/>
                    <a:pt x="834" y="459"/>
                  </a:cubicBezTo>
                  <a:cubicBezTo>
                    <a:pt x="835" y="442"/>
                    <a:pt x="822" y="447"/>
                    <a:pt x="830" y="425"/>
                  </a:cubicBezTo>
                  <a:cubicBezTo>
                    <a:pt x="834" y="417"/>
                    <a:pt x="861" y="375"/>
                    <a:pt x="885" y="329"/>
                  </a:cubicBezTo>
                  <a:cubicBezTo>
                    <a:pt x="897" y="321"/>
                    <a:pt x="914" y="312"/>
                    <a:pt x="914" y="312"/>
                  </a:cubicBezTo>
                  <a:cubicBezTo>
                    <a:pt x="930" y="296"/>
                    <a:pt x="940" y="308"/>
                    <a:pt x="952" y="288"/>
                  </a:cubicBezTo>
                  <a:cubicBezTo>
                    <a:pt x="948" y="280"/>
                    <a:pt x="949" y="269"/>
                    <a:pt x="941" y="261"/>
                  </a:cubicBezTo>
                  <a:cubicBezTo>
                    <a:pt x="923" y="257"/>
                    <a:pt x="904" y="248"/>
                    <a:pt x="904" y="248"/>
                  </a:cubicBezTo>
                  <a:cubicBezTo>
                    <a:pt x="896" y="224"/>
                    <a:pt x="902" y="239"/>
                    <a:pt x="902" y="225"/>
                  </a:cubicBezTo>
                  <a:cubicBezTo>
                    <a:pt x="912" y="204"/>
                    <a:pt x="921" y="164"/>
                    <a:pt x="924" y="144"/>
                  </a:cubicBezTo>
                  <a:cubicBezTo>
                    <a:pt x="900" y="152"/>
                    <a:pt x="896" y="152"/>
                    <a:pt x="912" y="152"/>
                  </a:cubicBez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  <p:sp>
          <p:nvSpPr>
            <p:cNvPr id="95" name="Freeform 82"/>
            <p:cNvSpPr>
              <a:spLocks noChangeAspect="1"/>
            </p:cNvSpPr>
            <p:nvPr/>
          </p:nvSpPr>
          <p:spPr bwMode="auto">
            <a:xfrm>
              <a:off x="2955" y="2536"/>
              <a:ext cx="132" cy="81"/>
            </a:xfrm>
            <a:custGeom>
              <a:avLst/>
              <a:gdLst>
                <a:gd name="T0" fmla="*/ 0 w 527"/>
                <a:gd name="T1" fmla="*/ 0 h 322"/>
                <a:gd name="T2" fmla="*/ 0 w 527"/>
                <a:gd name="T3" fmla="*/ 0 h 322"/>
                <a:gd name="T4" fmla="*/ 0 w 527"/>
                <a:gd name="T5" fmla="*/ 0 h 322"/>
                <a:gd name="T6" fmla="*/ 0 w 527"/>
                <a:gd name="T7" fmla="*/ 0 h 322"/>
                <a:gd name="T8" fmla="*/ 0 w 527"/>
                <a:gd name="T9" fmla="*/ 0 h 322"/>
                <a:gd name="T10" fmla="*/ 0 w 527"/>
                <a:gd name="T11" fmla="*/ 0 h 322"/>
                <a:gd name="T12" fmla="*/ 0 w 527"/>
                <a:gd name="T13" fmla="*/ 0 h 322"/>
                <a:gd name="T14" fmla="*/ 0 w 527"/>
                <a:gd name="T15" fmla="*/ 0 h 322"/>
                <a:gd name="T16" fmla="*/ 0 w 527"/>
                <a:gd name="T17" fmla="*/ 0 h 322"/>
                <a:gd name="T18" fmla="*/ 0 w 527"/>
                <a:gd name="T19" fmla="*/ 0 h 322"/>
                <a:gd name="T20" fmla="*/ 0 w 527"/>
                <a:gd name="T21" fmla="*/ 0 h 322"/>
                <a:gd name="T22" fmla="*/ 0 w 527"/>
                <a:gd name="T23" fmla="*/ 0 h 322"/>
                <a:gd name="T24" fmla="*/ 0 w 527"/>
                <a:gd name="T25" fmla="*/ 0 h 322"/>
                <a:gd name="T26" fmla="*/ 0 w 527"/>
                <a:gd name="T27" fmla="*/ 0 h 322"/>
                <a:gd name="T28" fmla="*/ 0 w 527"/>
                <a:gd name="T29" fmla="*/ 0 h 322"/>
                <a:gd name="T30" fmla="*/ 0 w 527"/>
                <a:gd name="T31" fmla="*/ 0 h 32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527"/>
                <a:gd name="T49" fmla="*/ 0 h 322"/>
                <a:gd name="T50" fmla="*/ 527 w 527"/>
                <a:gd name="T51" fmla="*/ 322 h 32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527" h="322">
                  <a:moveTo>
                    <a:pt x="192" y="0"/>
                  </a:moveTo>
                  <a:cubicBezTo>
                    <a:pt x="228" y="12"/>
                    <a:pt x="283" y="52"/>
                    <a:pt x="395" y="84"/>
                  </a:cubicBezTo>
                  <a:cubicBezTo>
                    <a:pt x="411" y="84"/>
                    <a:pt x="463" y="84"/>
                    <a:pt x="479" y="96"/>
                  </a:cubicBezTo>
                  <a:cubicBezTo>
                    <a:pt x="491" y="136"/>
                    <a:pt x="499" y="176"/>
                    <a:pt x="507" y="216"/>
                  </a:cubicBezTo>
                  <a:cubicBezTo>
                    <a:pt x="511" y="228"/>
                    <a:pt x="527" y="252"/>
                    <a:pt x="527" y="252"/>
                  </a:cubicBezTo>
                  <a:cubicBezTo>
                    <a:pt x="490" y="253"/>
                    <a:pt x="484" y="250"/>
                    <a:pt x="443" y="267"/>
                  </a:cubicBezTo>
                  <a:cubicBezTo>
                    <a:pt x="423" y="271"/>
                    <a:pt x="375" y="292"/>
                    <a:pt x="375" y="292"/>
                  </a:cubicBezTo>
                  <a:cubicBezTo>
                    <a:pt x="334" y="294"/>
                    <a:pt x="314" y="303"/>
                    <a:pt x="277" y="304"/>
                  </a:cubicBezTo>
                  <a:cubicBezTo>
                    <a:pt x="242" y="308"/>
                    <a:pt x="206" y="314"/>
                    <a:pt x="170" y="318"/>
                  </a:cubicBezTo>
                  <a:cubicBezTo>
                    <a:pt x="113" y="315"/>
                    <a:pt x="100" y="322"/>
                    <a:pt x="8" y="312"/>
                  </a:cubicBezTo>
                  <a:cubicBezTo>
                    <a:pt x="0" y="312"/>
                    <a:pt x="16" y="288"/>
                    <a:pt x="16" y="288"/>
                  </a:cubicBezTo>
                  <a:cubicBezTo>
                    <a:pt x="28" y="180"/>
                    <a:pt x="8" y="180"/>
                    <a:pt x="96" y="156"/>
                  </a:cubicBezTo>
                  <a:cubicBezTo>
                    <a:pt x="112" y="140"/>
                    <a:pt x="124" y="124"/>
                    <a:pt x="144" y="116"/>
                  </a:cubicBezTo>
                  <a:cubicBezTo>
                    <a:pt x="160" y="96"/>
                    <a:pt x="164" y="84"/>
                    <a:pt x="176" y="64"/>
                  </a:cubicBezTo>
                  <a:cubicBezTo>
                    <a:pt x="180" y="56"/>
                    <a:pt x="192" y="40"/>
                    <a:pt x="192" y="40"/>
                  </a:cubicBezTo>
                  <a:cubicBezTo>
                    <a:pt x="184" y="8"/>
                    <a:pt x="180" y="20"/>
                    <a:pt x="192" y="0"/>
                  </a:cubicBez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  <p:sp>
          <p:nvSpPr>
            <p:cNvPr id="96" name="Freeform 83"/>
            <p:cNvSpPr>
              <a:spLocks noChangeAspect="1"/>
            </p:cNvSpPr>
            <p:nvPr/>
          </p:nvSpPr>
          <p:spPr bwMode="auto">
            <a:xfrm>
              <a:off x="3124" y="2417"/>
              <a:ext cx="395" cy="383"/>
            </a:xfrm>
            <a:custGeom>
              <a:avLst/>
              <a:gdLst>
                <a:gd name="T0" fmla="*/ 0 w 1566"/>
                <a:gd name="T1" fmla="*/ 0 h 1516"/>
                <a:gd name="T2" fmla="*/ 0 w 1566"/>
                <a:gd name="T3" fmla="*/ 0 h 1516"/>
                <a:gd name="T4" fmla="*/ 0 w 1566"/>
                <a:gd name="T5" fmla="*/ 0 h 1516"/>
                <a:gd name="T6" fmla="*/ 0 w 1566"/>
                <a:gd name="T7" fmla="*/ 0 h 1516"/>
                <a:gd name="T8" fmla="*/ 0 w 1566"/>
                <a:gd name="T9" fmla="*/ 0 h 1516"/>
                <a:gd name="T10" fmla="*/ 0 w 1566"/>
                <a:gd name="T11" fmla="*/ 0 h 1516"/>
                <a:gd name="T12" fmla="*/ 0 w 1566"/>
                <a:gd name="T13" fmla="*/ 0 h 1516"/>
                <a:gd name="T14" fmla="*/ 0 w 1566"/>
                <a:gd name="T15" fmla="*/ 0 h 1516"/>
                <a:gd name="T16" fmla="*/ 0 w 1566"/>
                <a:gd name="T17" fmla="*/ 0 h 1516"/>
                <a:gd name="T18" fmla="*/ 0 w 1566"/>
                <a:gd name="T19" fmla="*/ 0 h 1516"/>
                <a:gd name="T20" fmla="*/ 0 w 1566"/>
                <a:gd name="T21" fmla="*/ 0 h 1516"/>
                <a:gd name="T22" fmla="*/ 0 w 1566"/>
                <a:gd name="T23" fmla="*/ 0 h 1516"/>
                <a:gd name="T24" fmla="*/ 0 w 1566"/>
                <a:gd name="T25" fmla="*/ 0 h 1516"/>
                <a:gd name="T26" fmla="*/ 0 w 1566"/>
                <a:gd name="T27" fmla="*/ 0 h 1516"/>
                <a:gd name="T28" fmla="*/ 0 w 1566"/>
                <a:gd name="T29" fmla="*/ 0 h 1516"/>
                <a:gd name="T30" fmla="*/ 0 w 1566"/>
                <a:gd name="T31" fmla="*/ 0 h 1516"/>
                <a:gd name="T32" fmla="*/ 0 w 1566"/>
                <a:gd name="T33" fmla="*/ 0 h 1516"/>
                <a:gd name="T34" fmla="*/ 0 w 1566"/>
                <a:gd name="T35" fmla="*/ 0 h 1516"/>
                <a:gd name="T36" fmla="*/ 0 w 1566"/>
                <a:gd name="T37" fmla="*/ 0 h 1516"/>
                <a:gd name="T38" fmla="*/ 0 w 1566"/>
                <a:gd name="T39" fmla="*/ 0 h 1516"/>
                <a:gd name="T40" fmla="*/ 0 w 1566"/>
                <a:gd name="T41" fmla="*/ 0 h 1516"/>
                <a:gd name="T42" fmla="*/ 0 w 1566"/>
                <a:gd name="T43" fmla="*/ 0 h 1516"/>
                <a:gd name="T44" fmla="*/ 0 w 1566"/>
                <a:gd name="T45" fmla="*/ 0 h 1516"/>
                <a:gd name="T46" fmla="*/ 0 w 1566"/>
                <a:gd name="T47" fmla="*/ 0 h 1516"/>
                <a:gd name="T48" fmla="*/ 0 w 1566"/>
                <a:gd name="T49" fmla="*/ 0 h 1516"/>
                <a:gd name="T50" fmla="*/ 0 w 1566"/>
                <a:gd name="T51" fmla="*/ 0 h 1516"/>
                <a:gd name="T52" fmla="*/ 0 w 1566"/>
                <a:gd name="T53" fmla="*/ 0 h 1516"/>
                <a:gd name="T54" fmla="*/ 0 w 1566"/>
                <a:gd name="T55" fmla="*/ 0 h 1516"/>
                <a:gd name="T56" fmla="*/ 0 w 1566"/>
                <a:gd name="T57" fmla="*/ 0 h 1516"/>
                <a:gd name="T58" fmla="*/ 0 w 1566"/>
                <a:gd name="T59" fmla="*/ 0 h 1516"/>
                <a:gd name="T60" fmla="*/ 0 w 1566"/>
                <a:gd name="T61" fmla="*/ 0 h 1516"/>
                <a:gd name="T62" fmla="*/ 0 w 1566"/>
                <a:gd name="T63" fmla="*/ 0 h 1516"/>
                <a:gd name="T64" fmla="*/ 0 w 1566"/>
                <a:gd name="T65" fmla="*/ 0 h 1516"/>
                <a:gd name="T66" fmla="*/ 0 w 1566"/>
                <a:gd name="T67" fmla="*/ 0 h 1516"/>
                <a:gd name="T68" fmla="*/ 0 w 1566"/>
                <a:gd name="T69" fmla="*/ 0 h 1516"/>
                <a:gd name="T70" fmla="*/ 0 w 1566"/>
                <a:gd name="T71" fmla="*/ 0 h 1516"/>
                <a:gd name="T72" fmla="*/ 0 w 1566"/>
                <a:gd name="T73" fmla="*/ 0 h 1516"/>
                <a:gd name="T74" fmla="*/ 0 w 1566"/>
                <a:gd name="T75" fmla="*/ 0 h 1516"/>
                <a:gd name="T76" fmla="*/ 0 w 1566"/>
                <a:gd name="T77" fmla="*/ 0 h 1516"/>
                <a:gd name="T78" fmla="*/ 0 w 1566"/>
                <a:gd name="T79" fmla="*/ 0 h 1516"/>
                <a:gd name="T80" fmla="*/ 0 w 1566"/>
                <a:gd name="T81" fmla="*/ 0 h 1516"/>
                <a:gd name="T82" fmla="*/ 0 w 1566"/>
                <a:gd name="T83" fmla="*/ 0 h 1516"/>
                <a:gd name="T84" fmla="*/ 0 w 1566"/>
                <a:gd name="T85" fmla="*/ 0 h 1516"/>
                <a:gd name="T86" fmla="*/ 0 w 1566"/>
                <a:gd name="T87" fmla="*/ 0 h 1516"/>
                <a:gd name="T88" fmla="*/ 0 w 1566"/>
                <a:gd name="T89" fmla="*/ 0 h 1516"/>
                <a:gd name="T90" fmla="*/ 0 w 1566"/>
                <a:gd name="T91" fmla="*/ 0 h 151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1566"/>
                <a:gd name="T139" fmla="*/ 0 h 1516"/>
                <a:gd name="T140" fmla="*/ 1566 w 1566"/>
                <a:gd name="T141" fmla="*/ 1516 h 151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1566" h="1516">
                  <a:moveTo>
                    <a:pt x="606" y="16"/>
                  </a:moveTo>
                  <a:cubicBezTo>
                    <a:pt x="598" y="44"/>
                    <a:pt x="602" y="36"/>
                    <a:pt x="586" y="52"/>
                  </a:cubicBezTo>
                  <a:cubicBezTo>
                    <a:pt x="574" y="68"/>
                    <a:pt x="546" y="104"/>
                    <a:pt x="542" y="120"/>
                  </a:cubicBezTo>
                  <a:cubicBezTo>
                    <a:pt x="554" y="136"/>
                    <a:pt x="554" y="140"/>
                    <a:pt x="550" y="160"/>
                  </a:cubicBezTo>
                  <a:cubicBezTo>
                    <a:pt x="538" y="160"/>
                    <a:pt x="486" y="152"/>
                    <a:pt x="466" y="160"/>
                  </a:cubicBezTo>
                  <a:cubicBezTo>
                    <a:pt x="450" y="168"/>
                    <a:pt x="442" y="188"/>
                    <a:pt x="422" y="196"/>
                  </a:cubicBezTo>
                  <a:cubicBezTo>
                    <a:pt x="418" y="208"/>
                    <a:pt x="410" y="232"/>
                    <a:pt x="410" y="232"/>
                  </a:cubicBezTo>
                  <a:cubicBezTo>
                    <a:pt x="406" y="264"/>
                    <a:pt x="402" y="268"/>
                    <a:pt x="394" y="292"/>
                  </a:cubicBezTo>
                  <a:cubicBezTo>
                    <a:pt x="398" y="300"/>
                    <a:pt x="398" y="312"/>
                    <a:pt x="406" y="316"/>
                  </a:cubicBezTo>
                  <a:cubicBezTo>
                    <a:pt x="414" y="320"/>
                    <a:pt x="430" y="324"/>
                    <a:pt x="430" y="324"/>
                  </a:cubicBezTo>
                  <a:cubicBezTo>
                    <a:pt x="466" y="360"/>
                    <a:pt x="430" y="360"/>
                    <a:pt x="406" y="376"/>
                  </a:cubicBezTo>
                  <a:cubicBezTo>
                    <a:pt x="390" y="388"/>
                    <a:pt x="398" y="384"/>
                    <a:pt x="382" y="388"/>
                  </a:cubicBezTo>
                  <a:cubicBezTo>
                    <a:pt x="362" y="420"/>
                    <a:pt x="350" y="456"/>
                    <a:pt x="322" y="484"/>
                  </a:cubicBezTo>
                  <a:cubicBezTo>
                    <a:pt x="318" y="496"/>
                    <a:pt x="326" y="520"/>
                    <a:pt x="326" y="520"/>
                  </a:cubicBezTo>
                  <a:cubicBezTo>
                    <a:pt x="314" y="552"/>
                    <a:pt x="318" y="536"/>
                    <a:pt x="314" y="564"/>
                  </a:cubicBezTo>
                  <a:cubicBezTo>
                    <a:pt x="314" y="584"/>
                    <a:pt x="314" y="608"/>
                    <a:pt x="318" y="628"/>
                  </a:cubicBezTo>
                  <a:cubicBezTo>
                    <a:pt x="322" y="648"/>
                    <a:pt x="354" y="660"/>
                    <a:pt x="362" y="684"/>
                  </a:cubicBezTo>
                  <a:cubicBezTo>
                    <a:pt x="358" y="696"/>
                    <a:pt x="362" y="700"/>
                    <a:pt x="346" y="700"/>
                  </a:cubicBezTo>
                  <a:cubicBezTo>
                    <a:pt x="334" y="700"/>
                    <a:pt x="310" y="680"/>
                    <a:pt x="310" y="680"/>
                  </a:cubicBezTo>
                  <a:cubicBezTo>
                    <a:pt x="314" y="660"/>
                    <a:pt x="310" y="656"/>
                    <a:pt x="290" y="664"/>
                  </a:cubicBezTo>
                  <a:cubicBezTo>
                    <a:pt x="274" y="680"/>
                    <a:pt x="270" y="696"/>
                    <a:pt x="254" y="708"/>
                  </a:cubicBezTo>
                  <a:cubicBezTo>
                    <a:pt x="214" y="704"/>
                    <a:pt x="230" y="708"/>
                    <a:pt x="206" y="732"/>
                  </a:cubicBezTo>
                  <a:cubicBezTo>
                    <a:pt x="206" y="736"/>
                    <a:pt x="202" y="740"/>
                    <a:pt x="202" y="744"/>
                  </a:cubicBezTo>
                  <a:cubicBezTo>
                    <a:pt x="202" y="748"/>
                    <a:pt x="214" y="748"/>
                    <a:pt x="214" y="752"/>
                  </a:cubicBezTo>
                  <a:cubicBezTo>
                    <a:pt x="218" y="772"/>
                    <a:pt x="190" y="772"/>
                    <a:pt x="178" y="776"/>
                  </a:cubicBezTo>
                  <a:cubicBezTo>
                    <a:pt x="174" y="796"/>
                    <a:pt x="150" y="804"/>
                    <a:pt x="130" y="808"/>
                  </a:cubicBezTo>
                  <a:cubicBezTo>
                    <a:pt x="122" y="804"/>
                    <a:pt x="118" y="792"/>
                    <a:pt x="110" y="792"/>
                  </a:cubicBezTo>
                  <a:cubicBezTo>
                    <a:pt x="98" y="792"/>
                    <a:pt x="70" y="808"/>
                    <a:pt x="62" y="816"/>
                  </a:cubicBezTo>
                  <a:cubicBezTo>
                    <a:pt x="42" y="828"/>
                    <a:pt x="24" y="820"/>
                    <a:pt x="0" y="820"/>
                  </a:cubicBezTo>
                  <a:cubicBezTo>
                    <a:pt x="22" y="849"/>
                    <a:pt x="2" y="860"/>
                    <a:pt x="14" y="888"/>
                  </a:cubicBezTo>
                  <a:cubicBezTo>
                    <a:pt x="10" y="903"/>
                    <a:pt x="67" y="1014"/>
                    <a:pt x="82" y="1040"/>
                  </a:cubicBezTo>
                  <a:cubicBezTo>
                    <a:pt x="90" y="1052"/>
                    <a:pt x="101" y="1072"/>
                    <a:pt x="105" y="1084"/>
                  </a:cubicBezTo>
                  <a:cubicBezTo>
                    <a:pt x="109" y="1096"/>
                    <a:pt x="124" y="1113"/>
                    <a:pt x="126" y="1120"/>
                  </a:cubicBezTo>
                  <a:cubicBezTo>
                    <a:pt x="122" y="1156"/>
                    <a:pt x="130" y="1164"/>
                    <a:pt x="106" y="1188"/>
                  </a:cubicBezTo>
                  <a:cubicBezTo>
                    <a:pt x="75" y="1201"/>
                    <a:pt x="65" y="1216"/>
                    <a:pt x="52" y="1237"/>
                  </a:cubicBezTo>
                  <a:cubicBezTo>
                    <a:pt x="39" y="1250"/>
                    <a:pt x="31" y="1254"/>
                    <a:pt x="27" y="1266"/>
                  </a:cubicBezTo>
                  <a:cubicBezTo>
                    <a:pt x="23" y="1278"/>
                    <a:pt x="31" y="1300"/>
                    <a:pt x="30" y="1312"/>
                  </a:cubicBezTo>
                  <a:cubicBezTo>
                    <a:pt x="36" y="1342"/>
                    <a:pt x="51" y="1328"/>
                    <a:pt x="91" y="1336"/>
                  </a:cubicBezTo>
                  <a:cubicBezTo>
                    <a:pt x="106" y="1347"/>
                    <a:pt x="118" y="1348"/>
                    <a:pt x="126" y="1368"/>
                  </a:cubicBezTo>
                  <a:cubicBezTo>
                    <a:pt x="122" y="1416"/>
                    <a:pt x="114" y="1476"/>
                    <a:pt x="142" y="1516"/>
                  </a:cubicBezTo>
                  <a:cubicBezTo>
                    <a:pt x="158" y="1512"/>
                    <a:pt x="142" y="1492"/>
                    <a:pt x="163" y="1485"/>
                  </a:cubicBezTo>
                  <a:cubicBezTo>
                    <a:pt x="171" y="1465"/>
                    <a:pt x="185" y="1466"/>
                    <a:pt x="205" y="1458"/>
                  </a:cubicBezTo>
                  <a:cubicBezTo>
                    <a:pt x="209" y="1454"/>
                    <a:pt x="215" y="1450"/>
                    <a:pt x="219" y="1446"/>
                  </a:cubicBezTo>
                  <a:cubicBezTo>
                    <a:pt x="223" y="1442"/>
                    <a:pt x="228" y="1430"/>
                    <a:pt x="232" y="1426"/>
                  </a:cubicBezTo>
                  <a:cubicBezTo>
                    <a:pt x="264" y="1416"/>
                    <a:pt x="247" y="1392"/>
                    <a:pt x="290" y="1368"/>
                  </a:cubicBezTo>
                  <a:cubicBezTo>
                    <a:pt x="310" y="1356"/>
                    <a:pt x="357" y="1339"/>
                    <a:pt x="357" y="1339"/>
                  </a:cubicBezTo>
                  <a:cubicBezTo>
                    <a:pt x="379" y="1339"/>
                    <a:pt x="394" y="1332"/>
                    <a:pt x="418" y="1336"/>
                  </a:cubicBezTo>
                  <a:cubicBezTo>
                    <a:pt x="454" y="1335"/>
                    <a:pt x="472" y="1335"/>
                    <a:pt x="498" y="1309"/>
                  </a:cubicBezTo>
                  <a:cubicBezTo>
                    <a:pt x="535" y="1312"/>
                    <a:pt x="582" y="1305"/>
                    <a:pt x="616" y="1308"/>
                  </a:cubicBezTo>
                  <a:cubicBezTo>
                    <a:pt x="630" y="1317"/>
                    <a:pt x="678" y="1318"/>
                    <a:pt x="700" y="1320"/>
                  </a:cubicBezTo>
                  <a:cubicBezTo>
                    <a:pt x="721" y="1333"/>
                    <a:pt x="729" y="1317"/>
                    <a:pt x="750" y="1296"/>
                  </a:cubicBezTo>
                  <a:cubicBezTo>
                    <a:pt x="750" y="1318"/>
                    <a:pt x="769" y="1350"/>
                    <a:pt x="777" y="1350"/>
                  </a:cubicBezTo>
                  <a:cubicBezTo>
                    <a:pt x="789" y="1344"/>
                    <a:pt x="783" y="1329"/>
                    <a:pt x="855" y="1330"/>
                  </a:cubicBezTo>
                  <a:cubicBezTo>
                    <a:pt x="863" y="1334"/>
                    <a:pt x="859" y="1365"/>
                    <a:pt x="867" y="1365"/>
                  </a:cubicBezTo>
                  <a:cubicBezTo>
                    <a:pt x="875" y="1361"/>
                    <a:pt x="898" y="1344"/>
                    <a:pt x="898" y="1344"/>
                  </a:cubicBezTo>
                  <a:cubicBezTo>
                    <a:pt x="902" y="1336"/>
                    <a:pt x="914" y="1316"/>
                    <a:pt x="922" y="1312"/>
                  </a:cubicBezTo>
                  <a:cubicBezTo>
                    <a:pt x="924" y="1291"/>
                    <a:pt x="964" y="1305"/>
                    <a:pt x="964" y="1305"/>
                  </a:cubicBezTo>
                  <a:cubicBezTo>
                    <a:pt x="976" y="1309"/>
                    <a:pt x="994" y="1304"/>
                    <a:pt x="1006" y="1308"/>
                  </a:cubicBezTo>
                  <a:cubicBezTo>
                    <a:pt x="1012" y="1335"/>
                    <a:pt x="1013" y="1346"/>
                    <a:pt x="1041" y="1350"/>
                  </a:cubicBezTo>
                  <a:cubicBezTo>
                    <a:pt x="1047" y="1323"/>
                    <a:pt x="1066" y="1293"/>
                    <a:pt x="1089" y="1266"/>
                  </a:cubicBezTo>
                  <a:cubicBezTo>
                    <a:pt x="1108" y="1264"/>
                    <a:pt x="1122" y="1252"/>
                    <a:pt x="1132" y="1261"/>
                  </a:cubicBezTo>
                  <a:cubicBezTo>
                    <a:pt x="1144" y="1271"/>
                    <a:pt x="1125" y="1305"/>
                    <a:pt x="1162" y="1327"/>
                  </a:cubicBezTo>
                  <a:cubicBezTo>
                    <a:pt x="1206" y="1315"/>
                    <a:pt x="1159" y="1267"/>
                    <a:pt x="1222" y="1275"/>
                  </a:cubicBezTo>
                  <a:cubicBezTo>
                    <a:pt x="1236" y="1275"/>
                    <a:pt x="1254" y="1241"/>
                    <a:pt x="1270" y="1236"/>
                  </a:cubicBezTo>
                  <a:cubicBezTo>
                    <a:pt x="1309" y="1252"/>
                    <a:pt x="1327" y="1269"/>
                    <a:pt x="1334" y="1284"/>
                  </a:cubicBezTo>
                  <a:cubicBezTo>
                    <a:pt x="1354" y="1288"/>
                    <a:pt x="1389" y="1296"/>
                    <a:pt x="1386" y="1261"/>
                  </a:cubicBezTo>
                  <a:cubicBezTo>
                    <a:pt x="1387" y="1254"/>
                    <a:pt x="1395" y="1246"/>
                    <a:pt x="1392" y="1237"/>
                  </a:cubicBezTo>
                  <a:cubicBezTo>
                    <a:pt x="1389" y="1228"/>
                    <a:pt x="1378" y="1236"/>
                    <a:pt x="1369" y="1204"/>
                  </a:cubicBezTo>
                  <a:cubicBezTo>
                    <a:pt x="1357" y="1140"/>
                    <a:pt x="1370" y="1072"/>
                    <a:pt x="1426" y="1036"/>
                  </a:cubicBezTo>
                  <a:cubicBezTo>
                    <a:pt x="1434" y="1016"/>
                    <a:pt x="1450" y="1017"/>
                    <a:pt x="1447" y="1000"/>
                  </a:cubicBezTo>
                  <a:cubicBezTo>
                    <a:pt x="1491" y="999"/>
                    <a:pt x="1507" y="982"/>
                    <a:pt x="1537" y="975"/>
                  </a:cubicBezTo>
                  <a:cubicBezTo>
                    <a:pt x="1533" y="955"/>
                    <a:pt x="1518" y="940"/>
                    <a:pt x="1498" y="928"/>
                  </a:cubicBezTo>
                  <a:cubicBezTo>
                    <a:pt x="1482" y="904"/>
                    <a:pt x="1466" y="884"/>
                    <a:pt x="1438" y="876"/>
                  </a:cubicBezTo>
                  <a:cubicBezTo>
                    <a:pt x="1418" y="848"/>
                    <a:pt x="1386" y="772"/>
                    <a:pt x="1374" y="748"/>
                  </a:cubicBezTo>
                  <a:cubicBezTo>
                    <a:pt x="1370" y="740"/>
                    <a:pt x="1358" y="724"/>
                    <a:pt x="1358" y="724"/>
                  </a:cubicBezTo>
                  <a:cubicBezTo>
                    <a:pt x="1378" y="684"/>
                    <a:pt x="1462" y="680"/>
                    <a:pt x="1498" y="680"/>
                  </a:cubicBezTo>
                  <a:cubicBezTo>
                    <a:pt x="1514" y="676"/>
                    <a:pt x="1518" y="664"/>
                    <a:pt x="1534" y="660"/>
                  </a:cubicBezTo>
                  <a:cubicBezTo>
                    <a:pt x="1542" y="652"/>
                    <a:pt x="1554" y="648"/>
                    <a:pt x="1558" y="640"/>
                  </a:cubicBezTo>
                  <a:cubicBezTo>
                    <a:pt x="1562" y="632"/>
                    <a:pt x="1566" y="616"/>
                    <a:pt x="1566" y="616"/>
                  </a:cubicBezTo>
                  <a:cubicBezTo>
                    <a:pt x="1558" y="540"/>
                    <a:pt x="1566" y="584"/>
                    <a:pt x="1522" y="556"/>
                  </a:cubicBezTo>
                  <a:cubicBezTo>
                    <a:pt x="1490" y="512"/>
                    <a:pt x="1426" y="512"/>
                    <a:pt x="1378" y="508"/>
                  </a:cubicBezTo>
                  <a:cubicBezTo>
                    <a:pt x="1358" y="480"/>
                    <a:pt x="1354" y="440"/>
                    <a:pt x="1318" y="432"/>
                  </a:cubicBezTo>
                  <a:cubicBezTo>
                    <a:pt x="1274" y="436"/>
                    <a:pt x="1282" y="436"/>
                    <a:pt x="1250" y="416"/>
                  </a:cubicBezTo>
                  <a:cubicBezTo>
                    <a:pt x="1246" y="392"/>
                    <a:pt x="1234" y="368"/>
                    <a:pt x="1210" y="360"/>
                  </a:cubicBezTo>
                  <a:cubicBezTo>
                    <a:pt x="1202" y="332"/>
                    <a:pt x="1154" y="320"/>
                    <a:pt x="1134" y="292"/>
                  </a:cubicBezTo>
                  <a:cubicBezTo>
                    <a:pt x="1118" y="236"/>
                    <a:pt x="1118" y="212"/>
                    <a:pt x="1086" y="168"/>
                  </a:cubicBezTo>
                  <a:cubicBezTo>
                    <a:pt x="1082" y="124"/>
                    <a:pt x="1078" y="48"/>
                    <a:pt x="1046" y="16"/>
                  </a:cubicBezTo>
                  <a:cubicBezTo>
                    <a:pt x="978" y="20"/>
                    <a:pt x="974" y="48"/>
                    <a:pt x="926" y="64"/>
                  </a:cubicBezTo>
                  <a:cubicBezTo>
                    <a:pt x="914" y="80"/>
                    <a:pt x="906" y="80"/>
                    <a:pt x="890" y="84"/>
                  </a:cubicBezTo>
                  <a:cubicBezTo>
                    <a:pt x="878" y="80"/>
                    <a:pt x="854" y="64"/>
                    <a:pt x="854" y="64"/>
                  </a:cubicBezTo>
                  <a:cubicBezTo>
                    <a:pt x="818" y="8"/>
                    <a:pt x="746" y="32"/>
                    <a:pt x="682" y="28"/>
                  </a:cubicBezTo>
                  <a:cubicBezTo>
                    <a:pt x="666" y="24"/>
                    <a:pt x="614" y="0"/>
                    <a:pt x="606" y="16"/>
                  </a:cubicBez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  <p:sp>
          <p:nvSpPr>
            <p:cNvPr id="97" name="Freeform 84"/>
            <p:cNvSpPr>
              <a:spLocks noChangeAspect="1"/>
            </p:cNvSpPr>
            <p:nvPr/>
          </p:nvSpPr>
          <p:spPr bwMode="auto">
            <a:xfrm>
              <a:off x="3135" y="2619"/>
              <a:ext cx="840" cy="578"/>
            </a:xfrm>
            <a:custGeom>
              <a:avLst/>
              <a:gdLst>
                <a:gd name="T0" fmla="*/ 0 w 3327"/>
                <a:gd name="T1" fmla="*/ 0 h 2288"/>
                <a:gd name="T2" fmla="*/ 0 w 3327"/>
                <a:gd name="T3" fmla="*/ 0 h 2288"/>
                <a:gd name="T4" fmla="*/ 0 w 3327"/>
                <a:gd name="T5" fmla="*/ 0 h 2288"/>
                <a:gd name="T6" fmla="*/ 0 w 3327"/>
                <a:gd name="T7" fmla="*/ 0 h 2288"/>
                <a:gd name="T8" fmla="*/ 0 w 3327"/>
                <a:gd name="T9" fmla="*/ 0 h 2288"/>
                <a:gd name="T10" fmla="*/ 0 w 3327"/>
                <a:gd name="T11" fmla="*/ 0 h 2288"/>
                <a:gd name="T12" fmla="*/ 0 w 3327"/>
                <a:gd name="T13" fmla="*/ 0 h 2288"/>
                <a:gd name="T14" fmla="*/ 0 w 3327"/>
                <a:gd name="T15" fmla="*/ 0 h 2288"/>
                <a:gd name="T16" fmla="*/ 0 w 3327"/>
                <a:gd name="T17" fmla="*/ 0 h 2288"/>
                <a:gd name="T18" fmla="*/ 0 w 3327"/>
                <a:gd name="T19" fmla="*/ 0 h 2288"/>
                <a:gd name="T20" fmla="*/ 0 w 3327"/>
                <a:gd name="T21" fmla="*/ 0 h 2288"/>
                <a:gd name="T22" fmla="*/ 0 w 3327"/>
                <a:gd name="T23" fmla="*/ 0 h 2288"/>
                <a:gd name="T24" fmla="*/ 0 w 3327"/>
                <a:gd name="T25" fmla="*/ 0 h 2288"/>
                <a:gd name="T26" fmla="*/ 0 w 3327"/>
                <a:gd name="T27" fmla="*/ 0 h 2288"/>
                <a:gd name="T28" fmla="*/ 0 w 3327"/>
                <a:gd name="T29" fmla="*/ 0 h 2288"/>
                <a:gd name="T30" fmla="*/ 0 w 3327"/>
                <a:gd name="T31" fmla="*/ 0 h 2288"/>
                <a:gd name="T32" fmla="*/ 0 w 3327"/>
                <a:gd name="T33" fmla="*/ 0 h 2288"/>
                <a:gd name="T34" fmla="*/ 0 w 3327"/>
                <a:gd name="T35" fmla="*/ 0 h 2288"/>
                <a:gd name="T36" fmla="*/ 0 w 3327"/>
                <a:gd name="T37" fmla="*/ 0 h 2288"/>
                <a:gd name="T38" fmla="*/ 0 w 3327"/>
                <a:gd name="T39" fmla="*/ 0 h 2288"/>
                <a:gd name="T40" fmla="*/ 0 w 3327"/>
                <a:gd name="T41" fmla="*/ 0 h 2288"/>
                <a:gd name="T42" fmla="*/ 0 w 3327"/>
                <a:gd name="T43" fmla="*/ 0 h 2288"/>
                <a:gd name="T44" fmla="*/ 0 w 3327"/>
                <a:gd name="T45" fmla="*/ 0 h 2288"/>
                <a:gd name="T46" fmla="*/ 0 w 3327"/>
                <a:gd name="T47" fmla="*/ 0 h 2288"/>
                <a:gd name="T48" fmla="*/ 0 w 3327"/>
                <a:gd name="T49" fmla="*/ 0 h 2288"/>
                <a:gd name="T50" fmla="*/ 0 w 3327"/>
                <a:gd name="T51" fmla="*/ 0 h 2288"/>
                <a:gd name="T52" fmla="*/ 0 w 3327"/>
                <a:gd name="T53" fmla="*/ 0 h 2288"/>
                <a:gd name="T54" fmla="*/ 0 w 3327"/>
                <a:gd name="T55" fmla="*/ 0 h 2288"/>
                <a:gd name="T56" fmla="*/ 0 w 3327"/>
                <a:gd name="T57" fmla="*/ 0 h 2288"/>
                <a:gd name="T58" fmla="*/ 0 w 3327"/>
                <a:gd name="T59" fmla="*/ 0 h 2288"/>
                <a:gd name="T60" fmla="*/ 0 w 3327"/>
                <a:gd name="T61" fmla="*/ 0 h 2288"/>
                <a:gd name="T62" fmla="*/ 0 w 3327"/>
                <a:gd name="T63" fmla="*/ 0 h 2288"/>
                <a:gd name="T64" fmla="*/ 0 w 3327"/>
                <a:gd name="T65" fmla="*/ 0 h 2288"/>
                <a:gd name="T66" fmla="*/ 0 w 3327"/>
                <a:gd name="T67" fmla="*/ 0 h 2288"/>
                <a:gd name="T68" fmla="*/ 0 w 3327"/>
                <a:gd name="T69" fmla="*/ 0 h 2288"/>
                <a:gd name="T70" fmla="*/ 0 w 3327"/>
                <a:gd name="T71" fmla="*/ 0 h 2288"/>
                <a:gd name="T72" fmla="*/ 0 w 3327"/>
                <a:gd name="T73" fmla="*/ 0 h 2288"/>
                <a:gd name="T74" fmla="*/ 0 w 3327"/>
                <a:gd name="T75" fmla="*/ 0 h 2288"/>
                <a:gd name="T76" fmla="*/ 0 w 3327"/>
                <a:gd name="T77" fmla="*/ 0 h 2288"/>
                <a:gd name="T78" fmla="*/ 0 w 3327"/>
                <a:gd name="T79" fmla="*/ 0 h 2288"/>
                <a:gd name="T80" fmla="*/ 0 w 3327"/>
                <a:gd name="T81" fmla="*/ 0 h 2288"/>
                <a:gd name="T82" fmla="*/ 0 w 3327"/>
                <a:gd name="T83" fmla="*/ 0 h 2288"/>
                <a:gd name="T84" fmla="*/ 0 w 3327"/>
                <a:gd name="T85" fmla="*/ 0 h 2288"/>
                <a:gd name="T86" fmla="*/ 0 w 3327"/>
                <a:gd name="T87" fmla="*/ 0 h 2288"/>
                <a:gd name="T88" fmla="*/ 0 w 3327"/>
                <a:gd name="T89" fmla="*/ 0 h 2288"/>
                <a:gd name="T90" fmla="*/ 0 w 3327"/>
                <a:gd name="T91" fmla="*/ 0 h 2288"/>
                <a:gd name="T92" fmla="*/ 0 w 3327"/>
                <a:gd name="T93" fmla="*/ 0 h 2288"/>
                <a:gd name="T94" fmla="*/ 0 w 3327"/>
                <a:gd name="T95" fmla="*/ 0 h 2288"/>
                <a:gd name="T96" fmla="*/ 0 w 3327"/>
                <a:gd name="T97" fmla="*/ 0 h 2288"/>
                <a:gd name="T98" fmla="*/ 0 w 3327"/>
                <a:gd name="T99" fmla="*/ 0 h 2288"/>
                <a:gd name="T100" fmla="*/ 0 w 3327"/>
                <a:gd name="T101" fmla="*/ 0 h 2288"/>
                <a:gd name="T102" fmla="*/ 0 w 3327"/>
                <a:gd name="T103" fmla="*/ 0 h 2288"/>
                <a:gd name="T104" fmla="*/ 0 w 3327"/>
                <a:gd name="T105" fmla="*/ 0 h 2288"/>
                <a:gd name="T106" fmla="*/ 0 w 3327"/>
                <a:gd name="T107" fmla="*/ 0 h 2288"/>
                <a:gd name="T108" fmla="*/ 0 w 3327"/>
                <a:gd name="T109" fmla="*/ 0 h 228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3327"/>
                <a:gd name="T166" fmla="*/ 0 h 2288"/>
                <a:gd name="T167" fmla="*/ 3327 w 3327"/>
                <a:gd name="T168" fmla="*/ 2288 h 228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3327" h="2288">
                  <a:moveTo>
                    <a:pt x="1407" y="204"/>
                  </a:moveTo>
                  <a:cubicBezTo>
                    <a:pt x="1403" y="204"/>
                    <a:pt x="1407" y="212"/>
                    <a:pt x="1403" y="216"/>
                  </a:cubicBezTo>
                  <a:cubicBezTo>
                    <a:pt x="1391" y="236"/>
                    <a:pt x="1379" y="248"/>
                    <a:pt x="1359" y="260"/>
                  </a:cubicBezTo>
                  <a:cubicBezTo>
                    <a:pt x="1351" y="272"/>
                    <a:pt x="1347" y="284"/>
                    <a:pt x="1335" y="296"/>
                  </a:cubicBezTo>
                  <a:cubicBezTo>
                    <a:pt x="1331" y="308"/>
                    <a:pt x="1323" y="332"/>
                    <a:pt x="1323" y="332"/>
                  </a:cubicBezTo>
                  <a:cubicBezTo>
                    <a:pt x="1323" y="364"/>
                    <a:pt x="1315" y="416"/>
                    <a:pt x="1347" y="440"/>
                  </a:cubicBezTo>
                  <a:cubicBezTo>
                    <a:pt x="1339" y="492"/>
                    <a:pt x="1339" y="500"/>
                    <a:pt x="1291" y="484"/>
                  </a:cubicBezTo>
                  <a:cubicBezTo>
                    <a:pt x="1279" y="468"/>
                    <a:pt x="1251" y="448"/>
                    <a:pt x="1231" y="440"/>
                  </a:cubicBezTo>
                  <a:cubicBezTo>
                    <a:pt x="1203" y="444"/>
                    <a:pt x="1215" y="452"/>
                    <a:pt x="1195" y="464"/>
                  </a:cubicBezTo>
                  <a:cubicBezTo>
                    <a:pt x="1187" y="484"/>
                    <a:pt x="1183" y="480"/>
                    <a:pt x="1163" y="476"/>
                  </a:cubicBezTo>
                  <a:cubicBezTo>
                    <a:pt x="1131" y="484"/>
                    <a:pt x="1151" y="516"/>
                    <a:pt x="1119" y="528"/>
                  </a:cubicBezTo>
                  <a:cubicBezTo>
                    <a:pt x="1087" y="516"/>
                    <a:pt x="1095" y="492"/>
                    <a:pt x="1087" y="464"/>
                  </a:cubicBezTo>
                  <a:cubicBezTo>
                    <a:pt x="1027" y="468"/>
                    <a:pt x="1055" y="464"/>
                    <a:pt x="1027" y="492"/>
                  </a:cubicBezTo>
                  <a:cubicBezTo>
                    <a:pt x="1023" y="508"/>
                    <a:pt x="1011" y="516"/>
                    <a:pt x="1003" y="528"/>
                  </a:cubicBezTo>
                  <a:cubicBezTo>
                    <a:pt x="999" y="552"/>
                    <a:pt x="995" y="556"/>
                    <a:pt x="975" y="548"/>
                  </a:cubicBezTo>
                  <a:cubicBezTo>
                    <a:pt x="959" y="504"/>
                    <a:pt x="975" y="512"/>
                    <a:pt x="923" y="508"/>
                  </a:cubicBezTo>
                  <a:cubicBezTo>
                    <a:pt x="907" y="504"/>
                    <a:pt x="899" y="500"/>
                    <a:pt x="883" y="504"/>
                  </a:cubicBezTo>
                  <a:cubicBezTo>
                    <a:pt x="871" y="540"/>
                    <a:pt x="847" y="548"/>
                    <a:pt x="823" y="572"/>
                  </a:cubicBezTo>
                  <a:cubicBezTo>
                    <a:pt x="811" y="532"/>
                    <a:pt x="823" y="532"/>
                    <a:pt x="771" y="536"/>
                  </a:cubicBezTo>
                  <a:cubicBezTo>
                    <a:pt x="755" y="540"/>
                    <a:pt x="747" y="548"/>
                    <a:pt x="731" y="552"/>
                  </a:cubicBezTo>
                  <a:cubicBezTo>
                    <a:pt x="711" y="524"/>
                    <a:pt x="714" y="529"/>
                    <a:pt x="710" y="501"/>
                  </a:cubicBezTo>
                  <a:cubicBezTo>
                    <a:pt x="694" y="505"/>
                    <a:pt x="695" y="524"/>
                    <a:pt x="675" y="528"/>
                  </a:cubicBezTo>
                  <a:cubicBezTo>
                    <a:pt x="575" y="516"/>
                    <a:pt x="611" y="528"/>
                    <a:pt x="567" y="512"/>
                  </a:cubicBezTo>
                  <a:cubicBezTo>
                    <a:pt x="527" y="516"/>
                    <a:pt x="491" y="512"/>
                    <a:pt x="451" y="516"/>
                  </a:cubicBezTo>
                  <a:cubicBezTo>
                    <a:pt x="415" y="552"/>
                    <a:pt x="359" y="540"/>
                    <a:pt x="315" y="540"/>
                  </a:cubicBezTo>
                  <a:cubicBezTo>
                    <a:pt x="291" y="552"/>
                    <a:pt x="263" y="568"/>
                    <a:pt x="235" y="576"/>
                  </a:cubicBezTo>
                  <a:cubicBezTo>
                    <a:pt x="219" y="592"/>
                    <a:pt x="211" y="616"/>
                    <a:pt x="187" y="632"/>
                  </a:cubicBezTo>
                  <a:cubicBezTo>
                    <a:pt x="167" y="660"/>
                    <a:pt x="179" y="652"/>
                    <a:pt x="159" y="660"/>
                  </a:cubicBezTo>
                  <a:cubicBezTo>
                    <a:pt x="151" y="672"/>
                    <a:pt x="115" y="684"/>
                    <a:pt x="115" y="684"/>
                  </a:cubicBezTo>
                  <a:cubicBezTo>
                    <a:pt x="110" y="707"/>
                    <a:pt x="107" y="714"/>
                    <a:pt x="98" y="723"/>
                  </a:cubicBezTo>
                  <a:cubicBezTo>
                    <a:pt x="108" y="740"/>
                    <a:pt x="111" y="764"/>
                    <a:pt x="114" y="778"/>
                  </a:cubicBezTo>
                  <a:cubicBezTo>
                    <a:pt x="123" y="793"/>
                    <a:pt x="148" y="796"/>
                    <a:pt x="161" y="810"/>
                  </a:cubicBezTo>
                  <a:cubicBezTo>
                    <a:pt x="169" y="818"/>
                    <a:pt x="177" y="837"/>
                    <a:pt x="183" y="849"/>
                  </a:cubicBezTo>
                  <a:cubicBezTo>
                    <a:pt x="209" y="851"/>
                    <a:pt x="221" y="864"/>
                    <a:pt x="221" y="872"/>
                  </a:cubicBezTo>
                  <a:cubicBezTo>
                    <a:pt x="228" y="908"/>
                    <a:pt x="236" y="933"/>
                    <a:pt x="235" y="956"/>
                  </a:cubicBezTo>
                  <a:cubicBezTo>
                    <a:pt x="235" y="964"/>
                    <a:pt x="239" y="1004"/>
                    <a:pt x="231" y="1012"/>
                  </a:cubicBezTo>
                  <a:cubicBezTo>
                    <a:pt x="215" y="1038"/>
                    <a:pt x="161" y="1092"/>
                    <a:pt x="139" y="1116"/>
                  </a:cubicBezTo>
                  <a:cubicBezTo>
                    <a:pt x="135" y="1132"/>
                    <a:pt x="105" y="1139"/>
                    <a:pt x="99" y="1156"/>
                  </a:cubicBezTo>
                  <a:cubicBezTo>
                    <a:pt x="87" y="1178"/>
                    <a:pt x="87" y="1228"/>
                    <a:pt x="77" y="1253"/>
                  </a:cubicBezTo>
                  <a:cubicBezTo>
                    <a:pt x="67" y="1278"/>
                    <a:pt x="44" y="1290"/>
                    <a:pt x="39" y="1304"/>
                  </a:cubicBezTo>
                  <a:cubicBezTo>
                    <a:pt x="35" y="1316"/>
                    <a:pt x="44" y="1340"/>
                    <a:pt x="44" y="1340"/>
                  </a:cubicBezTo>
                  <a:cubicBezTo>
                    <a:pt x="65" y="1394"/>
                    <a:pt x="63" y="1400"/>
                    <a:pt x="79" y="1448"/>
                  </a:cubicBezTo>
                  <a:cubicBezTo>
                    <a:pt x="59" y="1456"/>
                    <a:pt x="57" y="1479"/>
                    <a:pt x="53" y="1493"/>
                  </a:cubicBezTo>
                  <a:cubicBezTo>
                    <a:pt x="35" y="1509"/>
                    <a:pt x="19" y="1544"/>
                    <a:pt x="19" y="1544"/>
                  </a:cubicBezTo>
                  <a:cubicBezTo>
                    <a:pt x="15" y="1596"/>
                    <a:pt x="8" y="1638"/>
                    <a:pt x="0" y="1664"/>
                  </a:cubicBezTo>
                  <a:cubicBezTo>
                    <a:pt x="18" y="1683"/>
                    <a:pt x="21" y="1685"/>
                    <a:pt x="29" y="1700"/>
                  </a:cubicBezTo>
                  <a:cubicBezTo>
                    <a:pt x="56" y="1698"/>
                    <a:pt x="115" y="1703"/>
                    <a:pt x="139" y="1712"/>
                  </a:cubicBezTo>
                  <a:cubicBezTo>
                    <a:pt x="159" y="1742"/>
                    <a:pt x="155" y="1752"/>
                    <a:pt x="161" y="1773"/>
                  </a:cubicBezTo>
                  <a:cubicBezTo>
                    <a:pt x="213" y="1671"/>
                    <a:pt x="279" y="1743"/>
                    <a:pt x="348" y="1728"/>
                  </a:cubicBezTo>
                  <a:cubicBezTo>
                    <a:pt x="408" y="1732"/>
                    <a:pt x="476" y="1735"/>
                    <a:pt x="536" y="1739"/>
                  </a:cubicBezTo>
                  <a:cubicBezTo>
                    <a:pt x="572" y="1719"/>
                    <a:pt x="575" y="1713"/>
                    <a:pt x="618" y="1704"/>
                  </a:cubicBezTo>
                  <a:cubicBezTo>
                    <a:pt x="646" y="1688"/>
                    <a:pt x="695" y="1668"/>
                    <a:pt x="723" y="1656"/>
                  </a:cubicBezTo>
                  <a:cubicBezTo>
                    <a:pt x="735" y="1616"/>
                    <a:pt x="774" y="1616"/>
                    <a:pt x="810" y="1604"/>
                  </a:cubicBezTo>
                  <a:cubicBezTo>
                    <a:pt x="822" y="1566"/>
                    <a:pt x="843" y="1538"/>
                    <a:pt x="902" y="1529"/>
                  </a:cubicBezTo>
                  <a:cubicBezTo>
                    <a:pt x="896" y="1515"/>
                    <a:pt x="871" y="1517"/>
                    <a:pt x="879" y="1505"/>
                  </a:cubicBezTo>
                  <a:cubicBezTo>
                    <a:pt x="878" y="1482"/>
                    <a:pt x="875" y="1464"/>
                    <a:pt x="919" y="1468"/>
                  </a:cubicBezTo>
                  <a:cubicBezTo>
                    <a:pt x="939" y="1464"/>
                    <a:pt x="971" y="1461"/>
                    <a:pt x="978" y="1430"/>
                  </a:cubicBezTo>
                  <a:cubicBezTo>
                    <a:pt x="1010" y="1424"/>
                    <a:pt x="1030" y="1420"/>
                    <a:pt x="1062" y="1416"/>
                  </a:cubicBezTo>
                  <a:cubicBezTo>
                    <a:pt x="1083" y="1424"/>
                    <a:pt x="1079" y="1424"/>
                    <a:pt x="1095" y="1436"/>
                  </a:cubicBezTo>
                  <a:cubicBezTo>
                    <a:pt x="1107" y="1448"/>
                    <a:pt x="1132" y="1452"/>
                    <a:pt x="1148" y="1452"/>
                  </a:cubicBezTo>
                  <a:cubicBezTo>
                    <a:pt x="1199" y="1472"/>
                    <a:pt x="1194" y="1470"/>
                    <a:pt x="1260" y="1466"/>
                  </a:cubicBezTo>
                  <a:cubicBezTo>
                    <a:pt x="1280" y="1474"/>
                    <a:pt x="1273" y="1475"/>
                    <a:pt x="1289" y="1487"/>
                  </a:cubicBezTo>
                  <a:cubicBezTo>
                    <a:pt x="1371" y="1491"/>
                    <a:pt x="1383" y="1499"/>
                    <a:pt x="1388" y="1538"/>
                  </a:cubicBezTo>
                  <a:cubicBezTo>
                    <a:pt x="1376" y="1604"/>
                    <a:pt x="1370" y="1614"/>
                    <a:pt x="1395" y="1612"/>
                  </a:cubicBezTo>
                  <a:cubicBezTo>
                    <a:pt x="1403" y="1628"/>
                    <a:pt x="1416" y="1620"/>
                    <a:pt x="1427" y="1640"/>
                  </a:cubicBezTo>
                  <a:cubicBezTo>
                    <a:pt x="1439" y="1644"/>
                    <a:pt x="1476" y="1649"/>
                    <a:pt x="1476" y="1649"/>
                  </a:cubicBezTo>
                  <a:cubicBezTo>
                    <a:pt x="1492" y="1673"/>
                    <a:pt x="1491" y="1720"/>
                    <a:pt x="1515" y="1736"/>
                  </a:cubicBezTo>
                  <a:cubicBezTo>
                    <a:pt x="1523" y="1760"/>
                    <a:pt x="1535" y="1760"/>
                    <a:pt x="1539" y="1780"/>
                  </a:cubicBezTo>
                  <a:cubicBezTo>
                    <a:pt x="1546" y="1791"/>
                    <a:pt x="1548" y="1787"/>
                    <a:pt x="1557" y="1802"/>
                  </a:cubicBezTo>
                  <a:cubicBezTo>
                    <a:pt x="1590" y="1821"/>
                    <a:pt x="1617" y="1845"/>
                    <a:pt x="1637" y="1859"/>
                  </a:cubicBezTo>
                  <a:lnTo>
                    <a:pt x="1640" y="1886"/>
                  </a:lnTo>
                  <a:cubicBezTo>
                    <a:pt x="1592" y="1894"/>
                    <a:pt x="1557" y="1899"/>
                    <a:pt x="1505" y="1907"/>
                  </a:cubicBezTo>
                  <a:cubicBezTo>
                    <a:pt x="1476" y="1901"/>
                    <a:pt x="1455" y="1895"/>
                    <a:pt x="1433" y="1893"/>
                  </a:cubicBezTo>
                  <a:cubicBezTo>
                    <a:pt x="1417" y="1897"/>
                    <a:pt x="1428" y="1910"/>
                    <a:pt x="1424" y="1926"/>
                  </a:cubicBezTo>
                  <a:cubicBezTo>
                    <a:pt x="1424" y="1937"/>
                    <a:pt x="1424" y="1949"/>
                    <a:pt x="1430" y="1961"/>
                  </a:cubicBezTo>
                  <a:cubicBezTo>
                    <a:pt x="1448" y="1980"/>
                    <a:pt x="1461" y="2006"/>
                    <a:pt x="1463" y="2022"/>
                  </a:cubicBezTo>
                  <a:cubicBezTo>
                    <a:pt x="1440" y="2061"/>
                    <a:pt x="1446" y="2058"/>
                    <a:pt x="1437" y="2067"/>
                  </a:cubicBezTo>
                  <a:cubicBezTo>
                    <a:pt x="1449" y="2035"/>
                    <a:pt x="1416" y="2112"/>
                    <a:pt x="1407" y="2140"/>
                  </a:cubicBezTo>
                  <a:cubicBezTo>
                    <a:pt x="1399" y="2164"/>
                    <a:pt x="1410" y="2187"/>
                    <a:pt x="1400" y="2216"/>
                  </a:cubicBezTo>
                  <a:cubicBezTo>
                    <a:pt x="1384" y="2212"/>
                    <a:pt x="1371" y="2231"/>
                    <a:pt x="1355" y="2235"/>
                  </a:cubicBezTo>
                  <a:cubicBezTo>
                    <a:pt x="1368" y="2270"/>
                    <a:pt x="1386" y="2271"/>
                    <a:pt x="1433" y="2280"/>
                  </a:cubicBezTo>
                  <a:cubicBezTo>
                    <a:pt x="1453" y="2288"/>
                    <a:pt x="1447" y="2267"/>
                    <a:pt x="1463" y="2259"/>
                  </a:cubicBezTo>
                  <a:cubicBezTo>
                    <a:pt x="1478" y="2247"/>
                    <a:pt x="1490" y="2241"/>
                    <a:pt x="1503" y="2234"/>
                  </a:cubicBezTo>
                  <a:cubicBezTo>
                    <a:pt x="1515" y="2222"/>
                    <a:pt x="1511" y="2197"/>
                    <a:pt x="1523" y="2189"/>
                  </a:cubicBezTo>
                  <a:cubicBezTo>
                    <a:pt x="1565" y="2178"/>
                    <a:pt x="1616" y="2169"/>
                    <a:pt x="1643" y="2186"/>
                  </a:cubicBezTo>
                  <a:cubicBezTo>
                    <a:pt x="1647" y="2154"/>
                    <a:pt x="1635" y="2132"/>
                    <a:pt x="1659" y="2116"/>
                  </a:cubicBezTo>
                  <a:cubicBezTo>
                    <a:pt x="1663" y="2096"/>
                    <a:pt x="1663" y="2068"/>
                    <a:pt x="1687" y="2060"/>
                  </a:cubicBezTo>
                  <a:cubicBezTo>
                    <a:pt x="1703" y="2036"/>
                    <a:pt x="1719" y="2016"/>
                    <a:pt x="1731" y="1988"/>
                  </a:cubicBezTo>
                  <a:cubicBezTo>
                    <a:pt x="1739" y="1956"/>
                    <a:pt x="1743" y="1924"/>
                    <a:pt x="1755" y="1892"/>
                  </a:cubicBezTo>
                  <a:cubicBezTo>
                    <a:pt x="1759" y="1868"/>
                    <a:pt x="1755" y="1840"/>
                    <a:pt x="1783" y="1832"/>
                  </a:cubicBezTo>
                  <a:cubicBezTo>
                    <a:pt x="1799" y="1816"/>
                    <a:pt x="1807" y="1804"/>
                    <a:pt x="1831" y="1796"/>
                  </a:cubicBezTo>
                  <a:cubicBezTo>
                    <a:pt x="1855" y="1756"/>
                    <a:pt x="1867" y="1736"/>
                    <a:pt x="1915" y="1724"/>
                  </a:cubicBezTo>
                  <a:cubicBezTo>
                    <a:pt x="1939" y="1708"/>
                    <a:pt x="1943" y="1692"/>
                    <a:pt x="1959" y="1668"/>
                  </a:cubicBezTo>
                  <a:cubicBezTo>
                    <a:pt x="1991" y="1684"/>
                    <a:pt x="1983" y="1708"/>
                    <a:pt x="1995" y="1736"/>
                  </a:cubicBezTo>
                  <a:cubicBezTo>
                    <a:pt x="1983" y="1772"/>
                    <a:pt x="1991" y="1756"/>
                    <a:pt x="1979" y="1788"/>
                  </a:cubicBezTo>
                  <a:cubicBezTo>
                    <a:pt x="1979" y="1792"/>
                    <a:pt x="1975" y="1800"/>
                    <a:pt x="1975" y="1800"/>
                  </a:cubicBezTo>
                  <a:cubicBezTo>
                    <a:pt x="1983" y="1868"/>
                    <a:pt x="2027" y="1836"/>
                    <a:pt x="2067" y="1812"/>
                  </a:cubicBezTo>
                  <a:cubicBezTo>
                    <a:pt x="2111" y="1784"/>
                    <a:pt x="2167" y="1808"/>
                    <a:pt x="2219" y="1808"/>
                  </a:cubicBezTo>
                  <a:cubicBezTo>
                    <a:pt x="2259" y="1800"/>
                    <a:pt x="2239" y="1804"/>
                    <a:pt x="2271" y="1796"/>
                  </a:cubicBezTo>
                  <a:cubicBezTo>
                    <a:pt x="2299" y="1776"/>
                    <a:pt x="2303" y="1776"/>
                    <a:pt x="2335" y="1772"/>
                  </a:cubicBezTo>
                  <a:cubicBezTo>
                    <a:pt x="2343" y="1796"/>
                    <a:pt x="2347" y="1820"/>
                    <a:pt x="2323" y="1836"/>
                  </a:cubicBezTo>
                  <a:cubicBezTo>
                    <a:pt x="2311" y="1856"/>
                    <a:pt x="2319" y="1888"/>
                    <a:pt x="2295" y="1896"/>
                  </a:cubicBezTo>
                  <a:cubicBezTo>
                    <a:pt x="2275" y="1916"/>
                    <a:pt x="2271" y="1936"/>
                    <a:pt x="2251" y="1952"/>
                  </a:cubicBezTo>
                  <a:cubicBezTo>
                    <a:pt x="2243" y="1960"/>
                    <a:pt x="2227" y="1976"/>
                    <a:pt x="2227" y="1976"/>
                  </a:cubicBezTo>
                  <a:cubicBezTo>
                    <a:pt x="2223" y="1992"/>
                    <a:pt x="2211" y="2024"/>
                    <a:pt x="2211" y="2024"/>
                  </a:cubicBezTo>
                  <a:cubicBezTo>
                    <a:pt x="2231" y="2052"/>
                    <a:pt x="2259" y="2024"/>
                    <a:pt x="2283" y="2016"/>
                  </a:cubicBezTo>
                  <a:cubicBezTo>
                    <a:pt x="2315" y="2028"/>
                    <a:pt x="2339" y="2004"/>
                    <a:pt x="2383" y="2028"/>
                  </a:cubicBezTo>
                  <a:cubicBezTo>
                    <a:pt x="2411" y="2036"/>
                    <a:pt x="2435" y="2044"/>
                    <a:pt x="2455" y="2072"/>
                  </a:cubicBezTo>
                  <a:cubicBezTo>
                    <a:pt x="2479" y="2112"/>
                    <a:pt x="2459" y="2176"/>
                    <a:pt x="2503" y="2204"/>
                  </a:cubicBezTo>
                  <a:cubicBezTo>
                    <a:pt x="2555" y="2196"/>
                    <a:pt x="2559" y="2192"/>
                    <a:pt x="2599" y="2180"/>
                  </a:cubicBezTo>
                  <a:cubicBezTo>
                    <a:pt x="2611" y="2164"/>
                    <a:pt x="2619" y="2168"/>
                    <a:pt x="2623" y="2148"/>
                  </a:cubicBezTo>
                  <a:cubicBezTo>
                    <a:pt x="2627" y="2124"/>
                    <a:pt x="2623" y="2104"/>
                    <a:pt x="2643" y="2088"/>
                  </a:cubicBezTo>
                  <a:cubicBezTo>
                    <a:pt x="2647" y="2076"/>
                    <a:pt x="2659" y="2060"/>
                    <a:pt x="2667" y="2052"/>
                  </a:cubicBezTo>
                  <a:cubicBezTo>
                    <a:pt x="2683" y="2040"/>
                    <a:pt x="2703" y="2016"/>
                    <a:pt x="2723" y="2000"/>
                  </a:cubicBezTo>
                  <a:cubicBezTo>
                    <a:pt x="2731" y="1980"/>
                    <a:pt x="2767" y="1980"/>
                    <a:pt x="2775" y="1956"/>
                  </a:cubicBezTo>
                  <a:cubicBezTo>
                    <a:pt x="2779" y="1928"/>
                    <a:pt x="2783" y="1924"/>
                    <a:pt x="2803" y="1908"/>
                  </a:cubicBezTo>
                  <a:cubicBezTo>
                    <a:pt x="2811" y="1904"/>
                    <a:pt x="2827" y="1892"/>
                    <a:pt x="2827" y="1892"/>
                  </a:cubicBezTo>
                  <a:cubicBezTo>
                    <a:pt x="2875" y="1904"/>
                    <a:pt x="2847" y="1900"/>
                    <a:pt x="2907" y="1896"/>
                  </a:cubicBezTo>
                  <a:cubicBezTo>
                    <a:pt x="2931" y="1888"/>
                    <a:pt x="2931" y="1880"/>
                    <a:pt x="2943" y="1860"/>
                  </a:cubicBezTo>
                  <a:cubicBezTo>
                    <a:pt x="2955" y="1812"/>
                    <a:pt x="2983" y="1768"/>
                    <a:pt x="2995" y="1716"/>
                  </a:cubicBezTo>
                  <a:cubicBezTo>
                    <a:pt x="2995" y="1712"/>
                    <a:pt x="2963" y="1728"/>
                    <a:pt x="2955" y="1728"/>
                  </a:cubicBezTo>
                  <a:cubicBezTo>
                    <a:pt x="2919" y="1736"/>
                    <a:pt x="2879" y="1744"/>
                    <a:pt x="2847" y="1764"/>
                  </a:cubicBezTo>
                  <a:cubicBezTo>
                    <a:pt x="2835" y="1804"/>
                    <a:pt x="2823" y="1808"/>
                    <a:pt x="2787" y="1832"/>
                  </a:cubicBezTo>
                  <a:cubicBezTo>
                    <a:pt x="2759" y="1828"/>
                    <a:pt x="2739" y="1812"/>
                    <a:pt x="2715" y="1796"/>
                  </a:cubicBezTo>
                  <a:cubicBezTo>
                    <a:pt x="2691" y="1760"/>
                    <a:pt x="2675" y="1772"/>
                    <a:pt x="2643" y="1748"/>
                  </a:cubicBezTo>
                  <a:cubicBezTo>
                    <a:pt x="2631" y="1740"/>
                    <a:pt x="2607" y="1724"/>
                    <a:pt x="2607" y="1724"/>
                  </a:cubicBezTo>
                  <a:cubicBezTo>
                    <a:pt x="2603" y="1708"/>
                    <a:pt x="2579" y="1676"/>
                    <a:pt x="2579" y="1676"/>
                  </a:cubicBezTo>
                  <a:cubicBezTo>
                    <a:pt x="2587" y="1640"/>
                    <a:pt x="2579" y="1644"/>
                    <a:pt x="2623" y="1640"/>
                  </a:cubicBezTo>
                  <a:cubicBezTo>
                    <a:pt x="2655" y="1616"/>
                    <a:pt x="2647" y="1584"/>
                    <a:pt x="2667" y="1556"/>
                  </a:cubicBezTo>
                  <a:cubicBezTo>
                    <a:pt x="2671" y="1536"/>
                    <a:pt x="2679" y="1492"/>
                    <a:pt x="2695" y="1476"/>
                  </a:cubicBezTo>
                  <a:cubicBezTo>
                    <a:pt x="2703" y="1468"/>
                    <a:pt x="2719" y="1460"/>
                    <a:pt x="2719" y="1460"/>
                  </a:cubicBezTo>
                  <a:cubicBezTo>
                    <a:pt x="2727" y="1436"/>
                    <a:pt x="2747" y="1428"/>
                    <a:pt x="2767" y="1420"/>
                  </a:cubicBezTo>
                  <a:cubicBezTo>
                    <a:pt x="2783" y="1400"/>
                    <a:pt x="2787" y="1396"/>
                    <a:pt x="2811" y="1388"/>
                  </a:cubicBezTo>
                  <a:cubicBezTo>
                    <a:pt x="2831" y="1368"/>
                    <a:pt x="2859" y="1372"/>
                    <a:pt x="2887" y="1368"/>
                  </a:cubicBezTo>
                  <a:cubicBezTo>
                    <a:pt x="2895" y="1324"/>
                    <a:pt x="2891" y="1308"/>
                    <a:pt x="2935" y="1296"/>
                  </a:cubicBezTo>
                  <a:cubicBezTo>
                    <a:pt x="2947" y="1280"/>
                    <a:pt x="2963" y="1260"/>
                    <a:pt x="2979" y="1248"/>
                  </a:cubicBezTo>
                  <a:cubicBezTo>
                    <a:pt x="2991" y="1216"/>
                    <a:pt x="3019" y="1188"/>
                    <a:pt x="3051" y="1176"/>
                  </a:cubicBezTo>
                  <a:cubicBezTo>
                    <a:pt x="3063" y="1164"/>
                    <a:pt x="3083" y="1152"/>
                    <a:pt x="3099" y="1148"/>
                  </a:cubicBezTo>
                  <a:cubicBezTo>
                    <a:pt x="3119" y="1120"/>
                    <a:pt x="3095" y="1060"/>
                    <a:pt x="3075" y="1032"/>
                  </a:cubicBezTo>
                  <a:cubicBezTo>
                    <a:pt x="3071" y="1000"/>
                    <a:pt x="3071" y="976"/>
                    <a:pt x="3079" y="956"/>
                  </a:cubicBezTo>
                  <a:cubicBezTo>
                    <a:pt x="3083" y="940"/>
                    <a:pt x="3107" y="916"/>
                    <a:pt x="3127" y="908"/>
                  </a:cubicBezTo>
                  <a:cubicBezTo>
                    <a:pt x="3135" y="880"/>
                    <a:pt x="3195" y="868"/>
                    <a:pt x="3223" y="860"/>
                  </a:cubicBezTo>
                  <a:cubicBezTo>
                    <a:pt x="3251" y="840"/>
                    <a:pt x="3291" y="848"/>
                    <a:pt x="3319" y="828"/>
                  </a:cubicBezTo>
                  <a:cubicBezTo>
                    <a:pt x="3315" y="776"/>
                    <a:pt x="3327" y="788"/>
                    <a:pt x="3295" y="756"/>
                  </a:cubicBezTo>
                  <a:cubicBezTo>
                    <a:pt x="3275" y="700"/>
                    <a:pt x="3231" y="576"/>
                    <a:pt x="3203" y="512"/>
                  </a:cubicBezTo>
                  <a:cubicBezTo>
                    <a:pt x="3219" y="396"/>
                    <a:pt x="3219" y="360"/>
                    <a:pt x="3139" y="348"/>
                  </a:cubicBezTo>
                  <a:cubicBezTo>
                    <a:pt x="3091" y="328"/>
                    <a:pt x="3031" y="360"/>
                    <a:pt x="2979" y="344"/>
                  </a:cubicBezTo>
                  <a:cubicBezTo>
                    <a:pt x="2935" y="360"/>
                    <a:pt x="2951" y="364"/>
                    <a:pt x="2887" y="368"/>
                  </a:cubicBezTo>
                  <a:cubicBezTo>
                    <a:pt x="2795" y="332"/>
                    <a:pt x="2779" y="368"/>
                    <a:pt x="2727" y="384"/>
                  </a:cubicBezTo>
                  <a:cubicBezTo>
                    <a:pt x="2679" y="380"/>
                    <a:pt x="2691" y="376"/>
                    <a:pt x="2659" y="344"/>
                  </a:cubicBezTo>
                  <a:cubicBezTo>
                    <a:pt x="2643" y="328"/>
                    <a:pt x="2595" y="328"/>
                    <a:pt x="2575" y="320"/>
                  </a:cubicBezTo>
                  <a:cubicBezTo>
                    <a:pt x="2543" y="320"/>
                    <a:pt x="2523" y="368"/>
                    <a:pt x="2491" y="380"/>
                  </a:cubicBezTo>
                  <a:cubicBezTo>
                    <a:pt x="2459" y="392"/>
                    <a:pt x="2403" y="392"/>
                    <a:pt x="2379" y="396"/>
                  </a:cubicBezTo>
                  <a:cubicBezTo>
                    <a:pt x="2363" y="404"/>
                    <a:pt x="2351" y="408"/>
                    <a:pt x="2335" y="412"/>
                  </a:cubicBezTo>
                  <a:cubicBezTo>
                    <a:pt x="2307" y="412"/>
                    <a:pt x="2279" y="416"/>
                    <a:pt x="2251" y="408"/>
                  </a:cubicBezTo>
                  <a:cubicBezTo>
                    <a:pt x="2247" y="408"/>
                    <a:pt x="2231" y="316"/>
                    <a:pt x="2211" y="296"/>
                  </a:cubicBezTo>
                  <a:cubicBezTo>
                    <a:pt x="2179" y="240"/>
                    <a:pt x="2095" y="276"/>
                    <a:pt x="2055" y="272"/>
                  </a:cubicBezTo>
                  <a:cubicBezTo>
                    <a:pt x="2011" y="276"/>
                    <a:pt x="1995" y="288"/>
                    <a:pt x="1979" y="244"/>
                  </a:cubicBezTo>
                  <a:cubicBezTo>
                    <a:pt x="1979" y="220"/>
                    <a:pt x="1967" y="156"/>
                    <a:pt x="1959" y="128"/>
                  </a:cubicBezTo>
                  <a:cubicBezTo>
                    <a:pt x="1939" y="92"/>
                    <a:pt x="1875" y="36"/>
                    <a:pt x="1831" y="20"/>
                  </a:cubicBezTo>
                  <a:cubicBezTo>
                    <a:pt x="1803" y="0"/>
                    <a:pt x="1735" y="32"/>
                    <a:pt x="1695" y="36"/>
                  </a:cubicBezTo>
                  <a:cubicBezTo>
                    <a:pt x="1667" y="52"/>
                    <a:pt x="1627" y="72"/>
                    <a:pt x="1599" y="80"/>
                  </a:cubicBezTo>
                  <a:cubicBezTo>
                    <a:pt x="1595" y="92"/>
                    <a:pt x="1583" y="108"/>
                    <a:pt x="1575" y="116"/>
                  </a:cubicBezTo>
                  <a:cubicBezTo>
                    <a:pt x="1567" y="124"/>
                    <a:pt x="1539" y="180"/>
                    <a:pt x="1539" y="180"/>
                  </a:cubicBezTo>
                  <a:cubicBezTo>
                    <a:pt x="1519" y="208"/>
                    <a:pt x="1515" y="172"/>
                    <a:pt x="1483" y="180"/>
                  </a:cubicBezTo>
                  <a:cubicBezTo>
                    <a:pt x="1471" y="188"/>
                    <a:pt x="1443" y="196"/>
                    <a:pt x="1443" y="196"/>
                  </a:cubicBezTo>
                  <a:lnTo>
                    <a:pt x="1407" y="204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  <p:sp>
          <p:nvSpPr>
            <p:cNvPr id="98" name="Freeform 85"/>
            <p:cNvSpPr>
              <a:spLocks noChangeAspect="1"/>
            </p:cNvSpPr>
            <p:nvPr/>
          </p:nvSpPr>
          <p:spPr bwMode="auto">
            <a:xfrm>
              <a:off x="3353" y="2976"/>
              <a:ext cx="196" cy="209"/>
            </a:xfrm>
            <a:custGeom>
              <a:avLst/>
              <a:gdLst>
                <a:gd name="T0" fmla="*/ 0 w 776"/>
                <a:gd name="T1" fmla="*/ 0 h 826"/>
                <a:gd name="T2" fmla="*/ 0 w 776"/>
                <a:gd name="T3" fmla="*/ 0 h 826"/>
                <a:gd name="T4" fmla="*/ 0 w 776"/>
                <a:gd name="T5" fmla="*/ 0 h 826"/>
                <a:gd name="T6" fmla="*/ 0 w 776"/>
                <a:gd name="T7" fmla="*/ 0 h 826"/>
                <a:gd name="T8" fmla="*/ 0 w 776"/>
                <a:gd name="T9" fmla="*/ 0 h 826"/>
                <a:gd name="T10" fmla="*/ 0 w 776"/>
                <a:gd name="T11" fmla="*/ 0 h 826"/>
                <a:gd name="T12" fmla="*/ 0 w 776"/>
                <a:gd name="T13" fmla="*/ 0 h 826"/>
                <a:gd name="T14" fmla="*/ 0 w 776"/>
                <a:gd name="T15" fmla="*/ 0 h 826"/>
                <a:gd name="T16" fmla="*/ 0 w 776"/>
                <a:gd name="T17" fmla="*/ 0 h 826"/>
                <a:gd name="T18" fmla="*/ 0 w 776"/>
                <a:gd name="T19" fmla="*/ 0 h 826"/>
                <a:gd name="T20" fmla="*/ 0 w 776"/>
                <a:gd name="T21" fmla="*/ 0 h 826"/>
                <a:gd name="T22" fmla="*/ 0 w 776"/>
                <a:gd name="T23" fmla="*/ 0 h 826"/>
                <a:gd name="T24" fmla="*/ 0 w 776"/>
                <a:gd name="T25" fmla="*/ 0 h 826"/>
                <a:gd name="T26" fmla="*/ 0 w 776"/>
                <a:gd name="T27" fmla="*/ 0 h 826"/>
                <a:gd name="T28" fmla="*/ 0 w 776"/>
                <a:gd name="T29" fmla="*/ 0 h 826"/>
                <a:gd name="T30" fmla="*/ 0 w 776"/>
                <a:gd name="T31" fmla="*/ 0 h 826"/>
                <a:gd name="T32" fmla="*/ 0 w 776"/>
                <a:gd name="T33" fmla="*/ 0 h 826"/>
                <a:gd name="T34" fmla="*/ 0 w 776"/>
                <a:gd name="T35" fmla="*/ 0 h 826"/>
                <a:gd name="T36" fmla="*/ 0 w 776"/>
                <a:gd name="T37" fmla="*/ 0 h 826"/>
                <a:gd name="T38" fmla="*/ 0 w 776"/>
                <a:gd name="T39" fmla="*/ 0 h 826"/>
                <a:gd name="T40" fmla="*/ 0 w 776"/>
                <a:gd name="T41" fmla="*/ 0 h 826"/>
                <a:gd name="T42" fmla="*/ 0 w 776"/>
                <a:gd name="T43" fmla="*/ 0 h 826"/>
                <a:gd name="T44" fmla="*/ 0 w 776"/>
                <a:gd name="T45" fmla="*/ 0 h 826"/>
                <a:gd name="T46" fmla="*/ 0 w 776"/>
                <a:gd name="T47" fmla="*/ 0 h 826"/>
                <a:gd name="T48" fmla="*/ 0 w 776"/>
                <a:gd name="T49" fmla="*/ 0 h 826"/>
                <a:gd name="T50" fmla="*/ 0 w 776"/>
                <a:gd name="T51" fmla="*/ 0 h 826"/>
                <a:gd name="T52" fmla="*/ 0 w 776"/>
                <a:gd name="T53" fmla="*/ 0 h 826"/>
                <a:gd name="T54" fmla="*/ 0 w 776"/>
                <a:gd name="T55" fmla="*/ 0 h 826"/>
                <a:gd name="T56" fmla="*/ 0 w 776"/>
                <a:gd name="T57" fmla="*/ 0 h 826"/>
                <a:gd name="T58" fmla="*/ 0 w 776"/>
                <a:gd name="T59" fmla="*/ 0 h 826"/>
                <a:gd name="T60" fmla="*/ 0 w 776"/>
                <a:gd name="T61" fmla="*/ 0 h 826"/>
                <a:gd name="T62" fmla="*/ 0 w 776"/>
                <a:gd name="T63" fmla="*/ 0 h 82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776"/>
                <a:gd name="T97" fmla="*/ 0 h 826"/>
                <a:gd name="T98" fmla="*/ 776 w 776"/>
                <a:gd name="T99" fmla="*/ 826 h 82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776" h="826">
                  <a:moveTo>
                    <a:pt x="484" y="824"/>
                  </a:moveTo>
                  <a:cubicBezTo>
                    <a:pt x="503" y="815"/>
                    <a:pt x="500" y="803"/>
                    <a:pt x="532" y="800"/>
                  </a:cubicBezTo>
                  <a:cubicBezTo>
                    <a:pt x="544" y="764"/>
                    <a:pt x="532" y="728"/>
                    <a:pt x="552" y="696"/>
                  </a:cubicBezTo>
                  <a:cubicBezTo>
                    <a:pt x="560" y="660"/>
                    <a:pt x="580" y="640"/>
                    <a:pt x="592" y="608"/>
                  </a:cubicBezTo>
                  <a:cubicBezTo>
                    <a:pt x="588" y="584"/>
                    <a:pt x="580" y="564"/>
                    <a:pt x="564" y="548"/>
                  </a:cubicBezTo>
                  <a:cubicBezTo>
                    <a:pt x="556" y="504"/>
                    <a:pt x="544" y="484"/>
                    <a:pt x="576" y="476"/>
                  </a:cubicBezTo>
                  <a:cubicBezTo>
                    <a:pt x="596" y="480"/>
                    <a:pt x="640" y="492"/>
                    <a:pt x="640" y="492"/>
                  </a:cubicBezTo>
                  <a:cubicBezTo>
                    <a:pt x="688" y="488"/>
                    <a:pt x="728" y="476"/>
                    <a:pt x="776" y="468"/>
                  </a:cubicBezTo>
                  <a:cubicBezTo>
                    <a:pt x="772" y="448"/>
                    <a:pt x="768" y="440"/>
                    <a:pt x="748" y="432"/>
                  </a:cubicBezTo>
                  <a:cubicBezTo>
                    <a:pt x="740" y="416"/>
                    <a:pt x="704" y="392"/>
                    <a:pt x="688" y="384"/>
                  </a:cubicBezTo>
                  <a:cubicBezTo>
                    <a:pt x="680" y="360"/>
                    <a:pt x="656" y="336"/>
                    <a:pt x="640" y="312"/>
                  </a:cubicBezTo>
                  <a:cubicBezTo>
                    <a:pt x="604" y="260"/>
                    <a:pt x="652" y="232"/>
                    <a:pt x="556" y="224"/>
                  </a:cubicBezTo>
                  <a:cubicBezTo>
                    <a:pt x="540" y="196"/>
                    <a:pt x="532" y="204"/>
                    <a:pt x="508" y="188"/>
                  </a:cubicBezTo>
                  <a:cubicBezTo>
                    <a:pt x="528" y="84"/>
                    <a:pt x="536" y="76"/>
                    <a:pt x="420" y="72"/>
                  </a:cubicBezTo>
                  <a:cubicBezTo>
                    <a:pt x="416" y="56"/>
                    <a:pt x="400" y="56"/>
                    <a:pt x="388" y="48"/>
                  </a:cubicBezTo>
                  <a:cubicBezTo>
                    <a:pt x="344" y="64"/>
                    <a:pt x="288" y="36"/>
                    <a:pt x="244" y="28"/>
                  </a:cubicBezTo>
                  <a:cubicBezTo>
                    <a:pt x="228" y="16"/>
                    <a:pt x="196" y="0"/>
                    <a:pt x="196" y="0"/>
                  </a:cubicBezTo>
                  <a:cubicBezTo>
                    <a:pt x="168" y="4"/>
                    <a:pt x="112" y="12"/>
                    <a:pt x="112" y="12"/>
                  </a:cubicBezTo>
                  <a:cubicBezTo>
                    <a:pt x="96" y="56"/>
                    <a:pt x="56" y="52"/>
                    <a:pt x="16" y="56"/>
                  </a:cubicBezTo>
                  <a:cubicBezTo>
                    <a:pt x="0" y="104"/>
                    <a:pt x="16" y="92"/>
                    <a:pt x="48" y="124"/>
                  </a:cubicBezTo>
                  <a:cubicBezTo>
                    <a:pt x="52" y="136"/>
                    <a:pt x="60" y="156"/>
                    <a:pt x="100" y="172"/>
                  </a:cubicBezTo>
                  <a:cubicBezTo>
                    <a:pt x="116" y="192"/>
                    <a:pt x="123" y="197"/>
                    <a:pt x="135" y="212"/>
                  </a:cubicBezTo>
                  <a:cubicBezTo>
                    <a:pt x="158" y="231"/>
                    <a:pt x="153" y="233"/>
                    <a:pt x="173" y="245"/>
                  </a:cubicBezTo>
                  <a:cubicBezTo>
                    <a:pt x="177" y="261"/>
                    <a:pt x="185" y="263"/>
                    <a:pt x="194" y="282"/>
                  </a:cubicBezTo>
                  <a:cubicBezTo>
                    <a:pt x="214" y="302"/>
                    <a:pt x="213" y="312"/>
                    <a:pt x="233" y="332"/>
                  </a:cubicBezTo>
                  <a:cubicBezTo>
                    <a:pt x="261" y="342"/>
                    <a:pt x="300" y="364"/>
                    <a:pt x="300" y="364"/>
                  </a:cubicBezTo>
                  <a:cubicBezTo>
                    <a:pt x="311" y="381"/>
                    <a:pt x="300" y="354"/>
                    <a:pt x="317" y="393"/>
                  </a:cubicBezTo>
                  <a:cubicBezTo>
                    <a:pt x="443" y="449"/>
                    <a:pt x="398" y="557"/>
                    <a:pt x="400" y="600"/>
                  </a:cubicBezTo>
                  <a:cubicBezTo>
                    <a:pt x="422" y="668"/>
                    <a:pt x="414" y="645"/>
                    <a:pt x="429" y="701"/>
                  </a:cubicBezTo>
                  <a:cubicBezTo>
                    <a:pt x="433" y="729"/>
                    <a:pt x="446" y="764"/>
                    <a:pt x="452" y="780"/>
                  </a:cubicBezTo>
                  <a:cubicBezTo>
                    <a:pt x="461" y="794"/>
                    <a:pt x="464" y="798"/>
                    <a:pt x="474" y="810"/>
                  </a:cubicBezTo>
                  <a:cubicBezTo>
                    <a:pt x="478" y="826"/>
                    <a:pt x="484" y="816"/>
                    <a:pt x="484" y="824"/>
                  </a:cubicBez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  <p:sp>
          <p:nvSpPr>
            <p:cNvPr id="99" name="Freeform 86"/>
            <p:cNvSpPr>
              <a:spLocks noChangeAspect="1"/>
            </p:cNvSpPr>
            <p:nvPr/>
          </p:nvSpPr>
          <p:spPr bwMode="auto">
            <a:xfrm>
              <a:off x="3059" y="3001"/>
              <a:ext cx="503" cy="360"/>
            </a:xfrm>
            <a:custGeom>
              <a:avLst/>
              <a:gdLst>
                <a:gd name="T0" fmla="*/ 0 w 1991"/>
                <a:gd name="T1" fmla="*/ 0 h 1428"/>
                <a:gd name="T2" fmla="*/ 0 w 1991"/>
                <a:gd name="T3" fmla="*/ 0 h 1428"/>
                <a:gd name="T4" fmla="*/ 0 w 1991"/>
                <a:gd name="T5" fmla="*/ 0 h 1428"/>
                <a:gd name="T6" fmla="*/ 0 w 1991"/>
                <a:gd name="T7" fmla="*/ 0 h 1428"/>
                <a:gd name="T8" fmla="*/ 0 w 1991"/>
                <a:gd name="T9" fmla="*/ 0 h 1428"/>
                <a:gd name="T10" fmla="*/ 0 w 1991"/>
                <a:gd name="T11" fmla="*/ 0 h 1428"/>
                <a:gd name="T12" fmla="*/ 0 w 1991"/>
                <a:gd name="T13" fmla="*/ 0 h 1428"/>
                <a:gd name="T14" fmla="*/ 0 w 1991"/>
                <a:gd name="T15" fmla="*/ 0 h 1428"/>
                <a:gd name="T16" fmla="*/ 0 w 1991"/>
                <a:gd name="T17" fmla="*/ 0 h 1428"/>
                <a:gd name="T18" fmla="*/ 0 w 1991"/>
                <a:gd name="T19" fmla="*/ 0 h 1428"/>
                <a:gd name="T20" fmla="*/ 0 w 1991"/>
                <a:gd name="T21" fmla="*/ 0 h 1428"/>
                <a:gd name="T22" fmla="*/ 0 w 1991"/>
                <a:gd name="T23" fmla="*/ 0 h 1428"/>
                <a:gd name="T24" fmla="*/ 0 w 1991"/>
                <a:gd name="T25" fmla="*/ 0 h 1428"/>
                <a:gd name="T26" fmla="*/ 0 w 1991"/>
                <a:gd name="T27" fmla="*/ 0 h 1428"/>
                <a:gd name="T28" fmla="*/ 0 w 1991"/>
                <a:gd name="T29" fmla="*/ 0 h 1428"/>
                <a:gd name="T30" fmla="*/ 0 w 1991"/>
                <a:gd name="T31" fmla="*/ 0 h 1428"/>
                <a:gd name="T32" fmla="*/ 0 w 1991"/>
                <a:gd name="T33" fmla="*/ 0 h 1428"/>
                <a:gd name="T34" fmla="*/ 0 w 1991"/>
                <a:gd name="T35" fmla="*/ 0 h 1428"/>
                <a:gd name="T36" fmla="*/ 0 w 1991"/>
                <a:gd name="T37" fmla="*/ 0 h 1428"/>
                <a:gd name="T38" fmla="*/ 0 w 1991"/>
                <a:gd name="T39" fmla="*/ 0 h 1428"/>
                <a:gd name="T40" fmla="*/ 0 w 1991"/>
                <a:gd name="T41" fmla="*/ 0 h 1428"/>
                <a:gd name="T42" fmla="*/ 0 w 1991"/>
                <a:gd name="T43" fmla="*/ 0 h 1428"/>
                <a:gd name="T44" fmla="*/ 0 w 1991"/>
                <a:gd name="T45" fmla="*/ 0 h 1428"/>
                <a:gd name="T46" fmla="*/ 0 w 1991"/>
                <a:gd name="T47" fmla="*/ 0 h 1428"/>
                <a:gd name="T48" fmla="*/ 0 w 1991"/>
                <a:gd name="T49" fmla="*/ 0 h 1428"/>
                <a:gd name="T50" fmla="*/ 0 w 1991"/>
                <a:gd name="T51" fmla="*/ 0 h 1428"/>
                <a:gd name="T52" fmla="*/ 0 w 1991"/>
                <a:gd name="T53" fmla="*/ 0 h 1428"/>
                <a:gd name="T54" fmla="*/ 0 w 1991"/>
                <a:gd name="T55" fmla="*/ 0 h 1428"/>
                <a:gd name="T56" fmla="*/ 0 w 1991"/>
                <a:gd name="T57" fmla="*/ 0 h 1428"/>
                <a:gd name="T58" fmla="*/ 0 w 1991"/>
                <a:gd name="T59" fmla="*/ 0 h 1428"/>
                <a:gd name="T60" fmla="*/ 0 w 1991"/>
                <a:gd name="T61" fmla="*/ 0 h 1428"/>
                <a:gd name="T62" fmla="*/ 0 w 1991"/>
                <a:gd name="T63" fmla="*/ 0 h 1428"/>
                <a:gd name="T64" fmla="*/ 0 w 1991"/>
                <a:gd name="T65" fmla="*/ 0 h 1428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991"/>
                <a:gd name="T100" fmla="*/ 0 h 1428"/>
                <a:gd name="T101" fmla="*/ 1991 w 1991"/>
                <a:gd name="T102" fmla="*/ 1428 h 1428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991" h="1428">
                  <a:moveTo>
                    <a:pt x="1847" y="1195"/>
                  </a:moveTo>
                  <a:cubicBezTo>
                    <a:pt x="1855" y="1139"/>
                    <a:pt x="1851" y="1087"/>
                    <a:pt x="1831" y="1035"/>
                  </a:cubicBezTo>
                  <a:cubicBezTo>
                    <a:pt x="1835" y="963"/>
                    <a:pt x="1815" y="903"/>
                    <a:pt x="1875" y="863"/>
                  </a:cubicBezTo>
                  <a:cubicBezTo>
                    <a:pt x="1879" y="847"/>
                    <a:pt x="1911" y="835"/>
                    <a:pt x="1927" y="827"/>
                  </a:cubicBezTo>
                  <a:cubicBezTo>
                    <a:pt x="1939" y="823"/>
                    <a:pt x="1963" y="815"/>
                    <a:pt x="1963" y="815"/>
                  </a:cubicBezTo>
                  <a:cubicBezTo>
                    <a:pt x="1991" y="787"/>
                    <a:pt x="1975" y="712"/>
                    <a:pt x="1947" y="684"/>
                  </a:cubicBezTo>
                  <a:cubicBezTo>
                    <a:pt x="1935" y="644"/>
                    <a:pt x="1863" y="672"/>
                    <a:pt x="1823" y="676"/>
                  </a:cubicBezTo>
                  <a:cubicBezTo>
                    <a:pt x="1815" y="708"/>
                    <a:pt x="1791" y="735"/>
                    <a:pt x="1759" y="747"/>
                  </a:cubicBezTo>
                  <a:cubicBezTo>
                    <a:pt x="1747" y="775"/>
                    <a:pt x="1735" y="767"/>
                    <a:pt x="1703" y="763"/>
                  </a:cubicBezTo>
                  <a:cubicBezTo>
                    <a:pt x="1687" y="755"/>
                    <a:pt x="1675" y="751"/>
                    <a:pt x="1659" y="743"/>
                  </a:cubicBezTo>
                  <a:cubicBezTo>
                    <a:pt x="1647" y="727"/>
                    <a:pt x="1639" y="708"/>
                    <a:pt x="1627" y="696"/>
                  </a:cubicBezTo>
                  <a:cubicBezTo>
                    <a:pt x="1619" y="688"/>
                    <a:pt x="1603" y="636"/>
                    <a:pt x="1603" y="636"/>
                  </a:cubicBezTo>
                  <a:cubicBezTo>
                    <a:pt x="1595" y="604"/>
                    <a:pt x="1587" y="560"/>
                    <a:pt x="1567" y="500"/>
                  </a:cubicBezTo>
                  <a:cubicBezTo>
                    <a:pt x="1583" y="396"/>
                    <a:pt x="1563" y="324"/>
                    <a:pt x="1483" y="296"/>
                  </a:cubicBezTo>
                  <a:cubicBezTo>
                    <a:pt x="1475" y="276"/>
                    <a:pt x="1467" y="268"/>
                    <a:pt x="1447" y="260"/>
                  </a:cubicBezTo>
                  <a:cubicBezTo>
                    <a:pt x="1431" y="244"/>
                    <a:pt x="1419" y="244"/>
                    <a:pt x="1399" y="236"/>
                  </a:cubicBezTo>
                  <a:cubicBezTo>
                    <a:pt x="1387" y="216"/>
                    <a:pt x="1379" y="204"/>
                    <a:pt x="1363" y="192"/>
                  </a:cubicBezTo>
                  <a:cubicBezTo>
                    <a:pt x="1359" y="176"/>
                    <a:pt x="1319" y="124"/>
                    <a:pt x="1299" y="116"/>
                  </a:cubicBezTo>
                  <a:cubicBezTo>
                    <a:pt x="1291" y="88"/>
                    <a:pt x="1255" y="76"/>
                    <a:pt x="1231" y="60"/>
                  </a:cubicBezTo>
                  <a:cubicBezTo>
                    <a:pt x="1223" y="48"/>
                    <a:pt x="1219" y="36"/>
                    <a:pt x="1207" y="24"/>
                  </a:cubicBezTo>
                  <a:cubicBezTo>
                    <a:pt x="1199" y="0"/>
                    <a:pt x="1135" y="44"/>
                    <a:pt x="1135" y="44"/>
                  </a:cubicBezTo>
                  <a:cubicBezTo>
                    <a:pt x="1111" y="76"/>
                    <a:pt x="1123" y="92"/>
                    <a:pt x="1079" y="100"/>
                  </a:cubicBezTo>
                  <a:cubicBezTo>
                    <a:pt x="1063" y="108"/>
                    <a:pt x="1043" y="116"/>
                    <a:pt x="1027" y="128"/>
                  </a:cubicBezTo>
                  <a:cubicBezTo>
                    <a:pt x="1015" y="164"/>
                    <a:pt x="943" y="168"/>
                    <a:pt x="915" y="192"/>
                  </a:cubicBezTo>
                  <a:cubicBezTo>
                    <a:pt x="899" y="196"/>
                    <a:pt x="871" y="204"/>
                    <a:pt x="871" y="204"/>
                  </a:cubicBezTo>
                  <a:cubicBezTo>
                    <a:pt x="859" y="216"/>
                    <a:pt x="847" y="220"/>
                    <a:pt x="835" y="228"/>
                  </a:cubicBezTo>
                  <a:cubicBezTo>
                    <a:pt x="723" y="216"/>
                    <a:pt x="787" y="220"/>
                    <a:pt x="643" y="216"/>
                  </a:cubicBezTo>
                  <a:cubicBezTo>
                    <a:pt x="535" y="220"/>
                    <a:pt x="543" y="180"/>
                    <a:pt x="483" y="228"/>
                  </a:cubicBezTo>
                  <a:cubicBezTo>
                    <a:pt x="475" y="248"/>
                    <a:pt x="435" y="292"/>
                    <a:pt x="411" y="296"/>
                  </a:cubicBezTo>
                  <a:cubicBezTo>
                    <a:pt x="399" y="312"/>
                    <a:pt x="383" y="312"/>
                    <a:pt x="363" y="320"/>
                  </a:cubicBezTo>
                  <a:cubicBezTo>
                    <a:pt x="359" y="320"/>
                    <a:pt x="351" y="324"/>
                    <a:pt x="351" y="324"/>
                  </a:cubicBezTo>
                  <a:cubicBezTo>
                    <a:pt x="339" y="340"/>
                    <a:pt x="331" y="360"/>
                    <a:pt x="319" y="372"/>
                  </a:cubicBezTo>
                  <a:cubicBezTo>
                    <a:pt x="295" y="440"/>
                    <a:pt x="287" y="528"/>
                    <a:pt x="247" y="588"/>
                  </a:cubicBezTo>
                  <a:cubicBezTo>
                    <a:pt x="233" y="623"/>
                    <a:pt x="235" y="632"/>
                    <a:pt x="219" y="680"/>
                  </a:cubicBezTo>
                  <a:cubicBezTo>
                    <a:pt x="215" y="720"/>
                    <a:pt x="203" y="725"/>
                    <a:pt x="183" y="753"/>
                  </a:cubicBezTo>
                  <a:cubicBezTo>
                    <a:pt x="173" y="772"/>
                    <a:pt x="174" y="780"/>
                    <a:pt x="161" y="800"/>
                  </a:cubicBezTo>
                  <a:cubicBezTo>
                    <a:pt x="144" y="813"/>
                    <a:pt x="98" y="825"/>
                    <a:pt x="83" y="849"/>
                  </a:cubicBezTo>
                  <a:cubicBezTo>
                    <a:pt x="60" y="860"/>
                    <a:pt x="27" y="862"/>
                    <a:pt x="20" y="866"/>
                  </a:cubicBezTo>
                  <a:cubicBezTo>
                    <a:pt x="0" y="878"/>
                    <a:pt x="33" y="866"/>
                    <a:pt x="36" y="881"/>
                  </a:cubicBezTo>
                  <a:cubicBezTo>
                    <a:pt x="50" y="921"/>
                    <a:pt x="90" y="912"/>
                    <a:pt x="105" y="927"/>
                  </a:cubicBezTo>
                  <a:cubicBezTo>
                    <a:pt x="129" y="959"/>
                    <a:pt x="141" y="962"/>
                    <a:pt x="163" y="991"/>
                  </a:cubicBezTo>
                  <a:cubicBezTo>
                    <a:pt x="170" y="1017"/>
                    <a:pt x="206" y="1035"/>
                    <a:pt x="225" y="1076"/>
                  </a:cubicBezTo>
                  <a:cubicBezTo>
                    <a:pt x="248" y="1083"/>
                    <a:pt x="257" y="1079"/>
                    <a:pt x="281" y="1086"/>
                  </a:cubicBezTo>
                  <a:cubicBezTo>
                    <a:pt x="293" y="1090"/>
                    <a:pt x="315" y="1111"/>
                    <a:pt x="315" y="1111"/>
                  </a:cubicBezTo>
                  <a:cubicBezTo>
                    <a:pt x="319" y="1199"/>
                    <a:pt x="288" y="1233"/>
                    <a:pt x="375" y="1231"/>
                  </a:cubicBezTo>
                  <a:cubicBezTo>
                    <a:pt x="391" y="1235"/>
                    <a:pt x="399" y="1226"/>
                    <a:pt x="422" y="1233"/>
                  </a:cubicBezTo>
                  <a:cubicBezTo>
                    <a:pt x="430" y="1237"/>
                    <a:pt x="462" y="1251"/>
                    <a:pt x="462" y="1251"/>
                  </a:cubicBezTo>
                  <a:cubicBezTo>
                    <a:pt x="473" y="1253"/>
                    <a:pt x="475" y="1254"/>
                    <a:pt x="491" y="1248"/>
                  </a:cubicBezTo>
                  <a:cubicBezTo>
                    <a:pt x="497" y="1235"/>
                    <a:pt x="498" y="1226"/>
                    <a:pt x="557" y="1206"/>
                  </a:cubicBezTo>
                  <a:cubicBezTo>
                    <a:pt x="581" y="1214"/>
                    <a:pt x="609" y="1265"/>
                    <a:pt x="600" y="1301"/>
                  </a:cubicBezTo>
                  <a:cubicBezTo>
                    <a:pt x="604" y="1309"/>
                    <a:pt x="618" y="1301"/>
                    <a:pt x="629" y="1316"/>
                  </a:cubicBezTo>
                  <a:cubicBezTo>
                    <a:pt x="641" y="1320"/>
                    <a:pt x="656" y="1329"/>
                    <a:pt x="656" y="1329"/>
                  </a:cubicBezTo>
                  <a:cubicBezTo>
                    <a:pt x="698" y="1392"/>
                    <a:pt x="678" y="1401"/>
                    <a:pt x="685" y="1415"/>
                  </a:cubicBezTo>
                  <a:cubicBezTo>
                    <a:pt x="704" y="1421"/>
                    <a:pt x="707" y="1423"/>
                    <a:pt x="725" y="1425"/>
                  </a:cubicBezTo>
                  <a:cubicBezTo>
                    <a:pt x="747" y="1428"/>
                    <a:pt x="771" y="1425"/>
                    <a:pt x="795" y="1425"/>
                  </a:cubicBezTo>
                  <a:cubicBezTo>
                    <a:pt x="871" y="1421"/>
                    <a:pt x="942" y="1409"/>
                    <a:pt x="1026" y="1397"/>
                  </a:cubicBezTo>
                  <a:cubicBezTo>
                    <a:pt x="1074" y="1389"/>
                    <a:pt x="1122" y="1385"/>
                    <a:pt x="1175" y="1380"/>
                  </a:cubicBezTo>
                  <a:cubicBezTo>
                    <a:pt x="1196" y="1371"/>
                    <a:pt x="1230" y="1359"/>
                    <a:pt x="1230" y="1359"/>
                  </a:cubicBezTo>
                  <a:cubicBezTo>
                    <a:pt x="1242" y="1351"/>
                    <a:pt x="1251" y="1346"/>
                    <a:pt x="1263" y="1338"/>
                  </a:cubicBezTo>
                  <a:cubicBezTo>
                    <a:pt x="1267" y="1322"/>
                    <a:pt x="1295" y="1307"/>
                    <a:pt x="1311" y="1295"/>
                  </a:cubicBezTo>
                  <a:cubicBezTo>
                    <a:pt x="1323" y="1274"/>
                    <a:pt x="1343" y="1257"/>
                    <a:pt x="1355" y="1233"/>
                  </a:cubicBezTo>
                  <a:cubicBezTo>
                    <a:pt x="1382" y="1216"/>
                    <a:pt x="1428" y="1213"/>
                    <a:pt x="1455" y="1203"/>
                  </a:cubicBezTo>
                  <a:cubicBezTo>
                    <a:pt x="1476" y="1182"/>
                    <a:pt x="1519" y="1175"/>
                    <a:pt x="1519" y="1175"/>
                  </a:cubicBezTo>
                  <a:cubicBezTo>
                    <a:pt x="1527" y="1167"/>
                    <a:pt x="1557" y="1158"/>
                    <a:pt x="1557" y="1158"/>
                  </a:cubicBezTo>
                  <a:cubicBezTo>
                    <a:pt x="1581" y="1162"/>
                    <a:pt x="1605" y="1154"/>
                    <a:pt x="1629" y="1158"/>
                  </a:cubicBezTo>
                  <a:cubicBezTo>
                    <a:pt x="1670" y="1172"/>
                    <a:pt x="1773" y="1197"/>
                    <a:pt x="1803" y="1195"/>
                  </a:cubicBezTo>
                  <a:cubicBezTo>
                    <a:pt x="1811" y="1195"/>
                    <a:pt x="1871" y="1219"/>
                    <a:pt x="1847" y="1195"/>
                  </a:cubicBez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  <p:sp>
          <p:nvSpPr>
            <p:cNvPr id="100" name="Freeform 87"/>
            <p:cNvSpPr>
              <a:spLocks noChangeAspect="1"/>
            </p:cNvSpPr>
            <p:nvPr/>
          </p:nvSpPr>
          <p:spPr bwMode="auto">
            <a:xfrm>
              <a:off x="3202" y="3292"/>
              <a:ext cx="334" cy="253"/>
            </a:xfrm>
            <a:custGeom>
              <a:avLst/>
              <a:gdLst>
                <a:gd name="T0" fmla="*/ 0 w 1320"/>
                <a:gd name="T1" fmla="*/ 0 h 999"/>
                <a:gd name="T2" fmla="*/ 0 w 1320"/>
                <a:gd name="T3" fmla="*/ 0 h 999"/>
                <a:gd name="T4" fmla="*/ 0 w 1320"/>
                <a:gd name="T5" fmla="*/ 0 h 999"/>
                <a:gd name="T6" fmla="*/ 0 w 1320"/>
                <a:gd name="T7" fmla="*/ 0 h 999"/>
                <a:gd name="T8" fmla="*/ 0 w 1320"/>
                <a:gd name="T9" fmla="*/ 0 h 999"/>
                <a:gd name="T10" fmla="*/ 0 w 1320"/>
                <a:gd name="T11" fmla="*/ 0 h 999"/>
                <a:gd name="T12" fmla="*/ 0 w 1320"/>
                <a:gd name="T13" fmla="*/ 0 h 999"/>
                <a:gd name="T14" fmla="*/ 0 w 1320"/>
                <a:gd name="T15" fmla="*/ 0 h 999"/>
                <a:gd name="T16" fmla="*/ 0 w 1320"/>
                <a:gd name="T17" fmla="*/ 0 h 999"/>
                <a:gd name="T18" fmla="*/ 0 w 1320"/>
                <a:gd name="T19" fmla="*/ 0 h 999"/>
                <a:gd name="T20" fmla="*/ 0 w 1320"/>
                <a:gd name="T21" fmla="*/ 0 h 999"/>
                <a:gd name="T22" fmla="*/ 0 w 1320"/>
                <a:gd name="T23" fmla="*/ 0 h 999"/>
                <a:gd name="T24" fmla="*/ 0 w 1320"/>
                <a:gd name="T25" fmla="*/ 0 h 999"/>
                <a:gd name="T26" fmla="*/ 0 w 1320"/>
                <a:gd name="T27" fmla="*/ 0 h 999"/>
                <a:gd name="T28" fmla="*/ 0 w 1320"/>
                <a:gd name="T29" fmla="*/ 0 h 999"/>
                <a:gd name="T30" fmla="*/ 0 w 1320"/>
                <a:gd name="T31" fmla="*/ 0 h 999"/>
                <a:gd name="T32" fmla="*/ 0 w 1320"/>
                <a:gd name="T33" fmla="*/ 0 h 999"/>
                <a:gd name="T34" fmla="*/ 0 w 1320"/>
                <a:gd name="T35" fmla="*/ 0 h 999"/>
                <a:gd name="T36" fmla="*/ 0 w 1320"/>
                <a:gd name="T37" fmla="*/ 0 h 999"/>
                <a:gd name="T38" fmla="*/ 0 w 1320"/>
                <a:gd name="T39" fmla="*/ 0 h 999"/>
                <a:gd name="T40" fmla="*/ 0 w 1320"/>
                <a:gd name="T41" fmla="*/ 0 h 999"/>
                <a:gd name="T42" fmla="*/ 0 w 1320"/>
                <a:gd name="T43" fmla="*/ 0 h 999"/>
                <a:gd name="T44" fmla="*/ 0 w 1320"/>
                <a:gd name="T45" fmla="*/ 0 h 999"/>
                <a:gd name="T46" fmla="*/ 0 w 1320"/>
                <a:gd name="T47" fmla="*/ 0 h 999"/>
                <a:gd name="T48" fmla="*/ 0 w 1320"/>
                <a:gd name="T49" fmla="*/ 0 h 999"/>
                <a:gd name="T50" fmla="*/ 0 w 1320"/>
                <a:gd name="T51" fmla="*/ 0 h 999"/>
                <a:gd name="T52" fmla="*/ 0 w 1320"/>
                <a:gd name="T53" fmla="*/ 0 h 999"/>
                <a:gd name="T54" fmla="*/ 0 w 1320"/>
                <a:gd name="T55" fmla="*/ 0 h 999"/>
                <a:gd name="T56" fmla="*/ 0 w 1320"/>
                <a:gd name="T57" fmla="*/ 0 h 999"/>
                <a:gd name="T58" fmla="*/ 0 w 1320"/>
                <a:gd name="T59" fmla="*/ 0 h 999"/>
                <a:gd name="T60" fmla="*/ 0 w 1320"/>
                <a:gd name="T61" fmla="*/ 0 h 999"/>
                <a:gd name="T62" fmla="*/ 0 w 1320"/>
                <a:gd name="T63" fmla="*/ 0 h 999"/>
                <a:gd name="T64" fmla="*/ 0 w 1320"/>
                <a:gd name="T65" fmla="*/ 0 h 999"/>
                <a:gd name="T66" fmla="*/ 0 w 1320"/>
                <a:gd name="T67" fmla="*/ 0 h 999"/>
                <a:gd name="T68" fmla="*/ 0 w 1320"/>
                <a:gd name="T69" fmla="*/ 0 h 999"/>
                <a:gd name="T70" fmla="*/ 0 w 1320"/>
                <a:gd name="T71" fmla="*/ 0 h 999"/>
                <a:gd name="T72" fmla="*/ 0 w 1320"/>
                <a:gd name="T73" fmla="*/ 0 h 999"/>
                <a:gd name="T74" fmla="*/ 0 w 1320"/>
                <a:gd name="T75" fmla="*/ 0 h 999"/>
                <a:gd name="T76" fmla="*/ 0 w 1320"/>
                <a:gd name="T77" fmla="*/ 0 h 999"/>
                <a:gd name="T78" fmla="*/ 0 w 1320"/>
                <a:gd name="T79" fmla="*/ 0 h 999"/>
                <a:gd name="T80" fmla="*/ 0 w 1320"/>
                <a:gd name="T81" fmla="*/ 0 h 999"/>
                <a:gd name="T82" fmla="*/ 0 w 1320"/>
                <a:gd name="T83" fmla="*/ 0 h 999"/>
                <a:gd name="T84" fmla="*/ 0 w 1320"/>
                <a:gd name="T85" fmla="*/ 0 h 999"/>
                <a:gd name="T86" fmla="*/ 0 w 1320"/>
                <a:gd name="T87" fmla="*/ 0 h 999"/>
                <a:gd name="T88" fmla="*/ 0 w 1320"/>
                <a:gd name="T89" fmla="*/ 0 h 999"/>
                <a:gd name="T90" fmla="*/ 0 w 1320"/>
                <a:gd name="T91" fmla="*/ 0 h 999"/>
                <a:gd name="T92" fmla="*/ 0 w 1320"/>
                <a:gd name="T93" fmla="*/ 0 h 999"/>
                <a:gd name="T94" fmla="*/ 0 w 1320"/>
                <a:gd name="T95" fmla="*/ 0 h 999"/>
                <a:gd name="T96" fmla="*/ 0 w 1320"/>
                <a:gd name="T97" fmla="*/ 0 h 999"/>
                <a:gd name="T98" fmla="*/ 0 w 1320"/>
                <a:gd name="T99" fmla="*/ 0 h 999"/>
                <a:gd name="T100" fmla="*/ 0 w 1320"/>
                <a:gd name="T101" fmla="*/ 0 h 999"/>
                <a:gd name="T102" fmla="*/ 0 w 1320"/>
                <a:gd name="T103" fmla="*/ 0 h 999"/>
                <a:gd name="T104" fmla="*/ 0 w 1320"/>
                <a:gd name="T105" fmla="*/ 0 h 999"/>
                <a:gd name="T106" fmla="*/ 0 w 1320"/>
                <a:gd name="T107" fmla="*/ 0 h 999"/>
                <a:gd name="T108" fmla="*/ 0 w 1320"/>
                <a:gd name="T109" fmla="*/ 0 h 999"/>
                <a:gd name="T110" fmla="*/ 0 w 1320"/>
                <a:gd name="T111" fmla="*/ 0 h 999"/>
                <a:gd name="T112" fmla="*/ 0 w 1320"/>
                <a:gd name="T113" fmla="*/ 0 h 999"/>
                <a:gd name="T114" fmla="*/ 0 w 1320"/>
                <a:gd name="T115" fmla="*/ 0 h 999"/>
                <a:gd name="T116" fmla="*/ 0 w 1320"/>
                <a:gd name="T117" fmla="*/ 0 h 999"/>
                <a:gd name="T118" fmla="*/ 0 w 1320"/>
                <a:gd name="T119" fmla="*/ 0 h 999"/>
                <a:gd name="T120" fmla="*/ 0 w 1320"/>
                <a:gd name="T121" fmla="*/ 0 h 999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320"/>
                <a:gd name="T184" fmla="*/ 0 h 999"/>
                <a:gd name="T185" fmla="*/ 1320 w 1320"/>
                <a:gd name="T186" fmla="*/ 999 h 999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320" h="999">
                  <a:moveTo>
                    <a:pt x="1283" y="578"/>
                  </a:moveTo>
                  <a:cubicBezTo>
                    <a:pt x="1307" y="570"/>
                    <a:pt x="1284" y="527"/>
                    <a:pt x="1276" y="507"/>
                  </a:cubicBezTo>
                  <a:cubicBezTo>
                    <a:pt x="1272" y="500"/>
                    <a:pt x="1224" y="484"/>
                    <a:pt x="1216" y="480"/>
                  </a:cubicBezTo>
                  <a:cubicBezTo>
                    <a:pt x="1208" y="476"/>
                    <a:pt x="1192" y="464"/>
                    <a:pt x="1192" y="464"/>
                  </a:cubicBezTo>
                  <a:cubicBezTo>
                    <a:pt x="1172" y="436"/>
                    <a:pt x="1184" y="400"/>
                    <a:pt x="1188" y="368"/>
                  </a:cubicBezTo>
                  <a:cubicBezTo>
                    <a:pt x="1188" y="340"/>
                    <a:pt x="1192" y="316"/>
                    <a:pt x="1192" y="288"/>
                  </a:cubicBezTo>
                  <a:cubicBezTo>
                    <a:pt x="1200" y="164"/>
                    <a:pt x="1196" y="144"/>
                    <a:pt x="1312" y="128"/>
                  </a:cubicBezTo>
                  <a:cubicBezTo>
                    <a:pt x="1320" y="116"/>
                    <a:pt x="1292" y="56"/>
                    <a:pt x="1272" y="48"/>
                  </a:cubicBezTo>
                  <a:cubicBezTo>
                    <a:pt x="1256" y="40"/>
                    <a:pt x="1228" y="40"/>
                    <a:pt x="1216" y="40"/>
                  </a:cubicBezTo>
                  <a:cubicBezTo>
                    <a:pt x="1176" y="28"/>
                    <a:pt x="1144" y="20"/>
                    <a:pt x="1104" y="16"/>
                  </a:cubicBezTo>
                  <a:cubicBezTo>
                    <a:pt x="1084" y="8"/>
                    <a:pt x="1064" y="4"/>
                    <a:pt x="1044" y="0"/>
                  </a:cubicBezTo>
                  <a:cubicBezTo>
                    <a:pt x="996" y="4"/>
                    <a:pt x="968" y="8"/>
                    <a:pt x="924" y="24"/>
                  </a:cubicBezTo>
                  <a:cubicBezTo>
                    <a:pt x="912" y="28"/>
                    <a:pt x="900" y="44"/>
                    <a:pt x="888" y="48"/>
                  </a:cubicBezTo>
                  <a:cubicBezTo>
                    <a:pt x="852" y="56"/>
                    <a:pt x="816" y="64"/>
                    <a:pt x="784" y="80"/>
                  </a:cubicBezTo>
                  <a:cubicBezTo>
                    <a:pt x="780" y="96"/>
                    <a:pt x="772" y="104"/>
                    <a:pt x="760" y="112"/>
                  </a:cubicBezTo>
                  <a:cubicBezTo>
                    <a:pt x="752" y="128"/>
                    <a:pt x="752" y="136"/>
                    <a:pt x="736" y="140"/>
                  </a:cubicBezTo>
                  <a:cubicBezTo>
                    <a:pt x="708" y="168"/>
                    <a:pt x="720" y="156"/>
                    <a:pt x="700" y="172"/>
                  </a:cubicBezTo>
                  <a:cubicBezTo>
                    <a:pt x="688" y="208"/>
                    <a:pt x="648" y="200"/>
                    <a:pt x="612" y="224"/>
                  </a:cubicBezTo>
                  <a:cubicBezTo>
                    <a:pt x="492" y="232"/>
                    <a:pt x="336" y="264"/>
                    <a:pt x="192" y="272"/>
                  </a:cubicBezTo>
                  <a:cubicBezTo>
                    <a:pt x="72" y="264"/>
                    <a:pt x="152" y="252"/>
                    <a:pt x="96" y="196"/>
                  </a:cubicBezTo>
                  <a:cubicBezTo>
                    <a:pt x="88" y="168"/>
                    <a:pt x="80" y="172"/>
                    <a:pt x="60" y="160"/>
                  </a:cubicBezTo>
                  <a:cubicBezTo>
                    <a:pt x="48" y="191"/>
                    <a:pt x="33" y="242"/>
                    <a:pt x="16" y="244"/>
                  </a:cubicBezTo>
                  <a:cubicBezTo>
                    <a:pt x="0" y="288"/>
                    <a:pt x="27" y="326"/>
                    <a:pt x="36" y="370"/>
                  </a:cubicBezTo>
                  <a:cubicBezTo>
                    <a:pt x="39" y="397"/>
                    <a:pt x="43" y="406"/>
                    <a:pt x="51" y="410"/>
                  </a:cubicBezTo>
                  <a:cubicBezTo>
                    <a:pt x="86" y="415"/>
                    <a:pt x="108" y="424"/>
                    <a:pt x="124" y="432"/>
                  </a:cubicBezTo>
                  <a:cubicBezTo>
                    <a:pt x="136" y="448"/>
                    <a:pt x="140" y="448"/>
                    <a:pt x="156" y="460"/>
                  </a:cubicBezTo>
                  <a:cubicBezTo>
                    <a:pt x="169" y="502"/>
                    <a:pt x="142" y="523"/>
                    <a:pt x="129" y="541"/>
                  </a:cubicBezTo>
                  <a:cubicBezTo>
                    <a:pt x="115" y="557"/>
                    <a:pt x="91" y="559"/>
                    <a:pt x="84" y="571"/>
                  </a:cubicBezTo>
                  <a:cubicBezTo>
                    <a:pt x="80" y="592"/>
                    <a:pt x="80" y="583"/>
                    <a:pt x="88" y="603"/>
                  </a:cubicBezTo>
                  <a:cubicBezTo>
                    <a:pt x="92" y="626"/>
                    <a:pt x="87" y="637"/>
                    <a:pt x="86" y="662"/>
                  </a:cubicBezTo>
                  <a:cubicBezTo>
                    <a:pt x="89" y="695"/>
                    <a:pt x="86" y="715"/>
                    <a:pt x="78" y="739"/>
                  </a:cubicBezTo>
                  <a:cubicBezTo>
                    <a:pt x="84" y="755"/>
                    <a:pt x="79" y="754"/>
                    <a:pt x="93" y="764"/>
                  </a:cubicBezTo>
                  <a:cubicBezTo>
                    <a:pt x="107" y="774"/>
                    <a:pt x="139" y="787"/>
                    <a:pt x="160" y="799"/>
                  </a:cubicBezTo>
                  <a:cubicBezTo>
                    <a:pt x="183" y="817"/>
                    <a:pt x="201" y="817"/>
                    <a:pt x="216" y="835"/>
                  </a:cubicBezTo>
                  <a:cubicBezTo>
                    <a:pt x="232" y="859"/>
                    <a:pt x="245" y="878"/>
                    <a:pt x="252" y="907"/>
                  </a:cubicBezTo>
                  <a:cubicBezTo>
                    <a:pt x="248" y="943"/>
                    <a:pt x="244" y="963"/>
                    <a:pt x="248" y="999"/>
                  </a:cubicBezTo>
                  <a:cubicBezTo>
                    <a:pt x="252" y="983"/>
                    <a:pt x="269" y="977"/>
                    <a:pt x="269" y="977"/>
                  </a:cubicBezTo>
                  <a:cubicBezTo>
                    <a:pt x="311" y="961"/>
                    <a:pt x="422" y="956"/>
                    <a:pt x="438" y="956"/>
                  </a:cubicBezTo>
                  <a:cubicBezTo>
                    <a:pt x="444" y="941"/>
                    <a:pt x="447" y="931"/>
                    <a:pt x="450" y="923"/>
                  </a:cubicBezTo>
                  <a:cubicBezTo>
                    <a:pt x="477" y="911"/>
                    <a:pt x="480" y="899"/>
                    <a:pt x="500" y="878"/>
                  </a:cubicBezTo>
                  <a:cubicBezTo>
                    <a:pt x="516" y="866"/>
                    <a:pt x="516" y="869"/>
                    <a:pt x="536" y="865"/>
                  </a:cubicBezTo>
                  <a:cubicBezTo>
                    <a:pt x="568" y="869"/>
                    <a:pt x="576" y="875"/>
                    <a:pt x="600" y="887"/>
                  </a:cubicBezTo>
                  <a:cubicBezTo>
                    <a:pt x="650" y="920"/>
                    <a:pt x="668" y="907"/>
                    <a:pt x="720" y="911"/>
                  </a:cubicBezTo>
                  <a:cubicBezTo>
                    <a:pt x="753" y="911"/>
                    <a:pt x="777" y="913"/>
                    <a:pt x="819" y="898"/>
                  </a:cubicBezTo>
                  <a:cubicBezTo>
                    <a:pt x="831" y="894"/>
                    <a:pt x="848" y="881"/>
                    <a:pt x="852" y="883"/>
                  </a:cubicBezTo>
                  <a:cubicBezTo>
                    <a:pt x="869" y="859"/>
                    <a:pt x="900" y="863"/>
                    <a:pt x="928" y="855"/>
                  </a:cubicBezTo>
                  <a:cubicBezTo>
                    <a:pt x="948" y="827"/>
                    <a:pt x="931" y="802"/>
                    <a:pt x="924" y="770"/>
                  </a:cubicBezTo>
                  <a:cubicBezTo>
                    <a:pt x="904" y="753"/>
                    <a:pt x="917" y="722"/>
                    <a:pt x="917" y="722"/>
                  </a:cubicBezTo>
                  <a:cubicBezTo>
                    <a:pt x="933" y="719"/>
                    <a:pt x="925" y="718"/>
                    <a:pt x="941" y="730"/>
                  </a:cubicBezTo>
                  <a:cubicBezTo>
                    <a:pt x="951" y="745"/>
                    <a:pt x="955" y="743"/>
                    <a:pt x="965" y="749"/>
                  </a:cubicBezTo>
                  <a:cubicBezTo>
                    <a:pt x="975" y="755"/>
                    <a:pt x="1001" y="769"/>
                    <a:pt x="1002" y="767"/>
                  </a:cubicBezTo>
                  <a:cubicBezTo>
                    <a:pt x="992" y="728"/>
                    <a:pt x="973" y="745"/>
                    <a:pt x="969" y="737"/>
                  </a:cubicBezTo>
                  <a:cubicBezTo>
                    <a:pt x="965" y="729"/>
                    <a:pt x="971" y="722"/>
                    <a:pt x="975" y="716"/>
                  </a:cubicBezTo>
                  <a:cubicBezTo>
                    <a:pt x="979" y="716"/>
                    <a:pt x="988" y="701"/>
                    <a:pt x="992" y="701"/>
                  </a:cubicBezTo>
                  <a:cubicBezTo>
                    <a:pt x="996" y="697"/>
                    <a:pt x="995" y="689"/>
                    <a:pt x="995" y="685"/>
                  </a:cubicBezTo>
                  <a:cubicBezTo>
                    <a:pt x="995" y="673"/>
                    <a:pt x="1003" y="663"/>
                    <a:pt x="1007" y="655"/>
                  </a:cubicBezTo>
                  <a:cubicBezTo>
                    <a:pt x="1011" y="644"/>
                    <a:pt x="1029" y="642"/>
                    <a:pt x="1037" y="638"/>
                  </a:cubicBezTo>
                  <a:cubicBezTo>
                    <a:pt x="1065" y="620"/>
                    <a:pt x="1082" y="598"/>
                    <a:pt x="1118" y="586"/>
                  </a:cubicBezTo>
                  <a:cubicBezTo>
                    <a:pt x="1145" y="581"/>
                    <a:pt x="1157" y="602"/>
                    <a:pt x="1200" y="603"/>
                  </a:cubicBezTo>
                  <a:cubicBezTo>
                    <a:pt x="1222" y="603"/>
                    <a:pt x="1243" y="600"/>
                    <a:pt x="1257" y="596"/>
                  </a:cubicBezTo>
                  <a:cubicBezTo>
                    <a:pt x="1271" y="592"/>
                    <a:pt x="1266" y="583"/>
                    <a:pt x="1283" y="578"/>
                  </a:cubicBez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  <p:sp>
          <p:nvSpPr>
            <p:cNvPr id="101" name="Freeform 88"/>
            <p:cNvSpPr>
              <a:spLocks noChangeAspect="1"/>
            </p:cNvSpPr>
            <p:nvPr/>
          </p:nvSpPr>
          <p:spPr bwMode="auto">
            <a:xfrm>
              <a:off x="3124" y="3471"/>
              <a:ext cx="142" cy="130"/>
            </a:xfrm>
            <a:custGeom>
              <a:avLst/>
              <a:gdLst>
                <a:gd name="T0" fmla="*/ 0 w 559"/>
                <a:gd name="T1" fmla="*/ 0 h 512"/>
                <a:gd name="T2" fmla="*/ 0 w 559"/>
                <a:gd name="T3" fmla="*/ 0 h 512"/>
                <a:gd name="T4" fmla="*/ 0 w 559"/>
                <a:gd name="T5" fmla="*/ 0 h 512"/>
                <a:gd name="T6" fmla="*/ 0 w 559"/>
                <a:gd name="T7" fmla="*/ 0 h 512"/>
                <a:gd name="T8" fmla="*/ 0 w 559"/>
                <a:gd name="T9" fmla="*/ 0 h 512"/>
                <a:gd name="T10" fmla="*/ 0 w 559"/>
                <a:gd name="T11" fmla="*/ 0 h 512"/>
                <a:gd name="T12" fmla="*/ 0 w 559"/>
                <a:gd name="T13" fmla="*/ 0 h 512"/>
                <a:gd name="T14" fmla="*/ 0 w 559"/>
                <a:gd name="T15" fmla="*/ 0 h 512"/>
                <a:gd name="T16" fmla="*/ 0 w 559"/>
                <a:gd name="T17" fmla="*/ 0 h 512"/>
                <a:gd name="T18" fmla="*/ 0 w 559"/>
                <a:gd name="T19" fmla="*/ 0 h 512"/>
                <a:gd name="T20" fmla="*/ 0 w 559"/>
                <a:gd name="T21" fmla="*/ 0 h 512"/>
                <a:gd name="T22" fmla="*/ 0 w 559"/>
                <a:gd name="T23" fmla="*/ 0 h 512"/>
                <a:gd name="T24" fmla="*/ 0 w 559"/>
                <a:gd name="T25" fmla="*/ 0 h 512"/>
                <a:gd name="T26" fmla="*/ 0 w 559"/>
                <a:gd name="T27" fmla="*/ 0 h 512"/>
                <a:gd name="T28" fmla="*/ 0 w 559"/>
                <a:gd name="T29" fmla="*/ 0 h 512"/>
                <a:gd name="T30" fmla="*/ 0 w 559"/>
                <a:gd name="T31" fmla="*/ 0 h 512"/>
                <a:gd name="T32" fmla="*/ 0 w 559"/>
                <a:gd name="T33" fmla="*/ 0 h 512"/>
                <a:gd name="T34" fmla="*/ 0 w 559"/>
                <a:gd name="T35" fmla="*/ 0 h 512"/>
                <a:gd name="T36" fmla="*/ 0 w 559"/>
                <a:gd name="T37" fmla="*/ 0 h 512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559"/>
                <a:gd name="T58" fmla="*/ 0 h 512"/>
                <a:gd name="T59" fmla="*/ 559 w 559"/>
                <a:gd name="T60" fmla="*/ 512 h 512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559" h="512">
                  <a:moveTo>
                    <a:pt x="380" y="28"/>
                  </a:moveTo>
                  <a:cubicBezTo>
                    <a:pt x="310" y="36"/>
                    <a:pt x="242" y="57"/>
                    <a:pt x="200" y="83"/>
                  </a:cubicBezTo>
                  <a:cubicBezTo>
                    <a:pt x="184" y="87"/>
                    <a:pt x="155" y="102"/>
                    <a:pt x="155" y="102"/>
                  </a:cubicBezTo>
                  <a:cubicBezTo>
                    <a:pt x="110" y="107"/>
                    <a:pt x="74" y="123"/>
                    <a:pt x="52" y="160"/>
                  </a:cubicBezTo>
                  <a:cubicBezTo>
                    <a:pt x="48" y="180"/>
                    <a:pt x="49" y="188"/>
                    <a:pt x="32" y="200"/>
                  </a:cubicBezTo>
                  <a:cubicBezTo>
                    <a:pt x="16" y="220"/>
                    <a:pt x="5" y="227"/>
                    <a:pt x="0" y="268"/>
                  </a:cubicBezTo>
                  <a:cubicBezTo>
                    <a:pt x="4" y="308"/>
                    <a:pt x="5" y="341"/>
                    <a:pt x="16" y="380"/>
                  </a:cubicBezTo>
                  <a:cubicBezTo>
                    <a:pt x="23" y="401"/>
                    <a:pt x="27" y="421"/>
                    <a:pt x="43" y="437"/>
                  </a:cubicBezTo>
                  <a:cubicBezTo>
                    <a:pt x="51" y="457"/>
                    <a:pt x="76" y="467"/>
                    <a:pt x="80" y="484"/>
                  </a:cubicBezTo>
                  <a:cubicBezTo>
                    <a:pt x="94" y="494"/>
                    <a:pt x="101" y="491"/>
                    <a:pt x="121" y="512"/>
                  </a:cubicBezTo>
                  <a:cubicBezTo>
                    <a:pt x="154" y="503"/>
                    <a:pt x="184" y="492"/>
                    <a:pt x="216" y="484"/>
                  </a:cubicBezTo>
                  <a:cubicBezTo>
                    <a:pt x="248" y="477"/>
                    <a:pt x="275" y="468"/>
                    <a:pt x="298" y="456"/>
                  </a:cubicBezTo>
                  <a:cubicBezTo>
                    <a:pt x="313" y="447"/>
                    <a:pt x="317" y="440"/>
                    <a:pt x="329" y="426"/>
                  </a:cubicBezTo>
                  <a:cubicBezTo>
                    <a:pt x="356" y="395"/>
                    <a:pt x="352" y="397"/>
                    <a:pt x="392" y="369"/>
                  </a:cubicBezTo>
                  <a:cubicBezTo>
                    <a:pt x="433" y="360"/>
                    <a:pt x="542" y="398"/>
                    <a:pt x="556" y="284"/>
                  </a:cubicBezTo>
                  <a:cubicBezTo>
                    <a:pt x="555" y="257"/>
                    <a:pt x="557" y="233"/>
                    <a:pt x="559" y="198"/>
                  </a:cubicBezTo>
                  <a:cubicBezTo>
                    <a:pt x="552" y="166"/>
                    <a:pt x="535" y="140"/>
                    <a:pt x="508" y="116"/>
                  </a:cubicBezTo>
                  <a:cubicBezTo>
                    <a:pt x="464" y="92"/>
                    <a:pt x="432" y="68"/>
                    <a:pt x="396" y="56"/>
                  </a:cubicBezTo>
                  <a:cubicBezTo>
                    <a:pt x="392" y="48"/>
                    <a:pt x="380" y="0"/>
                    <a:pt x="380" y="28"/>
                  </a:cubicBez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  <p:sp>
          <p:nvSpPr>
            <p:cNvPr id="102" name="Freeform 89"/>
            <p:cNvSpPr>
              <a:spLocks noChangeAspect="1"/>
            </p:cNvSpPr>
            <p:nvPr/>
          </p:nvSpPr>
          <p:spPr bwMode="auto">
            <a:xfrm>
              <a:off x="3053" y="3476"/>
              <a:ext cx="117" cy="232"/>
            </a:xfrm>
            <a:custGeom>
              <a:avLst/>
              <a:gdLst>
                <a:gd name="T0" fmla="*/ 0 w 467"/>
                <a:gd name="T1" fmla="*/ 0 h 920"/>
                <a:gd name="T2" fmla="*/ 0 w 467"/>
                <a:gd name="T3" fmla="*/ 0 h 920"/>
                <a:gd name="T4" fmla="*/ 0 w 467"/>
                <a:gd name="T5" fmla="*/ 0 h 920"/>
                <a:gd name="T6" fmla="*/ 0 w 467"/>
                <a:gd name="T7" fmla="*/ 0 h 920"/>
                <a:gd name="T8" fmla="*/ 0 w 467"/>
                <a:gd name="T9" fmla="*/ 0 h 920"/>
                <a:gd name="T10" fmla="*/ 0 w 467"/>
                <a:gd name="T11" fmla="*/ 0 h 920"/>
                <a:gd name="T12" fmla="*/ 0 w 467"/>
                <a:gd name="T13" fmla="*/ 0 h 920"/>
                <a:gd name="T14" fmla="*/ 0 w 467"/>
                <a:gd name="T15" fmla="*/ 0 h 920"/>
                <a:gd name="T16" fmla="*/ 0 w 467"/>
                <a:gd name="T17" fmla="*/ 0 h 920"/>
                <a:gd name="T18" fmla="*/ 0 w 467"/>
                <a:gd name="T19" fmla="*/ 0 h 920"/>
                <a:gd name="T20" fmla="*/ 0 w 467"/>
                <a:gd name="T21" fmla="*/ 0 h 920"/>
                <a:gd name="T22" fmla="*/ 0 w 467"/>
                <a:gd name="T23" fmla="*/ 0 h 920"/>
                <a:gd name="T24" fmla="*/ 0 w 467"/>
                <a:gd name="T25" fmla="*/ 0 h 920"/>
                <a:gd name="T26" fmla="*/ 0 w 467"/>
                <a:gd name="T27" fmla="*/ 0 h 920"/>
                <a:gd name="T28" fmla="*/ 0 w 467"/>
                <a:gd name="T29" fmla="*/ 0 h 920"/>
                <a:gd name="T30" fmla="*/ 0 w 467"/>
                <a:gd name="T31" fmla="*/ 0 h 920"/>
                <a:gd name="T32" fmla="*/ 0 w 467"/>
                <a:gd name="T33" fmla="*/ 0 h 920"/>
                <a:gd name="T34" fmla="*/ 0 w 467"/>
                <a:gd name="T35" fmla="*/ 0 h 920"/>
                <a:gd name="T36" fmla="*/ 0 w 467"/>
                <a:gd name="T37" fmla="*/ 0 h 920"/>
                <a:gd name="T38" fmla="*/ 0 w 467"/>
                <a:gd name="T39" fmla="*/ 0 h 920"/>
                <a:gd name="T40" fmla="*/ 0 w 467"/>
                <a:gd name="T41" fmla="*/ 0 h 920"/>
                <a:gd name="T42" fmla="*/ 0 w 467"/>
                <a:gd name="T43" fmla="*/ 0 h 920"/>
                <a:gd name="T44" fmla="*/ 0 w 467"/>
                <a:gd name="T45" fmla="*/ 0 h 920"/>
                <a:gd name="T46" fmla="*/ 0 w 467"/>
                <a:gd name="T47" fmla="*/ 0 h 920"/>
                <a:gd name="T48" fmla="*/ 0 w 467"/>
                <a:gd name="T49" fmla="*/ 0 h 920"/>
                <a:gd name="T50" fmla="*/ 0 w 467"/>
                <a:gd name="T51" fmla="*/ 0 h 920"/>
                <a:gd name="T52" fmla="*/ 0 w 467"/>
                <a:gd name="T53" fmla="*/ 0 h 920"/>
                <a:gd name="T54" fmla="*/ 0 w 467"/>
                <a:gd name="T55" fmla="*/ 0 h 920"/>
                <a:gd name="T56" fmla="*/ 0 w 467"/>
                <a:gd name="T57" fmla="*/ 0 h 920"/>
                <a:gd name="T58" fmla="*/ 0 w 467"/>
                <a:gd name="T59" fmla="*/ 0 h 920"/>
                <a:gd name="T60" fmla="*/ 0 w 467"/>
                <a:gd name="T61" fmla="*/ 0 h 920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467"/>
                <a:gd name="T94" fmla="*/ 0 h 920"/>
                <a:gd name="T95" fmla="*/ 467 w 467"/>
                <a:gd name="T96" fmla="*/ 920 h 920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467" h="920">
                  <a:moveTo>
                    <a:pt x="306" y="189"/>
                  </a:moveTo>
                  <a:cubicBezTo>
                    <a:pt x="294" y="186"/>
                    <a:pt x="283" y="154"/>
                    <a:pt x="291" y="134"/>
                  </a:cubicBezTo>
                  <a:cubicBezTo>
                    <a:pt x="285" y="119"/>
                    <a:pt x="278" y="105"/>
                    <a:pt x="273" y="93"/>
                  </a:cubicBezTo>
                  <a:cubicBezTo>
                    <a:pt x="259" y="84"/>
                    <a:pt x="230" y="90"/>
                    <a:pt x="209" y="78"/>
                  </a:cubicBezTo>
                  <a:cubicBezTo>
                    <a:pt x="186" y="68"/>
                    <a:pt x="191" y="56"/>
                    <a:pt x="185" y="50"/>
                  </a:cubicBezTo>
                  <a:cubicBezTo>
                    <a:pt x="175" y="43"/>
                    <a:pt x="159" y="36"/>
                    <a:pt x="147" y="35"/>
                  </a:cubicBezTo>
                  <a:cubicBezTo>
                    <a:pt x="139" y="47"/>
                    <a:pt x="138" y="35"/>
                    <a:pt x="122" y="39"/>
                  </a:cubicBezTo>
                  <a:cubicBezTo>
                    <a:pt x="94" y="31"/>
                    <a:pt x="102" y="18"/>
                    <a:pt x="84" y="0"/>
                  </a:cubicBezTo>
                  <a:cubicBezTo>
                    <a:pt x="54" y="23"/>
                    <a:pt x="41" y="54"/>
                    <a:pt x="31" y="74"/>
                  </a:cubicBezTo>
                  <a:cubicBezTo>
                    <a:pt x="23" y="102"/>
                    <a:pt x="18" y="111"/>
                    <a:pt x="8" y="129"/>
                  </a:cubicBezTo>
                  <a:cubicBezTo>
                    <a:pt x="0" y="149"/>
                    <a:pt x="3" y="135"/>
                    <a:pt x="17" y="146"/>
                  </a:cubicBezTo>
                  <a:cubicBezTo>
                    <a:pt x="26" y="164"/>
                    <a:pt x="29" y="176"/>
                    <a:pt x="35" y="192"/>
                  </a:cubicBezTo>
                  <a:cubicBezTo>
                    <a:pt x="39" y="228"/>
                    <a:pt x="51" y="258"/>
                    <a:pt x="87" y="274"/>
                  </a:cubicBezTo>
                  <a:cubicBezTo>
                    <a:pt x="91" y="290"/>
                    <a:pt x="87" y="294"/>
                    <a:pt x="79" y="310"/>
                  </a:cubicBezTo>
                  <a:cubicBezTo>
                    <a:pt x="67" y="350"/>
                    <a:pt x="87" y="634"/>
                    <a:pt x="103" y="642"/>
                  </a:cubicBezTo>
                  <a:cubicBezTo>
                    <a:pt x="119" y="674"/>
                    <a:pt x="131" y="714"/>
                    <a:pt x="143" y="746"/>
                  </a:cubicBezTo>
                  <a:cubicBezTo>
                    <a:pt x="147" y="762"/>
                    <a:pt x="207" y="766"/>
                    <a:pt x="223" y="770"/>
                  </a:cubicBezTo>
                  <a:cubicBezTo>
                    <a:pt x="235" y="778"/>
                    <a:pt x="239" y="790"/>
                    <a:pt x="255" y="794"/>
                  </a:cubicBezTo>
                  <a:cubicBezTo>
                    <a:pt x="279" y="834"/>
                    <a:pt x="308" y="884"/>
                    <a:pt x="332" y="920"/>
                  </a:cubicBezTo>
                  <a:cubicBezTo>
                    <a:pt x="341" y="897"/>
                    <a:pt x="326" y="840"/>
                    <a:pt x="327" y="807"/>
                  </a:cubicBezTo>
                  <a:cubicBezTo>
                    <a:pt x="335" y="774"/>
                    <a:pt x="288" y="749"/>
                    <a:pt x="384" y="720"/>
                  </a:cubicBezTo>
                  <a:cubicBezTo>
                    <a:pt x="396" y="696"/>
                    <a:pt x="405" y="674"/>
                    <a:pt x="398" y="644"/>
                  </a:cubicBezTo>
                  <a:cubicBezTo>
                    <a:pt x="384" y="617"/>
                    <a:pt x="402" y="611"/>
                    <a:pt x="434" y="599"/>
                  </a:cubicBezTo>
                  <a:cubicBezTo>
                    <a:pt x="467" y="609"/>
                    <a:pt x="453" y="581"/>
                    <a:pt x="437" y="542"/>
                  </a:cubicBezTo>
                  <a:cubicBezTo>
                    <a:pt x="429" y="530"/>
                    <a:pt x="431" y="516"/>
                    <a:pt x="423" y="504"/>
                  </a:cubicBezTo>
                  <a:cubicBezTo>
                    <a:pt x="419" y="496"/>
                    <a:pt x="403" y="494"/>
                    <a:pt x="403" y="494"/>
                  </a:cubicBezTo>
                  <a:cubicBezTo>
                    <a:pt x="391" y="482"/>
                    <a:pt x="367" y="466"/>
                    <a:pt x="367" y="466"/>
                  </a:cubicBezTo>
                  <a:cubicBezTo>
                    <a:pt x="355" y="450"/>
                    <a:pt x="342" y="434"/>
                    <a:pt x="327" y="422"/>
                  </a:cubicBezTo>
                  <a:cubicBezTo>
                    <a:pt x="315" y="402"/>
                    <a:pt x="295" y="374"/>
                    <a:pt x="291" y="334"/>
                  </a:cubicBezTo>
                  <a:cubicBezTo>
                    <a:pt x="285" y="304"/>
                    <a:pt x="281" y="263"/>
                    <a:pt x="282" y="243"/>
                  </a:cubicBezTo>
                  <a:cubicBezTo>
                    <a:pt x="285" y="219"/>
                    <a:pt x="303" y="195"/>
                    <a:pt x="306" y="189"/>
                  </a:cubicBez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  <p:grpSp>
          <p:nvGrpSpPr>
            <p:cNvPr id="103" name="Group 90"/>
            <p:cNvGrpSpPr>
              <a:grpSpLocks/>
            </p:cNvGrpSpPr>
            <p:nvPr/>
          </p:nvGrpSpPr>
          <p:grpSpPr bwMode="auto">
            <a:xfrm>
              <a:off x="3434" y="3438"/>
              <a:ext cx="173" cy="170"/>
              <a:chOff x="6214" y="7863"/>
              <a:chExt cx="684" cy="671"/>
            </a:xfrm>
            <a:grpFill/>
          </p:grpSpPr>
          <p:sp>
            <p:nvSpPr>
              <p:cNvPr id="138" name="Freeform 92"/>
              <p:cNvSpPr>
                <a:spLocks noChangeAspect="1"/>
              </p:cNvSpPr>
              <p:nvPr/>
            </p:nvSpPr>
            <p:spPr bwMode="auto">
              <a:xfrm>
                <a:off x="6214" y="8466"/>
                <a:ext cx="64" cy="68"/>
              </a:xfrm>
              <a:custGeom>
                <a:avLst/>
                <a:gdLst>
                  <a:gd name="T0" fmla="*/ 2147483647 w 16"/>
                  <a:gd name="T1" fmla="*/ 2147483647 h 17"/>
                  <a:gd name="T2" fmla="*/ 2147483647 w 16"/>
                  <a:gd name="T3" fmla="*/ 2147483647 h 17"/>
                  <a:gd name="T4" fmla="*/ 2147483647 w 16"/>
                  <a:gd name="T5" fmla="*/ 2147483647 h 17"/>
                  <a:gd name="T6" fmla="*/ 2147483647 w 16"/>
                  <a:gd name="T7" fmla="*/ 2147483647 h 17"/>
                  <a:gd name="T8" fmla="*/ 2147483647 w 16"/>
                  <a:gd name="T9" fmla="*/ 2147483647 h 1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6"/>
                  <a:gd name="T16" fmla="*/ 0 h 17"/>
                  <a:gd name="T17" fmla="*/ 16 w 16"/>
                  <a:gd name="T18" fmla="*/ 17 h 1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6" h="17">
                    <a:moveTo>
                      <a:pt x="13" y="3"/>
                    </a:moveTo>
                    <a:cubicBezTo>
                      <a:pt x="10" y="5"/>
                      <a:pt x="7" y="7"/>
                      <a:pt x="3" y="8"/>
                    </a:cubicBezTo>
                    <a:cubicBezTo>
                      <a:pt x="1" y="15"/>
                      <a:pt x="0" y="12"/>
                      <a:pt x="2" y="17"/>
                    </a:cubicBezTo>
                    <a:cubicBezTo>
                      <a:pt x="6" y="16"/>
                      <a:pt x="8" y="14"/>
                      <a:pt x="12" y="13"/>
                    </a:cubicBezTo>
                    <a:cubicBezTo>
                      <a:pt x="13" y="11"/>
                      <a:pt x="16" y="0"/>
                      <a:pt x="13" y="3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139" name="Freeform 93"/>
              <p:cNvSpPr>
                <a:spLocks noChangeAspect="1"/>
              </p:cNvSpPr>
              <p:nvPr/>
            </p:nvSpPr>
            <p:spPr bwMode="auto">
              <a:xfrm>
                <a:off x="6258" y="7863"/>
                <a:ext cx="640" cy="623"/>
              </a:xfrm>
              <a:custGeom>
                <a:avLst/>
                <a:gdLst>
                  <a:gd name="T0" fmla="*/ 340 w 640"/>
                  <a:gd name="T1" fmla="*/ 20 h 623"/>
                  <a:gd name="T2" fmla="*/ 384 w 640"/>
                  <a:gd name="T3" fmla="*/ 92 h 623"/>
                  <a:gd name="T4" fmla="*/ 468 w 640"/>
                  <a:gd name="T5" fmla="*/ 140 h 623"/>
                  <a:gd name="T6" fmla="*/ 604 w 640"/>
                  <a:gd name="T7" fmla="*/ 156 h 623"/>
                  <a:gd name="T8" fmla="*/ 588 w 640"/>
                  <a:gd name="T9" fmla="*/ 248 h 623"/>
                  <a:gd name="T10" fmla="*/ 516 w 640"/>
                  <a:gd name="T11" fmla="*/ 252 h 623"/>
                  <a:gd name="T12" fmla="*/ 472 w 640"/>
                  <a:gd name="T13" fmla="*/ 264 h 623"/>
                  <a:gd name="T14" fmla="*/ 388 w 640"/>
                  <a:gd name="T15" fmla="*/ 284 h 623"/>
                  <a:gd name="T16" fmla="*/ 324 w 640"/>
                  <a:gd name="T17" fmla="*/ 312 h 623"/>
                  <a:gd name="T18" fmla="*/ 280 w 640"/>
                  <a:gd name="T19" fmla="*/ 395 h 623"/>
                  <a:gd name="T20" fmla="*/ 208 w 640"/>
                  <a:gd name="T21" fmla="*/ 451 h 623"/>
                  <a:gd name="T22" fmla="*/ 160 w 640"/>
                  <a:gd name="T23" fmla="*/ 519 h 623"/>
                  <a:gd name="T24" fmla="*/ 84 w 640"/>
                  <a:gd name="T25" fmla="*/ 591 h 623"/>
                  <a:gd name="T26" fmla="*/ 56 w 640"/>
                  <a:gd name="T27" fmla="*/ 599 h 623"/>
                  <a:gd name="T28" fmla="*/ 100 w 640"/>
                  <a:gd name="T29" fmla="*/ 519 h 623"/>
                  <a:gd name="T30" fmla="*/ 124 w 640"/>
                  <a:gd name="T31" fmla="*/ 487 h 623"/>
                  <a:gd name="T32" fmla="*/ 72 w 640"/>
                  <a:gd name="T33" fmla="*/ 491 h 623"/>
                  <a:gd name="T34" fmla="*/ 0 w 640"/>
                  <a:gd name="T35" fmla="*/ 475 h 623"/>
                  <a:gd name="T36" fmla="*/ 28 w 640"/>
                  <a:gd name="T37" fmla="*/ 439 h 623"/>
                  <a:gd name="T38" fmla="*/ 48 w 640"/>
                  <a:gd name="T39" fmla="*/ 384 h 623"/>
                  <a:gd name="T40" fmla="*/ 38 w 640"/>
                  <a:gd name="T41" fmla="*/ 342 h 623"/>
                  <a:gd name="T42" fmla="*/ 81 w 640"/>
                  <a:gd name="T43" fmla="*/ 254 h 623"/>
                  <a:gd name="T44" fmla="*/ 42 w 640"/>
                  <a:gd name="T45" fmla="*/ 209 h 623"/>
                  <a:gd name="T46" fmla="*/ 4 w 640"/>
                  <a:gd name="T47" fmla="*/ 176 h 623"/>
                  <a:gd name="T48" fmla="*/ 28 w 640"/>
                  <a:gd name="T49" fmla="*/ 144 h 623"/>
                  <a:gd name="T50" fmla="*/ 48 w 640"/>
                  <a:gd name="T51" fmla="*/ 88 h 623"/>
                  <a:gd name="T52" fmla="*/ 72 w 640"/>
                  <a:gd name="T53" fmla="*/ 80 h 623"/>
                  <a:gd name="T54" fmla="*/ 156 w 640"/>
                  <a:gd name="T55" fmla="*/ 24 h 623"/>
                  <a:gd name="T56" fmla="*/ 216 w 640"/>
                  <a:gd name="T57" fmla="*/ 40 h 623"/>
                  <a:gd name="T58" fmla="*/ 296 w 640"/>
                  <a:gd name="T59" fmla="*/ 36 h 623"/>
                  <a:gd name="T60" fmla="*/ 340 w 640"/>
                  <a:gd name="T61" fmla="*/ 20 h 623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640"/>
                  <a:gd name="T94" fmla="*/ 0 h 623"/>
                  <a:gd name="T95" fmla="*/ 640 w 640"/>
                  <a:gd name="T96" fmla="*/ 623 h 623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640" h="623">
                    <a:moveTo>
                      <a:pt x="340" y="20"/>
                    </a:moveTo>
                    <a:cubicBezTo>
                      <a:pt x="352" y="56"/>
                      <a:pt x="352" y="72"/>
                      <a:pt x="384" y="92"/>
                    </a:cubicBezTo>
                    <a:cubicBezTo>
                      <a:pt x="400" y="136"/>
                      <a:pt x="424" y="136"/>
                      <a:pt x="468" y="140"/>
                    </a:cubicBezTo>
                    <a:cubicBezTo>
                      <a:pt x="512" y="148"/>
                      <a:pt x="604" y="156"/>
                      <a:pt x="604" y="156"/>
                    </a:cubicBezTo>
                    <a:cubicBezTo>
                      <a:pt x="640" y="168"/>
                      <a:pt x="616" y="244"/>
                      <a:pt x="588" y="248"/>
                    </a:cubicBezTo>
                    <a:cubicBezTo>
                      <a:pt x="564" y="252"/>
                      <a:pt x="540" y="252"/>
                      <a:pt x="516" y="252"/>
                    </a:cubicBezTo>
                    <a:cubicBezTo>
                      <a:pt x="500" y="256"/>
                      <a:pt x="472" y="264"/>
                      <a:pt x="472" y="264"/>
                    </a:cubicBezTo>
                    <a:cubicBezTo>
                      <a:pt x="444" y="284"/>
                      <a:pt x="424" y="280"/>
                      <a:pt x="388" y="284"/>
                    </a:cubicBezTo>
                    <a:cubicBezTo>
                      <a:pt x="368" y="292"/>
                      <a:pt x="344" y="300"/>
                      <a:pt x="324" y="312"/>
                    </a:cubicBezTo>
                    <a:cubicBezTo>
                      <a:pt x="316" y="339"/>
                      <a:pt x="312" y="383"/>
                      <a:pt x="280" y="395"/>
                    </a:cubicBezTo>
                    <a:cubicBezTo>
                      <a:pt x="264" y="415"/>
                      <a:pt x="232" y="443"/>
                      <a:pt x="208" y="451"/>
                    </a:cubicBezTo>
                    <a:cubicBezTo>
                      <a:pt x="196" y="471"/>
                      <a:pt x="180" y="507"/>
                      <a:pt x="160" y="519"/>
                    </a:cubicBezTo>
                    <a:cubicBezTo>
                      <a:pt x="152" y="535"/>
                      <a:pt x="104" y="583"/>
                      <a:pt x="84" y="591"/>
                    </a:cubicBezTo>
                    <a:cubicBezTo>
                      <a:pt x="80" y="615"/>
                      <a:pt x="68" y="623"/>
                      <a:pt x="56" y="599"/>
                    </a:cubicBezTo>
                    <a:cubicBezTo>
                      <a:pt x="64" y="579"/>
                      <a:pt x="80" y="531"/>
                      <a:pt x="100" y="519"/>
                    </a:cubicBezTo>
                    <a:cubicBezTo>
                      <a:pt x="108" y="499"/>
                      <a:pt x="120" y="503"/>
                      <a:pt x="124" y="487"/>
                    </a:cubicBezTo>
                    <a:cubicBezTo>
                      <a:pt x="116" y="447"/>
                      <a:pt x="96" y="483"/>
                      <a:pt x="72" y="491"/>
                    </a:cubicBezTo>
                    <a:cubicBezTo>
                      <a:pt x="40" y="487"/>
                      <a:pt x="28" y="479"/>
                      <a:pt x="0" y="475"/>
                    </a:cubicBezTo>
                    <a:cubicBezTo>
                      <a:pt x="12" y="463"/>
                      <a:pt x="16" y="451"/>
                      <a:pt x="28" y="439"/>
                    </a:cubicBezTo>
                    <a:cubicBezTo>
                      <a:pt x="32" y="423"/>
                      <a:pt x="44" y="400"/>
                      <a:pt x="48" y="384"/>
                    </a:cubicBezTo>
                    <a:cubicBezTo>
                      <a:pt x="44" y="364"/>
                      <a:pt x="46" y="362"/>
                      <a:pt x="38" y="342"/>
                    </a:cubicBezTo>
                    <a:cubicBezTo>
                      <a:pt x="42" y="303"/>
                      <a:pt x="59" y="275"/>
                      <a:pt x="81" y="254"/>
                    </a:cubicBezTo>
                    <a:cubicBezTo>
                      <a:pt x="83" y="232"/>
                      <a:pt x="55" y="222"/>
                      <a:pt x="42" y="209"/>
                    </a:cubicBezTo>
                    <a:cubicBezTo>
                      <a:pt x="38" y="194"/>
                      <a:pt x="42" y="183"/>
                      <a:pt x="4" y="176"/>
                    </a:cubicBezTo>
                    <a:cubicBezTo>
                      <a:pt x="8" y="160"/>
                      <a:pt x="16" y="152"/>
                      <a:pt x="28" y="144"/>
                    </a:cubicBezTo>
                    <a:cubicBezTo>
                      <a:pt x="36" y="128"/>
                      <a:pt x="40" y="100"/>
                      <a:pt x="48" y="88"/>
                    </a:cubicBezTo>
                    <a:cubicBezTo>
                      <a:pt x="52" y="80"/>
                      <a:pt x="64" y="84"/>
                      <a:pt x="72" y="80"/>
                    </a:cubicBezTo>
                    <a:cubicBezTo>
                      <a:pt x="100" y="60"/>
                      <a:pt x="128" y="44"/>
                      <a:pt x="156" y="24"/>
                    </a:cubicBezTo>
                    <a:cubicBezTo>
                      <a:pt x="176" y="28"/>
                      <a:pt x="216" y="40"/>
                      <a:pt x="216" y="40"/>
                    </a:cubicBezTo>
                    <a:cubicBezTo>
                      <a:pt x="236" y="56"/>
                      <a:pt x="272" y="36"/>
                      <a:pt x="296" y="36"/>
                    </a:cubicBezTo>
                    <a:cubicBezTo>
                      <a:pt x="300" y="32"/>
                      <a:pt x="340" y="0"/>
                      <a:pt x="340" y="2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</p:grpSp>
        <p:sp>
          <p:nvSpPr>
            <p:cNvPr id="104" name="Freeform 94"/>
            <p:cNvSpPr>
              <a:spLocks noChangeAspect="1"/>
            </p:cNvSpPr>
            <p:nvPr/>
          </p:nvSpPr>
          <p:spPr bwMode="auto">
            <a:xfrm>
              <a:off x="2842" y="3300"/>
              <a:ext cx="211" cy="192"/>
            </a:xfrm>
            <a:custGeom>
              <a:avLst/>
              <a:gdLst>
                <a:gd name="T0" fmla="*/ 0 w 837"/>
                <a:gd name="T1" fmla="*/ 0 h 756"/>
                <a:gd name="T2" fmla="*/ 0 w 837"/>
                <a:gd name="T3" fmla="*/ 0 h 756"/>
                <a:gd name="T4" fmla="*/ 0 w 837"/>
                <a:gd name="T5" fmla="*/ 0 h 756"/>
                <a:gd name="T6" fmla="*/ 0 w 837"/>
                <a:gd name="T7" fmla="*/ 0 h 756"/>
                <a:gd name="T8" fmla="*/ 0 w 837"/>
                <a:gd name="T9" fmla="*/ 0 h 756"/>
                <a:gd name="T10" fmla="*/ 0 w 837"/>
                <a:gd name="T11" fmla="*/ 0 h 756"/>
                <a:gd name="T12" fmla="*/ 0 w 837"/>
                <a:gd name="T13" fmla="*/ 0 h 756"/>
                <a:gd name="T14" fmla="*/ 0 w 837"/>
                <a:gd name="T15" fmla="*/ 0 h 756"/>
                <a:gd name="T16" fmla="*/ 0 w 837"/>
                <a:gd name="T17" fmla="*/ 0 h 756"/>
                <a:gd name="T18" fmla="*/ 0 w 837"/>
                <a:gd name="T19" fmla="*/ 0 h 756"/>
                <a:gd name="T20" fmla="*/ 0 w 837"/>
                <a:gd name="T21" fmla="*/ 0 h 756"/>
                <a:gd name="T22" fmla="*/ 0 w 837"/>
                <a:gd name="T23" fmla="*/ 0 h 756"/>
                <a:gd name="T24" fmla="*/ 0 w 837"/>
                <a:gd name="T25" fmla="*/ 0 h 756"/>
                <a:gd name="T26" fmla="*/ 0 w 837"/>
                <a:gd name="T27" fmla="*/ 0 h 756"/>
                <a:gd name="T28" fmla="*/ 0 w 837"/>
                <a:gd name="T29" fmla="*/ 0 h 756"/>
                <a:gd name="T30" fmla="*/ 0 w 837"/>
                <a:gd name="T31" fmla="*/ 0 h 756"/>
                <a:gd name="T32" fmla="*/ 0 w 837"/>
                <a:gd name="T33" fmla="*/ 0 h 756"/>
                <a:gd name="T34" fmla="*/ 0 w 837"/>
                <a:gd name="T35" fmla="*/ 0 h 756"/>
                <a:gd name="T36" fmla="*/ 0 w 837"/>
                <a:gd name="T37" fmla="*/ 0 h 756"/>
                <a:gd name="T38" fmla="*/ 0 w 837"/>
                <a:gd name="T39" fmla="*/ 0 h 756"/>
                <a:gd name="T40" fmla="*/ 0 w 837"/>
                <a:gd name="T41" fmla="*/ 0 h 756"/>
                <a:gd name="T42" fmla="*/ 0 w 837"/>
                <a:gd name="T43" fmla="*/ 0 h 756"/>
                <a:gd name="T44" fmla="*/ 0 w 837"/>
                <a:gd name="T45" fmla="*/ 0 h 756"/>
                <a:gd name="T46" fmla="*/ 0 w 837"/>
                <a:gd name="T47" fmla="*/ 0 h 756"/>
                <a:gd name="T48" fmla="*/ 0 w 837"/>
                <a:gd name="T49" fmla="*/ 0 h 756"/>
                <a:gd name="T50" fmla="*/ 0 w 837"/>
                <a:gd name="T51" fmla="*/ 0 h 756"/>
                <a:gd name="T52" fmla="*/ 0 w 837"/>
                <a:gd name="T53" fmla="*/ 0 h 756"/>
                <a:gd name="T54" fmla="*/ 0 w 837"/>
                <a:gd name="T55" fmla="*/ 0 h 756"/>
                <a:gd name="T56" fmla="*/ 0 w 837"/>
                <a:gd name="T57" fmla="*/ 0 h 756"/>
                <a:gd name="T58" fmla="*/ 0 w 837"/>
                <a:gd name="T59" fmla="*/ 0 h 756"/>
                <a:gd name="T60" fmla="*/ 0 w 837"/>
                <a:gd name="T61" fmla="*/ 0 h 756"/>
                <a:gd name="T62" fmla="*/ 0 w 837"/>
                <a:gd name="T63" fmla="*/ 0 h 756"/>
                <a:gd name="T64" fmla="*/ 0 w 837"/>
                <a:gd name="T65" fmla="*/ 0 h 756"/>
                <a:gd name="T66" fmla="*/ 0 w 837"/>
                <a:gd name="T67" fmla="*/ 0 h 756"/>
                <a:gd name="T68" fmla="*/ 0 w 837"/>
                <a:gd name="T69" fmla="*/ 0 h 756"/>
                <a:gd name="T70" fmla="*/ 0 w 837"/>
                <a:gd name="T71" fmla="*/ 0 h 756"/>
                <a:gd name="T72" fmla="*/ 0 w 837"/>
                <a:gd name="T73" fmla="*/ 0 h 756"/>
                <a:gd name="T74" fmla="*/ 0 w 837"/>
                <a:gd name="T75" fmla="*/ 0 h 756"/>
                <a:gd name="T76" fmla="*/ 0 w 837"/>
                <a:gd name="T77" fmla="*/ 0 h 756"/>
                <a:gd name="T78" fmla="*/ 0 w 837"/>
                <a:gd name="T79" fmla="*/ 0 h 756"/>
                <a:gd name="T80" fmla="*/ 0 w 837"/>
                <a:gd name="T81" fmla="*/ 0 h 756"/>
                <a:gd name="T82" fmla="*/ 0 w 837"/>
                <a:gd name="T83" fmla="*/ 0 h 75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837"/>
                <a:gd name="T127" fmla="*/ 0 h 756"/>
                <a:gd name="T128" fmla="*/ 837 w 837"/>
                <a:gd name="T129" fmla="*/ 756 h 75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837" h="756">
                  <a:moveTo>
                    <a:pt x="710" y="24"/>
                  </a:moveTo>
                  <a:cubicBezTo>
                    <a:pt x="702" y="44"/>
                    <a:pt x="726" y="65"/>
                    <a:pt x="672" y="77"/>
                  </a:cubicBezTo>
                  <a:cubicBezTo>
                    <a:pt x="622" y="80"/>
                    <a:pt x="630" y="57"/>
                    <a:pt x="618" y="21"/>
                  </a:cubicBezTo>
                  <a:cubicBezTo>
                    <a:pt x="609" y="14"/>
                    <a:pt x="530" y="12"/>
                    <a:pt x="530" y="12"/>
                  </a:cubicBezTo>
                  <a:cubicBezTo>
                    <a:pt x="494" y="4"/>
                    <a:pt x="466" y="24"/>
                    <a:pt x="409" y="27"/>
                  </a:cubicBezTo>
                  <a:cubicBezTo>
                    <a:pt x="370" y="29"/>
                    <a:pt x="358" y="35"/>
                    <a:pt x="321" y="36"/>
                  </a:cubicBezTo>
                  <a:cubicBezTo>
                    <a:pt x="313" y="36"/>
                    <a:pt x="261" y="20"/>
                    <a:pt x="261" y="20"/>
                  </a:cubicBezTo>
                  <a:cubicBezTo>
                    <a:pt x="241" y="0"/>
                    <a:pt x="177" y="14"/>
                    <a:pt x="171" y="35"/>
                  </a:cubicBezTo>
                  <a:cubicBezTo>
                    <a:pt x="163" y="51"/>
                    <a:pt x="132" y="63"/>
                    <a:pt x="132" y="63"/>
                  </a:cubicBezTo>
                  <a:cubicBezTo>
                    <a:pt x="115" y="69"/>
                    <a:pt x="114" y="73"/>
                    <a:pt x="94" y="69"/>
                  </a:cubicBezTo>
                  <a:cubicBezTo>
                    <a:pt x="84" y="60"/>
                    <a:pt x="87" y="60"/>
                    <a:pt x="71" y="56"/>
                  </a:cubicBezTo>
                  <a:cubicBezTo>
                    <a:pt x="67" y="40"/>
                    <a:pt x="39" y="30"/>
                    <a:pt x="13" y="23"/>
                  </a:cubicBezTo>
                  <a:cubicBezTo>
                    <a:pt x="3" y="50"/>
                    <a:pt x="16" y="11"/>
                    <a:pt x="0" y="84"/>
                  </a:cubicBezTo>
                  <a:cubicBezTo>
                    <a:pt x="1" y="104"/>
                    <a:pt x="5" y="138"/>
                    <a:pt x="16" y="156"/>
                  </a:cubicBezTo>
                  <a:cubicBezTo>
                    <a:pt x="27" y="174"/>
                    <a:pt x="31" y="158"/>
                    <a:pt x="63" y="192"/>
                  </a:cubicBezTo>
                  <a:cubicBezTo>
                    <a:pt x="95" y="212"/>
                    <a:pt x="99" y="246"/>
                    <a:pt x="115" y="267"/>
                  </a:cubicBezTo>
                  <a:cubicBezTo>
                    <a:pt x="127" y="287"/>
                    <a:pt x="141" y="314"/>
                    <a:pt x="154" y="335"/>
                  </a:cubicBezTo>
                  <a:cubicBezTo>
                    <a:pt x="162" y="357"/>
                    <a:pt x="203" y="399"/>
                    <a:pt x="227" y="407"/>
                  </a:cubicBezTo>
                  <a:cubicBezTo>
                    <a:pt x="239" y="423"/>
                    <a:pt x="241" y="443"/>
                    <a:pt x="275" y="447"/>
                  </a:cubicBezTo>
                  <a:cubicBezTo>
                    <a:pt x="291" y="450"/>
                    <a:pt x="299" y="463"/>
                    <a:pt x="299" y="463"/>
                  </a:cubicBezTo>
                  <a:cubicBezTo>
                    <a:pt x="307" y="479"/>
                    <a:pt x="302" y="496"/>
                    <a:pt x="334" y="504"/>
                  </a:cubicBezTo>
                  <a:cubicBezTo>
                    <a:pt x="358" y="520"/>
                    <a:pt x="360" y="525"/>
                    <a:pt x="364" y="540"/>
                  </a:cubicBezTo>
                  <a:cubicBezTo>
                    <a:pt x="384" y="560"/>
                    <a:pt x="398" y="590"/>
                    <a:pt x="421" y="606"/>
                  </a:cubicBezTo>
                  <a:cubicBezTo>
                    <a:pt x="436" y="618"/>
                    <a:pt x="454" y="603"/>
                    <a:pt x="478" y="652"/>
                  </a:cubicBezTo>
                  <a:cubicBezTo>
                    <a:pt x="511" y="671"/>
                    <a:pt x="509" y="689"/>
                    <a:pt x="528" y="701"/>
                  </a:cubicBezTo>
                  <a:cubicBezTo>
                    <a:pt x="547" y="713"/>
                    <a:pt x="574" y="717"/>
                    <a:pt x="591" y="726"/>
                  </a:cubicBezTo>
                  <a:cubicBezTo>
                    <a:pt x="606" y="729"/>
                    <a:pt x="631" y="756"/>
                    <a:pt x="631" y="756"/>
                  </a:cubicBezTo>
                  <a:cubicBezTo>
                    <a:pt x="642" y="743"/>
                    <a:pt x="649" y="689"/>
                    <a:pt x="625" y="675"/>
                  </a:cubicBezTo>
                  <a:cubicBezTo>
                    <a:pt x="622" y="648"/>
                    <a:pt x="622" y="638"/>
                    <a:pt x="646" y="630"/>
                  </a:cubicBezTo>
                  <a:cubicBezTo>
                    <a:pt x="667" y="605"/>
                    <a:pt x="666" y="597"/>
                    <a:pt x="666" y="567"/>
                  </a:cubicBezTo>
                  <a:cubicBezTo>
                    <a:pt x="673" y="551"/>
                    <a:pt x="687" y="518"/>
                    <a:pt x="741" y="522"/>
                  </a:cubicBezTo>
                  <a:cubicBezTo>
                    <a:pt x="745" y="509"/>
                    <a:pt x="732" y="496"/>
                    <a:pt x="735" y="483"/>
                  </a:cubicBezTo>
                  <a:cubicBezTo>
                    <a:pt x="738" y="470"/>
                    <a:pt x="750" y="449"/>
                    <a:pt x="757" y="441"/>
                  </a:cubicBezTo>
                  <a:cubicBezTo>
                    <a:pt x="772" y="434"/>
                    <a:pt x="814" y="451"/>
                    <a:pt x="826" y="443"/>
                  </a:cubicBezTo>
                  <a:cubicBezTo>
                    <a:pt x="834" y="419"/>
                    <a:pt x="834" y="414"/>
                    <a:pt x="826" y="390"/>
                  </a:cubicBezTo>
                  <a:cubicBezTo>
                    <a:pt x="811" y="375"/>
                    <a:pt x="766" y="343"/>
                    <a:pt x="768" y="329"/>
                  </a:cubicBezTo>
                  <a:cubicBezTo>
                    <a:pt x="799" y="327"/>
                    <a:pt x="814" y="324"/>
                    <a:pt x="831" y="308"/>
                  </a:cubicBezTo>
                  <a:cubicBezTo>
                    <a:pt x="837" y="279"/>
                    <a:pt x="806" y="276"/>
                    <a:pt x="790" y="272"/>
                  </a:cubicBezTo>
                  <a:cubicBezTo>
                    <a:pt x="774" y="256"/>
                    <a:pt x="768" y="263"/>
                    <a:pt x="759" y="240"/>
                  </a:cubicBezTo>
                  <a:cubicBezTo>
                    <a:pt x="745" y="222"/>
                    <a:pt x="736" y="216"/>
                    <a:pt x="732" y="200"/>
                  </a:cubicBezTo>
                  <a:cubicBezTo>
                    <a:pt x="721" y="165"/>
                    <a:pt x="735" y="123"/>
                    <a:pt x="735" y="95"/>
                  </a:cubicBezTo>
                  <a:cubicBezTo>
                    <a:pt x="747" y="59"/>
                    <a:pt x="714" y="40"/>
                    <a:pt x="710" y="24"/>
                  </a:cubicBez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  <p:sp>
          <p:nvSpPr>
            <p:cNvPr id="105" name="Freeform 95"/>
            <p:cNvSpPr>
              <a:spLocks noChangeAspect="1"/>
            </p:cNvSpPr>
            <p:nvPr/>
          </p:nvSpPr>
          <p:spPr bwMode="auto">
            <a:xfrm>
              <a:off x="2998" y="3217"/>
              <a:ext cx="244" cy="317"/>
            </a:xfrm>
            <a:custGeom>
              <a:avLst/>
              <a:gdLst>
                <a:gd name="T0" fmla="*/ 0 w 968"/>
                <a:gd name="T1" fmla="*/ 0 h 1251"/>
                <a:gd name="T2" fmla="*/ 0 w 968"/>
                <a:gd name="T3" fmla="*/ 0 h 1251"/>
                <a:gd name="T4" fmla="*/ 0 w 968"/>
                <a:gd name="T5" fmla="*/ 0 h 1251"/>
                <a:gd name="T6" fmla="*/ 0 w 968"/>
                <a:gd name="T7" fmla="*/ 0 h 1251"/>
                <a:gd name="T8" fmla="*/ 0 w 968"/>
                <a:gd name="T9" fmla="*/ 0 h 1251"/>
                <a:gd name="T10" fmla="*/ 0 w 968"/>
                <a:gd name="T11" fmla="*/ 0 h 1251"/>
                <a:gd name="T12" fmla="*/ 0 w 968"/>
                <a:gd name="T13" fmla="*/ 0 h 1251"/>
                <a:gd name="T14" fmla="*/ 0 w 968"/>
                <a:gd name="T15" fmla="*/ 0 h 1251"/>
                <a:gd name="T16" fmla="*/ 0 w 968"/>
                <a:gd name="T17" fmla="*/ 0 h 1251"/>
                <a:gd name="T18" fmla="*/ 0 w 968"/>
                <a:gd name="T19" fmla="*/ 0 h 1251"/>
                <a:gd name="T20" fmla="*/ 0 w 968"/>
                <a:gd name="T21" fmla="*/ 0 h 1251"/>
                <a:gd name="T22" fmla="*/ 0 w 968"/>
                <a:gd name="T23" fmla="*/ 0 h 1251"/>
                <a:gd name="T24" fmla="*/ 0 w 968"/>
                <a:gd name="T25" fmla="*/ 0 h 1251"/>
                <a:gd name="T26" fmla="*/ 0 w 968"/>
                <a:gd name="T27" fmla="*/ 0 h 1251"/>
                <a:gd name="T28" fmla="*/ 0 w 968"/>
                <a:gd name="T29" fmla="*/ 0 h 1251"/>
                <a:gd name="T30" fmla="*/ 0 w 968"/>
                <a:gd name="T31" fmla="*/ 0 h 1251"/>
                <a:gd name="T32" fmla="*/ 0 w 968"/>
                <a:gd name="T33" fmla="*/ 0 h 1251"/>
                <a:gd name="T34" fmla="*/ 0 w 968"/>
                <a:gd name="T35" fmla="*/ 0 h 1251"/>
                <a:gd name="T36" fmla="*/ 0 w 968"/>
                <a:gd name="T37" fmla="*/ 0 h 1251"/>
                <a:gd name="T38" fmla="*/ 0 w 968"/>
                <a:gd name="T39" fmla="*/ 0 h 1251"/>
                <a:gd name="T40" fmla="*/ 0 w 968"/>
                <a:gd name="T41" fmla="*/ 0 h 1251"/>
                <a:gd name="T42" fmla="*/ 0 w 968"/>
                <a:gd name="T43" fmla="*/ 0 h 1251"/>
                <a:gd name="T44" fmla="*/ 0 w 968"/>
                <a:gd name="T45" fmla="*/ 0 h 1251"/>
                <a:gd name="T46" fmla="*/ 0 w 968"/>
                <a:gd name="T47" fmla="*/ 0 h 1251"/>
                <a:gd name="T48" fmla="*/ 0 w 968"/>
                <a:gd name="T49" fmla="*/ 0 h 1251"/>
                <a:gd name="T50" fmla="*/ 0 w 968"/>
                <a:gd name="T51" fmla="*/ 0 h 1251"/>
                <a:gd name="T52" fmla="*/ 0 w 968"/>
                <a:gd name="T53" fmla="*/ 0 h 1251"/>
                <a:gd name="T54" fmla="*/ 0 w 968"/>
                <a:gd name="T55" fmla="*/ 0 h 1251"/>
                <a:gd name="T56" fmla="*/ 0 w 968"/>
                <a:gd name="T57" fmla="*/ 0 h 1251"/>
                <a:gd name="T58" fmla="*/ 0 w 968"/>
                <a:gd name="T59" fmla="*/ 0 h 1251"/>
                <a:gd name="T60" fmla="*/ 0 w 968"/>
                <a:gd name="T61" fmla="*/ 0 h 1251"/>
                <a:gd name="T62" fmla="*/ 0 w 968"/>
                <a:gd name="T63" fmla="*/ 0 h 1251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968"/>
                <a:gd name="T97" fmla="*/ 0 h 1251"/>
                <a:gd name="T98" fmla="*/ 968 w 968"/>
                <a:gd name="T99" fmla="*/ 1251 h 1251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968" h="1251">
                  <a:moveTo>
                    <a:pt x="256" y="1251"/>
                  </a:moveTo>
                  <a:cubicBezTo>
                    <a:pt x="252" y="1223"/>
                    <a:pt x="252" y="1179"/>
                    <a:pt x="224" y="1159"/>
                  </a:cubicBezTo>
                  <a:cubicBezTo>
                    <a:pt x="232" y="1123"/>
                    <a:pt x="268" y="1039"/>
                    <a:pt x="304" y="1023"/>
                  </a:cubicBezTo>
                  <a:cubicBezTo>
                    <a:pt x="316" y="1043"/>
                    <a:pt x="320" y="1055"/>
                    <a:pt x="340" y="1063"/>
                  </a:cubicBezTo>
                  <a:cubicBezTo>
                    <a:pt x="372" y="1051"/>
                    <a:pt x="368" y="1059"/>
                    <a:pt x="400" y="1071"/>
                  </a:cubicBezTo>
                  <a:cubicBezTo>
                    <a:pt x="404" y="1087"/>
                    <a:pt x="412" y="1091"/>
                    <a:pt x="428" y="1095"/>
                  </a:cubicBezTo>
                  <a:cubicBezTo>
                    <a:pt x="448" y="1115"/>
                    <a:pt x="464" y="1107"/>
                    <a:pt x="488" y="1115"/>
                  </a:cubicBezTo>
                  <a:cubicBezTo>
                    <a:pt x="496" y="1131"/>
                    <a:pt x="508" y="1163"/>
                    <a:pt x="508" y="1163"/>
                  </a:cubicBezTo>
                  <a:cubicBezTo>
                    <a:pt x="512" y="1227"/>
                    <a:pt x="512" y="1211"/>
                    <a:pt x="544" y="1191"/>
                  </a:cubicBezTo>
                  <a:cubicBezTo>
                    <a:pt x="568" y="1123"/>
                    <a:pt x="584" y="1119"/>
                    <a:pt x="656" y="1107"/>
                  </a:cubicBezTo>
                  <a:cubicBezTo>
                    <a:pt x="672" y="1087"/>
                    <a:pt x="692" y="1091"/>
                    <a:pt x="712" y="1079"/>
                  </a:cubicBezTo>
                  <a:cubicBezTo>
                    <a:pt x="756" y="1051"/>
                    <a:pt x="832" y="1039"/>
                    <a:pt x="884" y="1031"/>
                  </a:cubicBezTo>
                  <a:cubicBezTo>
                    <a:pt x="908" y="995"/>
                    <a:pt x="888" y="955"/>
                    <a:pt x="896" y="915"/>
                  </a:cubicBezTo>
                  <a:cubicBezTo>
                    <a:pt x="892" y="895"/>
                    <a:pt x="884" y="883"/>
                    <a:pt x="896" y="867"/>
                  </a:cubicBezTo>
                  <a:cubicBezTo>
                    <a:pt x="904" y="855"/>
                    <a:pt x="932" y="839"/>
                    <a:pt x="932" y="839"/>
                  </a:cubicBezTo>
                  <a:cubicBezTo>
                    <a:pt x="940" y="827"/>
                    <a:pt x="952" y="819"/>
                    <a:pt x="960" y="807"/>
                  </a:cubicBezTo>
                  <a:cubicBezTo>
                    <a:pt x="964" y="799"/>
                    <a:pt x="968" y="783"/>
                    <a:pt x="968" y="783"/>
                  </a:cubicBezTo>
                  <a:cubicBezTo>
                    <a:pt x="964" y="759"/>
                    <a:pt x="968" y="751"/>
                    <a:pt x="944" y="743"/>
                  </a:cubicBezTo>
                  <a:cubicBezTo>
                    <a:pt x="908" y="715"/>
                    <a:pt x="912" y="711"/>
                    <a:pt x="860" y="707"/>
                  </a:cubicBezTo>
                  <a:cubicBezTo>
                    <a:pt x="840" y="695"/>
                    <a:pt x="848" y="659"/>
                    <a:pt x="836" y="639"/>
                  </a:cubicBezTo>
                  <a:cubicBezTo>
                    <a:pt x="828" y="604"/>
                    <a:pt x="800" y="560"/>
                    <a:pt x="836" y="536"/>
                  </a:cubicBezTo>
                  <a:cubicBezTo>
                    <a:pt x="844" y="496"/>
                    <a:pt x="892" y="448"/>
                    <a:pt x="840" y="440"/>
                  </a:cubicBezTo>
                  <a:cubicBezTo>
                    <a:pt x="856" y="416"/>
                    <a:pt x="828" y="360"/>
                    <a:pt x="796" y="348"/>
                  </a:cubicBezTo>
                  <a:cubicBezTo>
                    <a:pt x="776" y="352"/>
                    <a:pt x="756" y="360"/>
                    <a:pt x="740" y="372"/>
                  </a:cubicBezTo>
                  <a:cubicBezTo>
                    <a:pt x="724" y="416"/>
                    <a:pt x="680" y="372"/>
                    <a:pt x="628" y="368"/>
                  </a:cubicBezTo>
                  <a:cubicBezTo>
                    <a:pt x="600" y="368"/>
                    <a:pt x="576" y="384"/>
                    <a:pt x="560" y="360"/>
                  </a:cubicBezTo>
                  <a:cubicBezTo>
                    <a:pt x="548" y="336"/>
                    <a:pt x="560" y="276"/>
                    <a:pt x="552" y="248"/>
                  </a:cubicBezTo>
                  <a:cubicBezTo>
                    <a:pt x="536" y="216"/>
                    <a:pt x="476" y="224"/>
                    <a:pt x="464" y="216"/>
                  </a:cubicBezTo>
                  <a:cubicBezTo>
                    <a:pt x="456" y="192"/>
                    <a:pt x="432" y="164"/>
                    <a:pt x="412" y="152"/>
                  </a:cubicBezTo>
                  <a:cubicBezTo>
                    <a:pt x="404" y="132"/>
                    <a:pt x="388" y="104"/>
                    <a:pt x="368" y="96"/>
                  </a:cubicBezTo>
                  <a:cubicBezTo>
                    <a:pt x="360" y="84"/>
                    <a:pt x="348" y="68"/>
                    <a:pt x="336" y="60"/>
                  </a:cubicBezTo>
                  <a:cubicBezTo>
                    <a:pt x="324" y="52"/>
                    <a:pt x="296" y="48"/>
                    <a:pt x="296" y="48"/>
                  </a:cubicBezTo>
                  <a:cubicBezTo>
                    <a:pt x="284" y="32"/>
                    <a:pt x="272" y="12"/>
                    <a:pt x="256" y="4"/>
                  </a:cubicBezTo>
                  <a:cubicBezTo>
                    <a:pt x="202" y="0"/>
                    <a:pt x="177" y="5"/>
                    <a:pt x="133" y="1"/>
                  </a:cubicBezTo>
                  <a:cubicBezTo>
                    <a:pt x="109" y="12"/>
                    <a:pt x="97" y="33"/>
                    <a:pt x="75" y="55"/>
                  </a:cubicBezTo>
                  <a:cubicBezTo>
                    <a:pt x="62" y="65"/>
                    <a:pt x="60" y="51"/>
                    <a:pt x="52" y="52"/>
                  </a:cubicBezTo>
                  <a:cubicBezTo>
                    <a:pt x="45" y="53"/>
                    <a:pt x="42" y="56"/>
                    <a:pt x="34" y="64"/>
                  </a:cubicBezTo>
                  <a:cubicBezTo>
                    <a:pt x="30" y="84"/>
                    <a:pt x="5" y="79"/>
                    <a:pt x="4" y="99"/>
                  </a:cubicBezTo>
                  <a:cubicBezTo>
                    <a:pt x="3" y="119"/>
                    <a:pt x="10" y="159"/>
                    <a:pt x="28" y="184"/>
                  </a:cubicBezTo>
                  <a:cubicBezTo>
                    <a:pt x="32" y="200"/>
                    <a:pt x="34" y="201"/>
                    <a:pt x="32" y="220"/>
                  </a:cubicBezTo>
                  <a:cubicBezTo>
                    <a:pt x="36" y="229"/>
                    <a:pt x="57" y="222"/>
                    <a:pt x="54" y="241"/>
                  </a:cubicBezTo>
                  <a:cubicBezTo>
                    <a:pt x="84" y="243"/>
                    <a:pt x="87" y="259"/>
                    <a:pt x="100" y="267"/>
                  </a:cubicBezTo>
                  <a:cubicBezTo>
                    <a:pt x="113" y="275"/>
                    <a:pt x="132" y="283"/>
                    <a:pt x="130" y="292"/>
                  </a:cubicBezTo>
                  <a:cubicBezTo>
                    <a:pt x="108" y="315"/>
                    <a:pt x="112" y="304"/>
                    <a:pt x="88" y="320"/>
                  </a:cubicBezTo>
                  <a:cubicBezTo>
                    <a:pt x="80" y="340"/>
                    <a:pt x="76" y="356"/>
                    <a:pt x="100" y="364"/>
                  </a:cubicBezTo>
                  <a:cubicBezTo>
                    <a:pt x="104" y="376"/>
                    <a:pt x="120" y="400"/>
                    <a:pt x="120" y="400"/>
                  </a:cubicBezTo>
                  <a:cubicBezTo>
                    <a:pt x="116" y="444"/>
                    <a:pt x="92" y="536"/>
                    <a:pt x="136" y="564"/>
                  </a:cubicBezTo>
                  <a:cubicBezTo>
                    <a:pt x="144" y="592"/>
                    <a:pt x="180" y="604"/>
                    <a:pt x="208" y="612"/>
                  </a:cubicBezTo>
                  <a:cubicBezTo>
                    <a:pt x="224" y="655"/>
                    <a:pt x="180" y="651"/>
                    <a:pt x="148" y="655"/>
                  </a:cubicBezTo>
                  <a:cubicBezTo>
                    <a:pt x="152" y="675"/>
                    <a:pt x="180" y="695"/>
                    <a:pt x="200" y="707"/>
                  </a:cubicBezTo>
                  <a:cubicBezTo>
                    <a:pt x="212" y="727"/>
                    <a:pt x="223" y="778"/>
                    <a:pt x="196" y="771"/>
                  </a:cubicBezTo>
                  <a:cubicBezTo>
                    <a:pt x="120" y="755"/>
                    <a:pt x="144" y="767"/>
                    <a:pt x="116" y="807"/>
                  </a:cubicBezTo>
                  <a:cubicBezTo>
                    <a:pt x="124" y="843"/>
                    <a:pt x="128" y="855"/>
                    <a:pt x="88" y="851"/>
                  </a:cubicBezTo>
                  <a:cubicBezTo>
                    <a:pt x="72" y="855"/>
                    <a:pt x="68" y="871"/>
                    <a:pt x="52" y="879"/>
                  </a:cubicBezTo>
                  <a:cubicBezTo>
                    <a:pt x="48" y="895"/>
                    <a:pt x="44" y="907"/>
                    <a:pt x="48" y="923"/>
                  </a:cubicBezTo>
                  <a:cubicBezTo>
                    <a:pt x="44" y="943"/>
                    <a:pt x="8" y="975"/>
                    <a:pt x="8" y="975"/>
                  </a:cubicBezTo>
                  <a:cubicBezTo>
                    <a:pt x="4" y="999"/>
                    <a:pt x="0" y="1003"/>
                    <a:pt x="20" y="1015"/>
                  </a:cubicBezTo>
                  <a:cubicBezTo>
                    <a:pt x="24" y="1043"/>
                    <a:pt x="24" y="1067"/>
                    <a:pt x="8" y="1091"/>
                  </a:cubicBezTo>
                  <a:cubicBezTo>
                    <a:pt x="16" y="1107"/>
                    <a:pt x="28" y="1111"/>
                    <a:pt x="44" y="1115"/>
                  </a:cubicBezTo>
                  <a:cubicBezTo>
                    <a:pt x="56" y="1131"/>
                    <a:pt x="72" y="1131"/>
                    <a:pt x="92" y="1139"/>
                  </a:cubicBezTo>
                  <a:cubicBezTo>
                    <a:pt x="96" y="1139"/>
                    <a:pt x="104" y="1143"/>
                    <a:pt x="104" y="1143"/>
                  </a:cubicBezTo>
                  <a:cubicBezTo>
                    <a:pt x="140" y="1179"/>
                    <a:pt x="164" y="1199"/>
                    <a:pt x="212" y="1215"/>
                  </a:cubicBezTo>
                  <a:cubicBezTo>
                    <a:pt x="216" y="1223"/>
                    <a:pt x="232" y="1239"/>
                    <a:pt x="240" y="1247"/>
                  </a:cubicBezTo>
                  <a:cubicBezTo>
                    <a:pt x="244" y="1251"/>
                    <a:pt x="256" y="1251"/>
                    <a:pt x="256" y="1251"/>
                  </a:cubicBez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  <p:sp>
          <p:nvSpPr>
            <p:cNvPr id="106" name="Freeform 96"/>
            <p:cNvSpPr>
              <a:spLocks noChangeAspect="1"/>
            </p:cNvSpPr>
            <p:nvPr/>
          </p:nvSpPr>
          <p:spPr bwMode="auto">
            <a:xfrm>
              <a:off x="2716" y="3184"/>
              <a:ext cx="152" cy="121"/>
            </a:xfrm>
            <a:custGeom>
              <a:avLst/>
              <a:gdLst>
                <a:gd name="T0" fmla="*/ 0 w 598"/>
                <a:gd name="T1" fmla="*/ 0 h 474"/>
                <a:gd name="T2" fmla="*/ 0 w 598"/>
                <a:gd name="T3" fmla="*/ 0 h 474"/>
                <a:gd name="T4" fmla="*/ 0 w 598"/>
                <a:gd name="T5" fmla="*/ 0 h 474"/>
                <a:gd name="T6" fmla="*/ 0 w 598"/>
                <a:gd name="T7" fmla="*/ 0 h 474"/>
                <a:gd name="T8" fmla="*/ 0 w 598"/>
                <a:gd name="T9" fmla="*/ 0 h 474"/>
                <a:gd name="T10" fmla="*/ 0 w 598"/>
                <a:gd name="T11" fmla="*/ 0 h 474"/>
                <a:gd name="T12" fmla="*/ 0 w 598"/>
                <a:gd name="T13" fmla="*/ 0 h 474"/>
                <a:gd name="T14" fmla="*/ 0 w 598"/>
                <a:gd name="T15" fmla="*/ 0 h 474"/>
                <a:gd name="T16" fmla="*/ 0 w 598"/>
                <a:gd name="T17" fmla="*/ 0 h 474"/>
                <a:gd name="T18" fmla="*/ 0 w 598"/>
                <a:gd name="T19" fmla="*/ 0 h 474"/>
                <a:gd name="T20" fmla="*/ 0 w 598"/>
                <a:gd name="T21" fmla="*/ 0 h 474"/>
                <a:gd name="T22" fmla="*/ 0 w 598"/>
                <a:gd name="T23" fmla="*/ 0 h 474"/>
                <a:gd name="T24" fmla="*/ 0 w 598"/>
                <a:gd name="T25" fmla="*/ 0 h 474"/>
                <a:gd name="T26" fmla="*/ 0 w 598"/>
                <a:gd name="T27" fmla="*/ 0 h 474"/>
                <a:gd name="T28" fmla="*/ 0 w 598"/>
                <a:gd name="T29" fmla="*/ 0 h 474"/>
                <a:gd name="T30" fmla="*/ 0 w 598"/>
                <a:gd name="T31" fmla="*/ 0 h 474"/>
                <a:gd name="T32" fmla="*/ 0 w 598"/>
                <a:gd name="T33" fmla="*/ 0 h 474"/>
                <a:gd name="T34" fmla="*/ 0 w 598"/>
                <a:gd name="T35" fmla="*/ 0 h 474"/>
                <a:gd name="T36" fmla="*/ 0 w 598"/>
                <a:gd name="T37" fmla="*/ 0 h 474"/>
                <a:gd name="T38" fmla="*/ 0 w 598"/>
                <a:gd name="T39" fmla="*/ 0 h 474"/>
                <a:gd name="T40" fmla="*/ 0 w 598"/>
                <a:gd name="T41" fmla="*/ 0 h 474"/>
                <a:gd name="T42" fmla="*/ 0 w 598"/>
                <a:gd name="T43" fmla="*/ 0 h 474"/>
                <a:gd name="T44" fmla="*/ 0 w 598"/>
                <a:gd name="T45" fmla="*/ 0 h 474"/>
                <a:gd name="T46" fmla="*/ 0 w 598"/>
                <a:gd name="T47" fmla="*/ 0 h 474"/>
                <a:gd name="T48" fmla="*/ 0 w 598"/>
                <a:gd name="T49" fmla="*/ 0 h 474"/>
                <a:gd name="T50" fmla="*/ 0 w 598"/>
                <a:gd name="T51" fmla="*/ 0 h 474"/>
                <a:gd name="T52" fmla="*/ 0 w 598"/>
                <a:gd name="T53" fmla="*/ 0 h 474"/>
                <a:gd name="T54" fmla="*/ 0 w 598"/>
                <a:gd name="T55" fmla="*/ 0 h 474"/>
                <a:gd name="T56" fmla="*/ 0 w 598"/>
                <a:gd name="T57" fmla="*/ 0 h 47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598"/>
                <a:gd name="T88" fmla="*/ 0 h 474"/>
                <a:gd name="T89" fmla="*/ 598 w 598"/>
                <a:gd name="T90" fmla="*/ 474 h 474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598" h="474">
                  <a:moveTo>
                    <a:pt x="183" y="162"/>
                  </a:moveTo>
                  <a:cubicBezTo>
                    <a:pt x="257" y="150"/>
                    <a:pt x="217" y="163"/>
                    <a:pt x="265" y="139"/>
                  </a:cubicBezTo>
                  <a:cubicBezTo>
                    <a:pt x="285" y="115"/>
                    <a:pt x="317" y="122"/>
                    <a:pt x="337" y="99"/>
                  </a:cubicBezTo>
                  <a:cubicBezTo>
                    <a:pt x="378" y="95"/>
                    <a:pt x="413" y="101"/>
                    <a:pt x="428" y="66"/>
                  </a:cubicBezTo>
                  <a:cubicBezTo>
                    <a:pt x="449" y="60"/>
                    <a:pt x="481" y="63"/>
                    <a:pt x="505" y="51"/>
                  </a:cubicBezTo>
                  <a:cubicBezTo>
                    <a:pt x="513" y="35"/>
                    <a:pt x="535" y="16"/>
                    <a:pt x="543" y="0"/>
                  </a:cubicBezTo>
                  <a:cubicBezTo>
                    <a:pt x="560" y="18"/>
                    <a:pt x="576" y="51"/>
                    <a:pt x="591" y="74"/>
                  </a:cubicBezTo>
                  <a:cubicBezTo>
                    <a:pt x="595" y="82"/>
                    <a:pt x="598" y="88"/>
                    <a:pt x="590" y="96"/>
                  </a:cubicBezTo>
                  <a:cubicBezTo>
                    <a:pt x="573" y="102"/>
                    <a:pt x="565" y="123"/>
                    <a:pt x="565" y="123"/>
                  </a:cubicBezTo>
                  <a:cubicBezTo>
                    <a:pt x="551" y="153"/>
                    <a:pt x="529" y="163"/>
                    <a:pt x="529" y="163"/>
                  </a:cubicBezTo>
                  <a:cubicBezTo>
                    <a:pt x="512" y="179"/>
                    <a:pt x="494" y="189"/>
                    <a:pt x="468" y="188"/>
                  </a:cubicBezTo>
                  <a:cubicBezTo>
                    <a:pt x="450" y="218"/>
                    <a:pt x="466" y="268"/>
                    <a:pt x="474" y="288"/>
                  </a:cubicBezTo>
                  <a:cubicBezTo>
                    <a:pt x="462" y="314"/>
                    <a:pt x="412" y="321"/>
                    <a:pt x="399" y="345"/>
                  </a:cubicBezTo>
                  <a:cubicBezTo>
                    <a:pt x="391" y="369"/>
                    <a:pt x="431" y="422"/>
                    <a:pt x="395" y="432"/>
                  </a:cubicBezTo>
                  <a:cubicBezTo>
                    <a:pt x="383" y="450"/>
                    <a:pt x="366" y="449"/>
                    <a:pt x="366" y="449"/>
                  </a:cubicBezTo>
                  <a:cubicBezTo>
                    <a:pt x="336" y="453"/>
                    <a:pt x="338" y="422"/>
                    <a:pt x="338" y="422"/>
                  </a:cubicBezTo>
                  <a:cubicBezTo>
                    <a:pt x="326" y="426"/>
                    <a:pt x="278" y="439"/>
                    <a:pt x="266" y="431"/>
                  </a:cubicBezTo>
                  <a:cubicBezTo>
                    <a:pt x="269" y="404"/>
                    <a:pt x="264" y="398"/>
                    <a:pt x="255" y="375"/>
                  </a:cubicBezTo>
                  <a:cubicBezTo>
                    <a:pt x="251" y="398"/>
                    <a:pt x="236" y="410"/>
                    <a:pt x="228" y="423"/>
                  </a:cubicBezTo>
                  <a:cubicBezTo>
                    <a:pt x="220" y="436"/>
                    <a:pt x="216" y="449"/>
                    <a:pt x="205" y="451"/>
                  </a:cubicBezTo>
                  <a:cubicBezTo>
                    <a:pt x="165" y="447"/>
                    <a:pt x="170" y="450"/>
                    <a:pt x="161" y="437"/>
                  </a:cubicBezTo>
                  <a:cubicBezTo>
                    <a:pt x="96" y="441"/>
                    <a:pt x="88" y="466"/>
                    <a:pt x="60" y="474"/>
                  </a:cubicBezTo>
                  <a:cubicBezTo>
                    <a:pt x="60" y="473"/>
                    <a:pt x="36" y="468"/>
                    <a:pt x="36" y="468"/>
                  </a:cubicBezTo>
                  <a:cubicBezTo>
                    <a:pt x="17" y="450"/>
                    <a:pt x="33" y="379"/>
                    <a:pt x="29" y="351"/>
                  </a:cubicBezTo>
                  <a:cubicBezTo>
                    <a:pt x="45" y="318"/>
                    <a:pt x="47" y="296"/>
                    <a:pt x="11" y="288"/>
                  </a:cubicBezTo>
                  <a:cubicBezTo>
                    <a:pt x="15" y="269"/>
                    <a:pt x="23" y="280"/>
                    <a:pt x="35" y="252"/>
                  </a:cubicBezTo>
                  <a:cubicBezTo>
                    <a:pt x="19" y="236"/>
                    <a:pt x="16" y="239"/>
                    <a:pt x="0" y="227"/>
                  </a:cubicBezTo>
                  <a:cubicBezTo>
                    <a:pt x="16" y="203"/>
                    <a:pt x="41" y="162"/>
                    <a:pt x="29" y="139"/>
                  </a:cubicBezTo>
                  <a:cubicBezTo>
                    <a:pt x="61" y="131"/>
                    <a:pt x="147" y="161"/>
                    <a:pt x="183" y="162"/>
                  </a:cubicBez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  <p:sp>
          <p:nvSpPr>
            <p:cNvPr id="107" name="Freeform 97"/>
            <p:cNvSpPr>
              <a:spLocks noChangeAspect="1"/>
            </p:cNvSpPr>
            <p:nvPr/>
          </p:nvSpPr>
          <p:spPr bwMode="auto">
            <a:xfrm>
              <a:off x="2853" y="3035"/>
              <a:ext cx="322" cy="222"/>
            </a:xfrm>
            <a:custGeom>
              <a:avLst/>
              <a:gdLst>
                <a:gd name="T0" fmla="*/ 0 w 1273"/>
                <a:gd name="T1" fmla="*/ 0 h 878"/>
                <a:gd name="T2" fmla="*/ 0 w 1273"/>
                <a:gd name="T3" fmla="*/ 0 h 878"/>
                <a:gd name="T4" fmla="*/ 0 w 1273"/>
                <a:gd name="T5" fmla="*/ 0 h 878"/>
                <a:gd name="T6" fmla="*/ 0 w 1273"/>
                <a:gd name="T7" fmla="*/ 0 h 878"/>
                <a:gd name="T8" fmla="*/ 0 w 1273"/>
                <a:gd name="T9" fmla="*/ 0 h 878"/>
                <a:gd name="T10" fmla="*/ 0 w 1273"/>
                <a:gd name="T11" fmla="*/ 0 h 878"/>
                <a:gd name="T12" fmla="*/ 0 w 1273"/>
                <a:gd name="T13" fmla="*/ 0 h 878"/>
                <a:gd name="T14" fmla="*/ 0 w 1273"/>
                <a:gd name="T15" fmla="*/ 0 h 878"/>
                <a:gd name="T16" fmla="*/ 0 w 1273"/>
                <a:gd name="T17" fmla="*/ 0 h 878"/>
                <a:gd name="T18" fmla="*/ 0 w 1273"/>
                <a:gd name="T19" fmla="*/ 0 h 878"/>
                <a:gd name="T20" fmla="*/ 0 w 1273"/>
                <a:gd name="T21" fmla="*/ 0 h 878"/>
                <a:gd name="T22" fmla="*/ 0 w 1273"/>
                <a:gd name="T23" fmla="*/ 0 h 878"/>
                <a:gd name="T24" fmla="*/ 0 w 1273"/>
                <a:gd name="T25" fmla="*/ 0 h 878"/>
                <a:gd name="T26" fmla="*/ 0 w 1273"/>
                <a:gd name="T27" fmla="*/ 0 h 878"/>
                <a:gd name="T28" fmla="*/ 0 w 1273"/>
                <a:gd name="T29" fmla="*/ 0 h 878"/>
                <a:gd name="T30" fmla="*/ 0 w 1273"/>
                <a:gd name="T31" fmla="*/ 0 h 878"/>
                <a:gd name="T32" fmla="*/ 0 w 1273"/>
                <a:gd name="T33" fmla="*/ 0 h 878"/>
                <a:gd name="T34" fmla="*/ 0 w 1273"/>
                <a:gd name="T35" fmla="*/ 0 h 878"/>
                <a:gd name="T36" fmla="*/ 0 w 1273"/>
                <a:gd name="T37" fmla="*/ 0 h 878"/>
                <a:gd name="T38" fmla="*/ 0 w 1273"/>
                <a:gd name="T39" fmla="*/ 0 h 878"/>
                <a:gd name="T40" fmla="*/ 0 w 1273"/>
                <a:gd name="T41" fmla="*/ 0 h 878"/>
                <a:gd name="T42" fmla="*/ 0 w 1273"/>
                <a:gd name="T43" fmla="*/ 0 h 878"/>
                <a:gd name="T44" fmla="*/ 0 w 1273"/>
                <a:gd name="T45" fmla="*/ 0 h 878"/>
                <a:gd name="T46" fmla="*/ 0 w 1273"/>
                <a:gd name="T47" fmla="*/ 0 h 878"/>
                <a:gd name="T48" fmla="*/ 0 w 1273"/>
                <a:gd name="T49" fmla="*/ 0 h 878"/>
                <a:gd name="T50" fmla="*/ 0 w 1273"/>
                <a:gd name="T51" fmla="*/ 0 h 878"/>
                <a:gd name="T52" fmla="*/ 0 w 1273"/>
                <a:gd name="T53" fmla="*/ 0 h 878"/>
                <a:gd name="T54" fmla="*/ 0 w 1273"/>
                <a:gd name="T55" fmla="*/ 0 h 878"/>
                <a:gd name="T56" fmla="*/ 0 w 1273"/>
                <a:gd name="T57" fmla="*/ 0 h 878"/>
                <a:gd name="T58" fmla="*/ 0 w 1273"/>
                <a:gd name="T59" fmla="*/ 0 h 878"/>
                <a:gd name="T60" fmla="*/ 0 w 1273"/>
                <a:gd name="T61" fmla="*/ 0 h 878"/>
                <a:gd name="T62" fmla="*/ 0 w 1273"/>
                <a:gd name="T63" fmla="*/ 0 h 878"/>
                <a:gd name="T64" fmla="*/ 0 w 1273"/>
                <a:gd name="T65" fmla="*/ 0 h 878"/>
                <a:gd name="T66" fmla="*/ 0 w 1273"/>
                <a:gd name="T67" fmla="*/ 0 h 878"/>
                <a:gd name="T68" fmla="*/ 0 w 1273"/>
                <a:gd name="T69" fmla="*/ 0 h 878"/>
                <a:gd name="T70" fmla="*/ 0 w 1273"/>
                <a:gd name="T71" fmla="*/ 0 h 878"/>
                <a:gd name="T72" fmla="*/ 0 w 1273"/>
                <a:gd name="T73" fmla="*/ 0 h 878"/>
                <a:gd name="T74" fmla="*/ 0 w 1273"/>
                <a:gd name="T75" fmla="*/ 0 h 878"/>
                <a:gd name="T76" fmla="*/ 0 w 1273"/>
                <a:gd name="T77" fmla="*/ 0 h 878"/>
                <a:gd name="T78" fmla="*/ 0 w 1273"/>
                <a:gd name="T79" fmla="*/ 0 h 878"/>
                <a:gd name="T80" fmla="*/ 0 w 1273"/>
                <a:gd name="T81" fmla="*/ 0 h 878"/>
                <a:gd name="T82" fmla="*/ 0 w 1273"/>
                <a:gd name="T83" fmla="*/ 0 h 878"/>
                <a:gd name="T84" fmla="*/ 0 w 1273"/>
                <a:gd name="T85" fmla="*/ 0 h 878"/>
                <a:gd name="T86" fmla="*/ 0 w 1273"/>
                <a:gd name="T87" fmla="*/ 0 h 878"/>
                <a:gd name="T88" fmla="*/ 0 w 1273"/>
                <a:gd name="T89" fmla="*/ 0 h 878"/>
                <a:gd name="T90" fmla="*/ 0 w 1273"/>
                <a:gd name="T91" fmla="*/ 0 h 878"/>
                <a:gd name="T92" fmla="*/ 0 w 1273"/>
                <a:gd name="T93" fmla="*/ 0 h 878"/>
                <a:gd name="T94" fmla="*/ 0 w 1273"/>
                <a:gd name="T95" fmla="*/ 0 h 878"/>
                <a:gd name="T96" fmla="*/ 0 w 1273"/>
                <a:gd name="T97" fmla="*/ 0 h 878"/>
                <a:gd name="T98" fmla="*/ 0 w 1273"/>
                <a:gd name="T99" fmla="*/ 0 h 878"/>
                <a:gd name="T100" fmla="*/ 0 w 1273"/>
                <a:gd name="T101" fmla="*/ 0 h 878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273"/>
                <a:gd name="T154" fmla="*/ 0 h 878"/>
                <a:gd name="T155" fmla="*/ 1273 w 1273"/>
                <a:gd name="T156" fmla="*/ 878 h 878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273" h="878">
                  <a:moveTo>
                    <a:pt x="833" y="727"/>
                  </a:moveTo>
                  <a:cubicBezTo>
                    <a:pt x="861" y="723"/>
                    <a:pt x="881" y="719"/>
                    <a:pt x="905" y="703"/>
                  </a:cubicBezTo>
                  <a:cubicBezTo>
                    <a:pt x="917" y="687"/>
                    <a:pt x="937" y="683"/>
                    <a:pt x="957" y="675"/>
                  </a:cubicBezTo>
                  <a:cubicBezTo>
                    <a:pt x="969" y="668"/>
                    <a:pt x="966" y="674"/>
                    <a:pt x="977" y="659"/>
                  </a:cubicBezTo>
                  <a:cubicBezTo>
                    <a:pt x="993" y="639"/>
                    <a:pt x="997" y="603"/>
                    <a:pt x="1021" y="587"/>
                  </a:cubicBezTo>
                  <a:cubicBezTo>
                    <a:pt x="1025" y="571"/>
                    <a:pt x="1033" y="551"/>
                    <a:pt x="1037" y="535"/>
                  </a:cubicBezTo>
                  <a:cubicBezTo>
                    <a:pt x="1041" y="527"/>
                    <a:pt x="1045" y="511"/>
                    <a:pt x="1045" y="511"/>
                  </a:cubicBezTo>
                  <a:cubicBezTo>
                    <a:pt x="1049" y="483"/>
                    <a:pt x="1053" y="459"/>
                    <a:pt x="1073" y="439"/>
                  </a:cubicBezTo>
                  <a:cubicBezTo>
                    <a:pt x="1077" y="423"/>
                    <a:pt x="1081" y="403"/>
                    <a:pt x="1093" y="387"/>
                  </a:cubicBezTo>
                  <a:cubicBezTo>
                    <a:pt x="1101" y="343"/>
                    <a:pt x="1129" y="215"/>
                    <a:pt x="1169" y="187"/>
                  </a:cubicBezTo>
                  <a:cubicBezTo>
                    <a:pt x="1201" y="172"/>
                    <a:pt x="1207" y="178"/>
                    <a:pt x="1216" y="162"/>
                  </a:cubicBezTo>
                  <a:cubicBezTo>
                    <a:pt x="1249" y="148"/>
                    <a:pt x="1257" y="144"/>
                    <a:pt x="1273" y="131"/>
                  </a:cubicBezTo>
                  <a:cubicBezTo>
                    <a:pt x="1269" y="31"/>
                    <a:pt x="1225" y="59"/>
                    <a:pt x="1145" y="51"/>
                  </a:cubicBezTo>
                  <a:cubicBezTo>
                    <a:pt x="1129" y="35"/>
                    <a:pt x="1136" y="24"/>
                    <a:pt x="1116" y="16"/>
                  </a:cubicBezTo>
                  <a:cubicBezTo>
                    <a:pt x="1101" y="16"/>
                    <a:pt x="1074" y="29"/>
                    <a:pt x="1053" y="27"/>
                  </a:cubicBezTo>
                  <a:cubicBezTo>
                    <a:pt x="1032" y="25"/>
                    <a:pt x="1013" y="4"/>
                    <a:pt x="988" y="1"/>
                  </a:cubicBezTo>
                  <a:cubicBezTo>
                    <a:pt x="954" y="0"/>
                    <a:pt x="931" y="8"/>
                    <a:pt x="903" y="9"/>
                  </a:cubicBezTo>
                  <a:cubicBezTo>
                    <a:pt x="875" y="10"/>
                    <a:pt x="844" y="1"/>
                    <a:pt x="822" y="10"/>
                  </a:cubicBezTo>
                  <a:cubicBezTo>
                    <a:pt x="802" y="22"/>
                    <a:pt x="788" y="47"/>
                    <a:pt x="772" y="63"/>
                  </a:cubicBezTo>
                  <a:cubicBezTo>
                    <a:pt x="768" y="95"/>
                    <a:pt x="771" y="136"/>
                    <a:pt x="732" y="129"/>
                  </a:cubicBezTo>
                  <a:cubicBezTo>
                    <a:pt x="716" y="129"/>
                    <a:pt x="701" y="139"/>
                    <a:pt x="685" y="135"/>
                  </a:cubicBezTo>
                  <a:cubicBezTo>
                    <a:pt x="673" y="131"/>
                    <a:pt x="649" y="123"/>
                    <a:pt x="649" y="123"/>
                  </a:cubicBezTo>
                  <a:cubicBezTo>
                    <a:pt x="610" y="180"/>
                    <a:pt x="615" y="172"/>
                    <a:pt x="529" y="175"/>
                  </a:cubicBezTo>
                  <a:cubicBezTo>
                    <a:pt x="499" y="181"/>
                    <a:pt x="499" y="208"/>
                    <a:pt x="506" y="227"/>
                  </a:cubicBezTo>
                  <a:cubicBezTo>
                    <a:pt x="504" y="333"/>
                    <a:pt x="441" y="282"/>
                    <a:pt x="271" y="309"/>
                  </a:cubicBezTo>
                  <a:cubicBezTo>
                    <a:pt x="264" y="300"/>
                    <a:pt x="254" y="296"/>
                    <a:pt x="246" y="289"/>
                  </a:cubicBezTo>
                  <a:cubicBezTo>
                    <a:pt x="238" y="282"/>
                    <a:pt x="255" y="277"/>
                    <a:pt x="222" y="267"/>
                  </a:cubicBezTo>
                  <a:cubicBezTo>
                    <a:pt x="205" y="252"/>
                    <a:pt x="182" y="251"/>
                    <a:pt x="182" y="251"/>
                  </a:cubicBezTo>
                  <a:cubicBezTo>
                    <a:pt x="171" y="248"/>
                    <a:pt x="145" y="232"/>
                    <a:pt x="135" y="232"/>
                  </a:cubicBezTo>
                  <a:cubicBezTo>
                    <a:pt x="128" y="247"/>
                    <a:pt x="181" y="270"/>
                    <a:pt x="142" y="342"/>
                  </a:cubicBezTo>
                  <a:cubicBezTo>
                    <a:pt x="90" y="346"/>
                    <a:pt x="60" y="346"/>
                    <a:pt x="25" y="348"/>
                  </a:cubicBezTo>
                  <a:cubicBezTo>
                    <a:pt x="0" y="351"/>
                    <a:pt x="40" y="355"/>
                    <a:pt x="48" y="360"/>
                  </a:cubicBezTo>
                  <a:cubicBezTo>
                    <a:pt x="58" y="370"/>
                    <a:pt x="76" y="375"/>
                    <a:pt x="88" y="412"/>
                  </a:cubicBezTo>
                  <a:cubicBezTo>
                    <a:pt x="66" y="418"/>
                    <a:pt x="64" y="454"/>
                    <a:pt x="52" y="462"/>
                  </a:cubicBezTo>
                  <a:cubicBezTo>
                    <a:pt x="70" y="544"/>
                    <a:pt x="58" y="570"/>
                    <a:pt x="7" y="589"/>
                  </a:cubicBezTo>
                  <a:cubicBezTo>
                    <a:pt x="19" y="609"/>
                    <a:pt x="27" y="619"/>
                    <a:pt x="38" y="639"/>
                  </a:cubicBezTo>
                  <a:cubicBezTo>
                    <a:pt x="42" y="651"/>
                    <a:pt x="57" y="672"/>
                    <a:pt x="55" y="687"/>
                  </a:cubicBezTo>
                  <a:cubicBezTo>
                    <a:pt x="70" y="693"/>
                    <a:pt x="78" y="703"/>
                    <a:pt x="78" y="703"/>
                  </a:cubicBezTo>
                  <a:cubicBezTo>
                    <a:pt x="99" y="708"/>
                    <a:pt x="103" y="721"/>
                    <a:pt x="112" y="735"/>
                  </a:cubicBezTo>
                  <a:cubicBezTo>
                    <a:pt x="130" y="742"/>
                    <a:pt x="158" y="751"/>
                    <a:pt x="182" y="759"/>
                  </a:cubicBezTo>
                  <a:cubicBezTo>
                    <a:pt x="203" y="773"/>
                    <a:pt x="235" y="784"/>
                    <a:pt x="237" y="804"/>
                  </a:cubicBezTo>
                  <a:cubicBezTo>
                    <a:pt x="264" y="807"/>
                    <a:pt x="271" y="820"/>
                    <a:pt x="283" y="829"/>
                  </a:cubicBezTo>
                  <a:cubicBezTo>
                    <a:pt x="305" y="845"/>
                    <a:pt x="289" y="853"/>
                    <a:pt x="310" y="859"/>
                  </a:cubicBezTo>
                  <a:cubicBezTo>
                    <a:pt x="331" y="865"/>
                    <a:pt x="384" y="866"/>
                    <a:pt x="411" y="868"/>
                  </a:cubicBezTo>
                  <a:cubicBezTo>
                    <a:pt x="447" y="873"/>
                    <a:pt x="453" y="878"/>
                    <a:pt x="471" y="874"/>
                  </a:cubicBezTo>
                  <a:cubicBezTo>
                    <a:pt x="475" y="870"/>
                    <a:pt x="512" y="856"/>
                    <a:pt x="516" y="852"/>
                  </a:cubicBezTo>
                  <a:cubicBezTo>
                    <a:pt x="524" y="844"/>
                    <a:pt x="529" y="843"/>
                    <a:pt x="542" y="835"/>
                  </a:cubicBezTo>
                  <a:cubicBezTo>
                    <a:pt x="555" y="827"/>
                    <a:pt x="578" y="811"/>
                    <a:pt x="594" y="803"/>
                  </a:cubicBezTo>
                  <a:cubicBezTo>
                    <a:pt x="614" y="775"/>
                    <a:pt x="614" y="783"/>
                    <a:pt x="645" y="779"/>
                  </a:cubicBezTo>
                  <a:cubicBezTo>
                    <a:pt x="665" y="759"/>
                    <a:pt x="681" y="731"/>
                    <a:pt x="709" y="723"/>
                  </a:cubicBezTo>
                  <a:cubicBezTo>
                    <a:pt x="749" y="727"/>
                    <a:pt x="789" y="723"/>
                    <a:pt x="833" y="727"/>
                  </a:cubicBez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  <p:sp>
          <p:nvSpPr>
            <p:cNvPr id="108" name="Freeform 98"/>
            <p:cNvSpPr>
              <a:spLocks noChangeAspect="1"/>
            </p:cNvSpPr>
            <p:nvPr/>
          </p:nvSpPr>
          <p:spPr bwMode="auto">
            <a:xfrm>
              <a:off x="2721" y="2595"/>
              <a:ext cx="473" cy="402"/>
            </a:xfrm>
            <a:custGeom>
              <a:avLst/>
              <a:gdLst>
                <a:gd name="T0" fmla="*/ 0 w 1874"/>
                <a:gd name="T1" fmla="*/ 0 h 1593"/>
                <a:gd name="T2" fmla="*/ 0 w 1874"/>
                <a:gd name="T3" fmla="*/ 0 h 1593"/>
                <a:gd name="T4" fmla="*/ 0 w 1874"/>
                <a:gd name="T5" fmla="*/ 0 h 1593"/>
                <a:gd name="T6" fmla="*/ 0 w 1874"/>
                <a:gd name="T7" fmla="*/ 0 h 1593"/>
                <a:gd name="T8" fmla="*/ 0 w 1874"/>
                <a:gd name="T9" fmla="*/ 0 h 1593"/>
                <a:gd name="T10" fmla="*/ 0 w 1874"/>
                <a:gd name="T11" fmla="*/ 0 h 1593"/>
                <a:gd name="T12" fmla="*/ 0 w 1874"/>
                <a:gd name="T13" fmla="*/ 0 h 1593"/>
                <a:gd name="T14" fmla="*/ 0 w 1874"/>
                <a:gd name="T15" fmla="*/ 0 h 1593"/>
                <a:gd name="T16" fmla="*/ 0 w 1874"/>
                <a:gd name="T17" fmla="*/ 0 h 1593"/>
                <a:gd name="T18" fmla="*/ 0 w 1874"/>
                <a:gd name="T19" fmla="*/ 0 h 1593"/>
                <a:gd name="T20" fmla="*/ 0 w 1874"/>
                <a:gd name="T21" fmla="*/ 0 h 1593"/>
                <a:gd name="T22" fmla="*/ 0 w 1874"/>
                <a:gd name="T23" fmla="*/ 0 h 1593"/>
                <a:gd name="T24" fmla="*/ 0 w 1874"/>
                <a:gd name="T25" fmla="*/ 0 h 1593"/>
                <a:gd name="T26" fmla="*/ 0 w 1874"/>
                <a:gd name="T27" fmla="*/ 0 h 1593"/>
                <a:gd name="T28" fmla="*/ 0 w 1874"/>
                <a:gd name="T29" fmla="*/ 0 h 1593"/>
                <a:gd name="T30" fmla="*/ 0 w 1874"/>
                <a:gd name="T31" fmla="*/ 0 h 1593"/>
                <a:gd name="T32" fmla="*/ 0 w 1874"/>
                <a:gd name="T33" fmla="*/ 0 h 1593"/>
                <a:gd name="T34" fmla="*/ 0 w 1874"/>
                <a:gd name="T35" fmla="*/ 0 h 1593"/>
                <a:gd name="T36" fmla="*/ 0 w 1874"/>
                <a:gd name="T37" fmla="*/ 0 h 1593"/>
                <a:gd name="T38" fmla="*/ 0 w 1874"/>
                <a:gd name="T39" fmla="*/ 0 h 1593"/>
                <a:gd name="T40" fmla="*/ 0 w 1874"/>
                <a:gd name="T41" fmla="*/ 0 h 1593"/>
                <a:gd name="T42" fmla="*/ 0 w 1874"/>
                <a:gd name="T43" fmla="*/ 0 h 1593"/>
                <a:gd name="T44" fmla="*/ 0 w 1874"/>
                <a:gd name="T45" fmla="*/ 0 h 1593"/>
                <a:gd name="T46" fmla="*/ 0 w 1874"/>
                <a:gd name="T47" fmla="*/ 0 h 1593"/>
                <a:gd name="T48" fmla="*/ 0 w 1874"/>
                <a:gd name="T49" fmla="*/ 0 h 1593"/>
                <a:gd name="T50" fmla="*/ 0 w 1874"/>
                <a:gd name="T51" fmla="*/ 0 h 1593"/>
                <a:gd name="T52" fmla="*/ 0 w 1874"/>
                <a:gd name="T53" fmla="*/ 0 h 1593"/>
                <a:gd name="T54" fmla="*/ 0 w 1874"/>
                <a:gd name="T55" fmla="*/ 0 h 1593"/>
                <a:gd name="T56" fmla="*/ 0 w 1874"/>
                <a:gd name="T57" fmla="*/ 0 h 1593"/>
                <a:gd name="T58" fmla="*/ 0 w 1874"/>
                <a:gd name="T59" fmla="*/ 0 h 1593"/>
                <a:gd name="T60" fmla="*/ 0 w 1874"/>
                <a:gd name="T61" fmla="*/ 0 h 1593"/>
                <a:gd name="T62" fmla="*/ 0 w 1874"/>
                <a:gd name="T63" fmla="*/ 0 h 1593"/>
                <a:gd name="T64" fmla="*/ 0 w 1874"/>
                <a:gd name="T65" fmla="*/ 0 h 1593"/>
                <a:gd name="T66" fmla="*/ 0 w 1874"/>
                <a:gd name="T67" fmla="*/ 0 h 1593"/>
                <a:gd name="T68" fmla="*/ 0 w 1874"/>
                <a:gd name="T69" fmla="*/ 0 h 1593"/>
                <a:gd name="T70" fmla="*/ 0 w 1874"/>
                <a:gd name="T71" fmla="*/ 0 h 1593"/>
                <a:gd name="T72" fmla="*/ 0 w 1874"/>
                <a:gd name="T73" fmla="*/ 0 h 1593"/>
                <a:gd name="T74" fmla="*/ 0 w 1874"/>
                <a:gd name="T75" fmla="*/ 0 h 1593"/>
                <a:gd name="T76" fmla="*/ 0 w 1874"/>
                <a:gd name="T77" fmla="*/ 0 h 1593"/>
                <a:gd name="T78" fmla="*/ 0 w 1874"/>
                <a:gd name="T79" fmla="*/ 0 h 1593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874"/>
                <a:gd name="T121" fmla="*/ 0 h 1593"/>
                <a:gd name="T122" fmla="*/ 1874 w 1874"/>
                <a:gd name="T123" fmla="*/ 1593 h 1593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874" h="1593">
                  <a:moveTo>
                    <a:pt x="927" y="76"/>
                  </a:moveTo>
                  <a:cubicBezTo>
                    <a:pt x="911" y="80"/>
                    <a:pt x="911" y="92"/>
                    <a:pt x="891" y="96"/>
                  </a:cubicBezTo>
                  <a:cubicBezTo>
                    <a:pt x="883" y="100"/>
                    <a:pt x="867" y="104"/>
                    <a:pt x="867" y="104"/>
                  </a:cubicBezTo>
                  <a:cubicBezTo>
                    <a:pt x="843" y="140"/>
                    <a:pt x="799" y="112"/>
                    <a:pt x="767" y="100"/>
                  </a:cubicBezTo>
                  <a:cubicBezTo>
                    <a:pt x="759" y="80"/>
                    <a:pt x="751" y="44"/>
                    <a:pt x="735" y="28"/>
                  </a:cubicBezTo>
                  <a:cubicBezTo>
                    <a:pt x="723" y="16"/>
                    <a:pt x="687" y="0"/>
                    <a:pt x="687" y="0"/>
                  </a:cubicBezTo>
                  <a:cubicBezTo>
                    <a:pt x="543" y="0"/>
                    <a:pt x="595" y="16"/>
                    <a:pt x="507" y="44"/>
                  </a:cubicBezTo>
                  <a:cubicBezTo>
                    <a:pt x="499" y="68"/>
                    <a:pt x="451" y="108"/>
                    <a:pt x="423" y="112"/>
                  </a:cubicBezTo>
                  <a:cubicBezTo>
                    <a:pt x="403" y="116"/>
                    <a:pt x="363" y="128"/>
                    <a:pt x="363" y="128"/>
                  </a:cubicBezTo>
                  <a:cubicBezTo>
                    <a:pt x="355" y="144"/>
                    <a:pt x="323" y="168"/>
                    <a:pt x="323" y="168"/>
                  </a:cubicBezTo>
                  <a:cubicBezTo>
                    <a:pt x="307" y="192"/>
                    <a:pt x="295" y="192"/>
                    <a:pt x="267" y="200"/>
                  </a:cubicBezTo>
                  <a:cubicBezTo>
                    <a:pt x="255" y="216"/>
                    <a:pt x="247" y="212"/>
                    <a:pt x="231" y="224"/>
                  </a:cubicBezTo>
                  <a:cubicBezTo>
                    <a:pt x="219" y="260"/>
                    <a:pt x="175" y="260"/>
                    <a:pt x="143" y="264"/>
                  </a:cubicBezTo>
                  <a:cubicBezTo>
                    <a:pt x="115" y="272"/>
                    <a:pt x="123" y="276"/>
                    <a:pt x="99" y="292"/>
                  </a:cubicBezTo>
                  <a:cubicBezTo>
                    <a:pt x="91" y="308"/>
                    <a:pt x="67" y="328"/>
                    <a:pt x="51" y="332"/>
                  </a:cubicBezTo>
                  <a:cubicBezTo>
                    <a:pt x="47" y="348"/>
                    <a:pt x="35" y="380"/>
                    <a:pt x="35" y="380"/>
                  </a:cubicBezTo>
                  <a:cubicBezTo>
                    <a:pt x="43" y="404"/>
                    <a:pt x="56" y="405"/>
                    <a:pt x="60" y="433"/>
                  </a:cubicBezTo>
                  <a:cubicBezTo>
                    <a:pt x="60" y="453"/>
                    <a:pt x="49" y="557"/>
                    <a:pt x="36" y="595"/>
                  </a:cubicBezTo>
                  <a:cubicBezTo>
                    <a:pt x="0" y="608"/>
                    <a:pt x="22" y="637"/>
                    <a:pt x="59" y="648"/>
                  </a:cubicBezTo>
                  <a:cubicBezTo>
                    <a:pt x="75" y="668"/>
                    <a:pt x="108" y="679"/>
                    <a:pt x="123" y="716"/>
                  </a:cubicBezTo>
                  <a:cubicBezTo>
                    <a:pt x="120" y="736"/>
                    <a:pt x="104" y="764"/>
                    <a:pt x="100" y="788"/>
                  </a:cubicBezTo>
                  <a:cubicBezTo>
                    <a:pt x="114" y="815"/>
                    <a:pt x="122" y="825"/>
                    <a:pt x="130" y="853"/>
                  </a:cubicBezTo>
                  <a:cubicBezTo>
                    <a:pt x="126" y="885"/>
                    <a:pt x="131" y="890"/>
                    <a:pt x="123" y="914"/>
                  </a:cubicBezTo>
                  <a:cubicBezTo>
                    <a:pt x="132" y="935"/>
                    <a:pt x="121" y="948"/>
                    <a:pt x="129" y="968"/>
                  </a:cubicBezTo>
                  <a:cubicBezTo>
                    <a:pt x="133" y="1016"/>
                    <a:pt x="143" y="1012"/>
                    <a:pt x="191" y="1016"/>
                  </a:cubicBezTo>
                  <a:cubicBezTo>
                    <a:pt x="199" y="1020"/>
                    <a:pt x="216" y="1011"/>
                    <a:pt x="216" y="1019"/>
                  </a:cubicBezTo>
                  <a:cubicBezTo>
                    <a:pt x="216" y="1027"/>
                    <a:pt x="220" y="1037"/>
                    <a:pt x="207" y="1048"/>
                  </a:cubicBezTo>
                  <a:cubicBezTo>
                    <a:pt x="195" y="1057"/>
                    <a:pt x="190" y="1070"/>
                    <a:pt x="190" y="1070"/>
                  </a:cubicBezTo>
                  <a:cubicBezTo>
                    <a:pt x="194" y="1106"/>
                    <a:pt x="196" y="1100"/>
                    <a:pt x="213" y="1114"/>
                  </a:cubicBezTo>
                  <a:cubicBezTo>
                    <a:pt x="221" y="1126"/>
                    <a:pt x="214" y="1157"/>
                    <a:pt x="220" y="1166"/>
                  </a:cubicBezTo>
                  <a:cubicBezTo>
                    <a:pt x="226" y="1175"/>
                    <a:pt x="231" y="1162"/>
                    <a:pt x="252" y="1171"/>
                  </a:cubicBezTo>
                  <a:cubicBezTo>
                    <a:pt x="273" y="1180"/>
                    <a:pt x="304" y="1216"/>
                    <a:pt x="349" y="1223"/>
                  </a:cubicBezTo>
                  <a:cubicBezTo>
                    <a:pt x="385" y="1233"/>
                    <a:pt x="450" y="1215"/>
                    <a:pt x="471" y="1232"/>
                  </a:cubicBezTo>
                  <a:cubicBezTo>
                    <a:pt x="499" y="1276"/>
                    <a:pt x="431" y="1300"/>
                    <a:pt x="475" y="1328"/>
                  </a:cubicBezTo>
                  <a:cubicBezTo>
                    <a:pt x="489" y="1355"/>
                    <a:pt x="505" y="1352"/>
                    <a:pt x="528" y="1390"/>
                  </a:cubicBezTo>
                  <a:cubicBezTo>
                    <a:pt x="540" y="1396"/>
                    <a:pt x="552" y="1386"/>
                    <a:pt x="558" y="1375"/>
                  </a:cubicBezTo>
                  <a:cubicBezTo>
                    <a:pt x="564" y="1364"/>
                    <a:pt x="594" y="1355"/>
                    <a:pt x="567" y="1324"/>
                  </a:cubicBezTo>
                  <a:cubicBezTo>
                    <a:pt x="589" y="1310"/>
                    <a:pt x="592" y="1313"/>
                    <a:pt x="607" y="1312"/>
                  </a:cubicBezTo>
                  <a:cubicBezTo>
                    <a:pt x="635" y="1316"/>
                    <a:pt x="635" y="1330"/>
                    <a:pt x="663" y="1334"/>
                  </a:cubicBezTo>
                  <a:cubicBezTo>
                    <a:pt x="671" y="1338"/>
                    <a:pt x="689" y="1320"/>
                    <a:pt x="697" y="1324"/>
                  </a:cubicBezTo>
                  <a:cubicBezTo>
                    <a:pt x="709" y="1321"/>
                    <a:pt x="724" y="1336"/>
                    <a:pt x="724" y="1336"/>
                  </a:cubicBezTo>
                  <a:cubicBezTo>
                    <a:pt x="732" y="1344"/>
                    <a:pt x="696" y="1363"/>
                    <a:pt x="718" y="1391"/>
                  </a:cubicBezTo>
                  <a:cubicBezTo>
                    <a:pt x="763" y="1405"/>
                    <a:pt x="828" y="1397"/>
                    <a:pt x="875" y="1408"/>
                  </a:cubicBezTo>
                  <a:cubicBezTo>
                    <a:pt x="903" y="1448"/>
                    <a:pt x="910" y="1469"/>
                    <a:pt x="943" y="1486"/>
                  </a:cubicBezTo>
                  <a:cubicBezTo>
                    <a:pt x="951" y="1502"/>
                    <a:pt x="958" y="1508"/>
                    <a:pt x="974" y="1516"/>
                  </a:cubicBezTo>
                  <a:cubicBezTo>
                    <a:pt x="978" y="1532"/>
                    <a:pt x="1000" y="1540"/>
                    <a:pt x="1014" y="1549"/>
                  </a:cubicBezTo>
                  <a:cubicBezTo>
                    <a:pt x="1048" y="1522"/>
                    <a:pt x="1035" y="1523"/>
                    <a:pt x="1059" y="1487"/>
                  </a:cubicBezTo>
                  <a:cubicBezTo>
                    <a:pt x="1072" y="1487"/>
                    <a:pt x="1080" y="1511"/>
                    <a:pt x="1118" y="1536"/>
                  </a:cubicBezTo>
                  <a:cubicBezTo>
                    <a:pt x="1140" y="1552"/>
                    <a:pt x="1145" y="1569"/>
                    <a:pt x="1165" y="1577"/>
                  </a:cubicBezTo>
                  <a:cubicBezTo>
                    <a:pt x="1181" y="1593"/>
                    <a:pt x="1168" y="1577"/>
                    <a:pt x="1206" y="1580"/>
                  </a:cubicBezTo>
                  <a:cubicBezTo>
                    <a:pt x="1218" y="1547"/>
                    <a:pt x="1215" y="1522"/>
                    <a:pt x="1308" y="1516"/>
                  </a:cubicBezTo>
                  <a:cubicBezTo>
                    <a:pt x="1328" y="1520"/>
                    <a:pt x="1351" y="1535"/>
                    <a:pt x="1351" y="1535"/>
                  </a:cubicBezTo>
                  <a:cubicBezTo>
                    <a:pt x="1366" y="1516"/>
                    <a:pt x="1396" y="1502"/>
                    <a:pt x="1478" y="1480"/>
                  </a:cubicBezTo>
                  <a:cubicBezTo>
                    <a:pt x="1502" y="1484"/>
                    <a:pt x="1519" y="1487"/>
                    <a:pt x="1543" y="1495"/>
                  </a:cubicBezTo>
                  <a:cubicBezTo>
                    <a:pt x="1579" y="1513"/>
                    <a:pt x="1626" y="1519"/>
                    <a:pt x="1682" y="1540"/>
                  </a:cubicBezTo>
                  <a:cubicBezTo>
                    <a:pt x="1694" y="1540"/>
                    <a:pt x="1710" y="1548"/>
                    <a:pt x="1714" y="1536"/>
                  </a:cubicBezTo>
                  <a:cubicBezTo>
                    <a:pt x="1718" y="1520"/>
                    <a:pt x="1694" y="1456"/>
                    <a:pt x="1682" y="1436"/>
                  </a:cubicBezTo>
                  <a:cubicBezTo>
                    <a:pt x="1674" y="1396"/>
                    <a:pt x="1674" y="1380"/>
                    <a:pt x="1706" y="1360"/>
                  </a:cubicBezTo>
                  <a:cubicBezTo>
                    <a:pt x="1714" y="1348"/>
                    <a:pt x="1722" y="1324"/>
                    <a:pt x="1722" y="1324"/>
                  </a:cubicBezTo>
                  <a:cubicBezTo>
                    <a:pt x="1726" y="1284"/>
                    <a:pt x="1726" y="1236"/>
                    <a:pt x="1770" y="1220"/>
                  </a:cubicBezTo>
                  <a:cubicBezTo>
                    <a:pt x="1802" y="1172"/>
                    <a:pt x="1842" y="1144"/>
                    <a:pt x="1874" y="1096"/>
                  </a:cubicBezTo>
                  <a:cubicBezTo>
                    <a:pt x="1874" y="1032"/>
                    <a:pt x="1874" y="1016"/>
                    <a:pt x="1862" y="980"/>
                  </a:cubicBezTo>
                  <a:cubicBezTo>
                    <a:pt x="1870" y="952"/>
                    <a:pt x="1846" y="944"/>
                    <a:pt x="1822" y="940"/>
                  </a:cubicBezTo>
                  <a:cubicBezTo>
                    <a:pt x="1814" y="916"/>
                    <a:pt x="1810" y="912"/>
                    <a:pt x="1790" y="896"/>
                  </a:cubicBezTo>
                  <a:cubicBezTo>
                    <a:pt x="1778" y="888"/>
                    <a:pt x="1754" y="872"/>
                    <a:pt x="1754" y="872"/>
                  </a:cubicBezTo>
                  <a:cubicBezTo>
                    <a:pt x="1742" y="812"/>
                    <a:pt x="1722" y="780"/>
                    <a:pt x="1714" y="744"/>
                  </a:cubicBezTo>
                  <a:cubicBezTo>
                    <a:pt x="1726" y="644"/>
                    <a:pt x="1726" y="632"/>
                    <a:pt x="1630" y="624"/>
                  </a:cubicBezTo>
                  <a:cubicBezTo>
                    <a:pt x="1630" y="600"/>
                    <a:pt x="1610" y="564"/>
                    <a:pt x="1634" y="548"/>
                  </a:cubicBezTo>
                  <a:cubicBezTo>
                    <a:pt x="1654" y="520"/>
                    <a:pt x="1666" y="496"/>
                    <a:pt x="1702" y="484"/>
                  </a:cubicBezTo>
                  <a:cubicBezTo>
                    <a:pt x="1710" y="476"/>
                    <a:pt x="1722" y="448"/>
                    <a:pt x="1722" y="448"/>
                  </a:cubicBezTo>
                  <a:cubicBezTo>
                    <a:pt x="1722" y="440"/>
                    <a:pt x="1722" y="412"/>
                    <a:pt x="1714" y="400"/>
                  </a:cubicBezTo>
                  <a:cubicBezTo>
                    <a:pt x="1710" y="392"/>
                    <a:pt x="1698" y="376"/>
                    <a:pt x="1698" y="376"/>
                  </a:cubicBezTo>
                  <a:cubicBezTo>
                    <a:pt x="1694" y="368"/>
                    <a:pt x="1690" y="356"/>
                    <a:pt x="1674" y="328"/>
                  </a:cubicBezTo>
                  <a:cubicBezTo>
                    <a:pt x="1662" y="300"/>
                    <a:pt x="1634" y="252"/>
                    <a:pt x="1618" y="216"/>
                  </a:cubicBezTo>
                  <a:cubicBezTo>
                    <a:pt x="1602" y="192"/>
                    <a:pt x="1614" y="108"/>
                    <a:pt x="1586" y="100"/>
                  </a:cubicBezTo>
                  <a:cubicBezTo>
                    <a:pt x="1582" y="76"/>
                    <a:pt x="1554" y="52"/>
                    <a:pt x="1530" y="44"/>
                  </a:cubicBezTo>
                  <a:cubicBezTo>
                    <a:pt x="1510" y="20"/>
                    <a:pt x="1502" y="24"/>
                    <a:pt x="1466" y="20"/>
                  </a:cubicBezTo>
                  <a:cubicBezTo>
                    <a:pt x="1446" y="16"/>
                    <a:pt x="1414" y="16"/>
                    <a:pt x="1394" y="20"/>
                  </a:cubicBezTo>
                  <a:cubicBezTo>
                    <a:pt x="1354" y="40"/>
                    <a:pt x="1318" y="52"/>
                    <a:pt x="1286" y="56"/>
                  </a:cubicBezTo>
                  <a:cubicBezTo>
                    <a:pt x="1234" y="64"/>
                    <a:pt x="1150" y="76"/>
                    <a:pt x="1090" y="80"/>
                  </a:cubicBezTo>
                  <a:cubicBezTo>
                    <a:pt x="1030" y="84"/>
                    <a:pt x="994" y="80"/>
                    <a:pt x="927" y="76"/>
                  </a:cubicBez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  <p:sp>
          <p:nvSpPr>
            <p:cNvPr id="109" name="Freeform 99"/>
            <p:cNvSpPr>
              <a:spLocks noChangeAspect="1"/>
            </p:cNvSpPr>
            <p:nvPr/>
          </p:nvSpPr>
          <p:spPr bwMode="auto">
            <a:xfrm>
              <a:off x="2645" y="2889"/>
              <a:ext cx="321" cy="178"/>
            </a:xfrm>
            <a:custGeom>
              <a:avLst/>
              <a:gdLst>
                <a:gd name="T0" fmla="*/ 0 w 1271"/>
                <a:gd name="T1" fmla="*/ 0 h 703"/>
                <a:gd name="T2" fmla="*/ 0 w 1271"/>
                <a:gd name="T3" fmla="*/ 0 h 703"/>
                <a:gd name="T4" fmla="*/ 0 w 1271"/>
                <a:gd name="T5" fmla="*/ 0 h 703"/>
                <a:gd name="T6" fmla="*/ 0 w 1271"/>
                <a:gd name="T7" fmla="*/ 0 h 703"/>
                <a:gd name="T8" fmla="*/ 0 w 1271"/>
                <a:gd name="T9" fmla="*/ 0 h 703"/>
                <a:gd name="T10" fmla="*/ 0 w 1271"/>
                <a:gd name="T11" fmla="*/ 0 h 703"/>
                <a:gd name="T12" fmla="*/ 0 w 1271"/>
                <a:gd name="T13" fmla="*/ 0 h 703"/>
                <a:gd name="T14" fmla="*/ 0 w 1271"/>
                <a:gd name="T15" fmla="*/ 0 h 703"/>
                <a:gd name="T16" fmla="*/ 0 w 1271"/>
                <a:gd name="T17" fmla="*/ 0 h 703"/>
                <a:gd name="T18" fmla="*/ 0 w 1271"/>
                <a:gd name="T19" fmla="*/ 0 h 703"/>
                <a:gd name="T20" fmla="*/ 0 w 1271"/>
                <a:gd name="T21" fmla="*/ 0 h 703"/>
                <a:gd name="T22" fmla="*/ 0 w 1271"/>
                <a:gd name="T23" fmla="*/ 0 h 703"/>
                <a:gd name="T24" fmla="*/ 0 w 1271"/>
                <a:gd name="T25" fmla="*/ 0 h 703"/>
                <a:gd name="T26" fmla="*/ 0 w 1271"/>
                <a:gd name="T27" fmla="*/ 0 h 703"/>
                <a:gd name="T28" fmla="*/ 0 w 1271"/>
                <a:gd name="T29" fmla="*/ 0 h 703"/>
                <a:gd name="T30" fmla="*/ 0 w 1271"/>
                <a:gd name="T31" fmla="*/ 0 h 703"/>
                <a:gd name="T32" fmla="*/ 0 w 1271"/>
                <a:gd name="T33" fmla="*/ 0 h 703"/>
                <a:gd name="T34" fmla="*/ 0 w 1271"/>
                <a:gd name="T35" fmla="*/ 0 h 703"/>
                <a:gd name="T36" fmla="*/ 0 w 1271"/>
                <a:gd name="T37" fmla="*/ 0 h 703"/>
                <a:gd name="T38" fmla="*/ 0 w 1271"/>
                <a:gd name="T39" fmla="*/ 0 h 703"/>
                <a:gd name="T40" fmla="*/ 0 w 1271"/>
                <a:gd name="T41" fmla="*/ 0 h 703"/>
                <a:gd name="T42" fmla="*/ 0 w 1271"/>
                <a:gd name="T43" fmla="*/ 0 h 703"/>
                <a:gd name="T44" fmla="*/ 0 w 1271"/>
                <a:gd name="T45" fmla="*/ 0 h 703"/>
                <a:gd name="T46" fmla="*/ 0 w 1271"/>
                <a:gd name="T47" fmla="*/ 0 h 703"/>
                <a:gd name="T48" fmla="*/ 0 w 1271"/>
                <a:gd name="T49" fmla="*/ 0 h 703"/>
                <a:gd name="T50" fmla="*/ 0 w 1271"/>
                <a:gd name="T51" fmla="*/ 0 h 703"/>
                <a:gd name="T52" fmla="*/ 0 w 1271"/>
                <a:gd name="T53" fmla="*/ 0 h 703"/>
                <a:gd name="T54" fmla="*/ 0 w 1271"/>
                <a:gd name="T55" fmla="*/ 0 h 703"/>
                <a:gd name="T56" fmla="*/ 0 w 1271"/>
                <a:gd name="T57" fmla="*/ 0 h 703"/>
                <a:gd name="T58" fmla="*/ 0 w 1271"/>
                <a:gd name="T59" fmla="*/ 0 h 703"/>
                <a:gd name="T60" fmla="*/ 0 w 1271"/>
                <a:gd name="T61" fmla="*/ 0 h 703"/>
                <a:gd name="T62" fmla="*/ 0 w 1271"/>
                <a:gd name="T63" fmla="*/ 0 h 703"/>
                <a:gd name="T64" fmla="*/ 0 w 1271"/>
                <a:gd name="T65" fmla="*/ 0 h 703"/>
                <a:gd name="T66" fmla="*/ 0 w 1271"/>
                <a:gd name="T67" fmla="*/ 0 h 703"/>
                <a:gd name="T68" fmla="*/ 0 w 1271"/>
                <a:gd name="T69" fmla="*/ 0 h 703"/>
                <a:gd name="T70" fmla="*/ 0 w 1271"/>
                <a:gd name="T71" fmla="*/ 0 h 703"/>
                <a:gd name="T72" fmla="*/ 0 w 1271"/>
                <a:gd name="T73" fmla="*/ 0 h 703"/>
                <a:gd name="T74" fmla="*/ 0 w 1271"/>
                <a:gd name="T75" fmla="*/ 0 h 703"/>
                <a:gd name="T76" fmla="*/ 0 w 1271"/>
                <a:gd name="T77" fmla="*/ 0 h 703"/>
                <a:gd name="T78" fmla="*/ 0 w 1271"/>
                <a:gd name="T79" fmla="*/ 0 h 703"/>
                <a:gd name="T80" fmla="*/ 0 w 1271"/>
                <a:gd name="T81" fmla="*/ 0 h 703"/>
                <a:gd name="T82" fmla="*/ 0 w 1271"/>
                <a:gd name="T83" fmla="*/ 0 h 703"/>
                <a:gd name="T84" fmla="*/ 0 w 1271"/>
                <a:gd name="T85" fmla="*/ 0 h 703"/>
                <a:gd name="T86" fmla="*/ 0 w 1271"/>
                <a:gd name="T87" fmla="*/ 0 h 703"/>
                <a:gd name="T88" fmla="*/ 0 w 1271"/>
                <a:gd name="T89" fmla="*/ 0 h 703"/>
                <a:gd name="T90" fmla="*/ 0 w 1271"/>
                <a:gd name="T91" fmla="*/ 0 h 703"/>
                <a:gd name="T92" fmla="*/ 0 w 1271"/>
                <a:gd name="T93" fmla="*/ 0 h 703"/>
                <a:gd name="T94" fmla="*/ 0 w 1271"/>
                <a:gd name="T95" fmla="*/ 0 h 703"/>
                <a:gd name="T96" fmla="*/ 0 w 1271"/>
                <a:gd name="T97" fmla="*/ 0 h 703"/>
                <a:gd name="T98" fmla="*/ 0 w 1271"/>
                <a:gd name="T99" fmla="*/ 0 h 703"/>
                <a:gd name="T100" fmla="*/ 0 w 1271"/>
                <a:gd name="T101" fmla="*/ 0 h 703"/>
                <a:gd name="T102" fmla="*/ 0 w 1271"/>
                <a:gd name="T103" fmla="*/ 0 h 703"/>
                <a:gd name="T104" fmla="*/ 0 w 1271"/>
                <a:gd name="T105" fmla="*/ 0 h 703"/>
                <a:gd name="T106" fmla="*/ 0 w 1271"/>
                <a:gd name="T107" fmla="*/ 0 h 703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271"/>
                <a:gd name="T163" fmla="*/ 0 h 703"/>
                <a:gd name="T164" fmla="*/ 1271 w 1271"/>
                <a:gd name="T165" fmla="*/ 703 h 703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271" h="703">
                  <a:moveTo>
                    <a:pt x="939" y="620"/>
                  </a:moveTo>
                  <a:cubicBezTo>
                    <a:pt x="947" y="613"/>
                    <a:pt x="939" y="597"/>
                    <a:pt x="954" y="592"/>
                  </a:cubicBezTo>
                  <a:cubicBezTo>
                    <a:pt x="969" y="587"/>
                    <a:pt x="1007" y="598"/>
                    <a:pt x="1032" y="589"/>
                  </a:cubicBezTo>
                  <a:cubicBezTo>
                    <a:pt x="1064" y="581"/>
                    <a:pt x="1084" y="547"/>
                    <a:pt x="1104" y="539"/>
                  </a:cubicBezTo>
                  <a:cubicBezTo>
                    <a:pt x="1111" y="526"/>
                    <a:pt x="1103" y="521"/>
                    <a:pt x="1114" y="503"/>
                  </a:cubicBezTo>
                  <a:cubicBezTo>
                    <a:pt x="1135" y="490"/>
                    <a:pt x="1143" y="452"/>
                    <a:pt x="1171" y="431"/>
                  </a:cubicBezTo>
                  <a:cubicBezTo>
                    <a:pt x="1183" y="391"/>
                    <a:pt x="1206" y="371"/>
                    <a:pt x="1239" y="359"/>
                  </a:cubicBezTo>
                  <a:cubicBezTo>
                    <a:pt x="1270" y="340"/>
                    <a:pt x="1271" y="360"/>
                    <a:pt x="1251" y="340"/>
                  </a:cubicBezTo>
                  <a:cubicBezTo>
                    <a:pt x="1243" y="320"/>
                    <a:pt x="1235" y="312"/>
                    <a:pt x="1215" y="304"/>
                  </a:cubicBezTo>
                  <a:cubicBezTo>
                    <a:pt x="1207" y="288"/>
                    <a:pt x="1191" y="256"/>
                    <a:pt x="1175" y="248"/>
                  </a:cubicBezTo>
                  <a:cubicBezTo>
                    <a:pt x="1135" y="224"/>
                    <a:pt x="1083" y="248"/>
                    <a:pt x="1019" y="228"/>
                  </a:cubicBezTo>
                  <a:cubicBezTo>
                    <a:pt x="1015" y="220"/>
                    <a:pt x="1003" y="208"/>
                    <a:pt x="1007" y="200"/>
                  </a:cubicBezTo>
                  <a:cubicBezTo>
                    <a:pt x="1011" y="192"/>
                    <a:pt x="1023" y="176"/>
                    <a:pt x="1023" y="176"/>
                  </a:cubicBezTo>
                  <a:cubicBezTo>
                    <a:pt x="1015" y="144"/>
                    <a:pt x="987" y="164"/>
                    <a:pt x="963" y="172"/>
                  </a:cubicBezTo>
                  <a:cubicBezTo>
                    <a:pt x="947" y="164"/>
                    <a:pt x="931" y="160"/>
                    <a:pt x="915" y="148"/>
                  </a:cubicBezTo>
                  <a:cubicBezTo>
                    <a:pt x="899" y="148"/>
                    <a:pt x="875" y="152"/>
                    <a:pt x="867" y="160"/>
                  </a:cubicBezTo>
                  <a:cubicBezTo>
                    <a:pt x="887" y="188"/>
                    <a:pt x="875" y="196"/>
                    <a:pt x="855" y="208"/>
                  </a:cubicBezTo>
                  <a:cubicBezTo>
                    <a:pt x="851" y="224"/>
                    <a:pt x="843" y="228"/>
                    <a:pt x="827" y="224"/>
                  </a:cubicBezTo>
                  <a:cubicBezTo>
                    <a:pt x="815" y="208"/>
                    <a:pt x="799" y="188"/>
                    <a:pt x="779" y="176"/>
                  </a:cubicBezTo>
                  <a:cubicBezTo>
                    <a:pt x="775" y="164"/>
                    <a:pt x="759" y="140"/>
                    <a:pt x="759" y="140"/>
                  </a:cubicBezTo>
                  <a:cubicBezTo>
                    <a:pt x="803" y="40"/>
                    <a:pt x="751" y="68"/>
                    <a:pt x="679" y="64"/>
                  </a:cubicBezTo>
                  <a:cubicBezTo>
                    <a:pt x="651" y="56"/>
                    <a:pt x="611" y="52"/>
                    <a:pt x="587" y="32"/>
                  </a:cubicBezTo>
                  <a:cubicBezTo>
                    <a:pt x="575" y="24"/>
                    <a:pt x="551" y="4"/>
                    <a:pt x="551" y="4"/>
                  </a:cubicBezTo>
                  <a:cubicBezTo>
                    <a:pt x="540" y="0"/>
                    <a:pt x="534" y="6"/>
                    <a:pt x="522" y="10"/>
                  </a:cubicBezTo>
                  <a:cubicBezTo>
                    <a:pt x="510" y="14"/>
                    <a:pt x="491" y="25"/>
                    <a:pt x="479" y="28"/>
                  </a:cubicBezTo>
                  <a:cubicBezTo>
                    <a:pt x="475" y="32"/>
                    <a:pt x="447" y="31"/>
                    <a:pt x="447" y="31"/>
                  </a:cubicBezTo>
                  <a:cubicBezTo>
                    <a:pt x="427" y="23"/>
                    <a:pt x="408" y="25"/>
                    <a:pt x="388" y="17"/>
                  </a:cubicBezTo>
                  <a:cubicBezTo>
                    <a:pt x="364" y="43"/>
                    <a:pt x="369" y="29"/>
                    <a:pt x="339" y="76"/>
                  </a:cubicBezTo>
                  <a:cubicBezTo>
                    <a:pt x="285" y="88"/>
                    <a:pt x="301" y="89"/>
                    <a:pt x="289" y="100"/>
                  </a:cubicBezTo>
                  <a:cubicBezTo>
                    <a:pt x="263" y="111"/>
                    <a:pt x="222" y="125"/>
                    <a:pt x="183" y="142"/>
                  </a:cubicBezTo>
                  <a:cubicBezTo>
                    <a:pt x="153" y="158"/>
                    <a:pt x="123" y="182"/>
                    <a:pt x="102" y="193"/>
                  </a:cubicBezTo>
                  <a:cubicBezTo>
                    <a:pt x="81" y="204"/>
                    <a:pt x="70" y="194"/>
                    <a:pt x="58" y="211"/>
                  </a:cubicBezTo>
                  <a:cubicBezTo>
                    <a:pt x="18" y="223"/>
                    <a:pt x="13" y="221"/>
                    <a:pt x="0" y="250"/>
                  </a:cubicBezTo>
                  <a:cubicBezTo>
                    <a:pt x="4" y="286"/>
                    <a:pt x="10" y="283"/>
                    <a:pt x="34" y="299"/>
                  </a:cubicBezTo>
                  <a:cubicBezTo>
                    <a:pt x="60" y="314"/>
                    <a:pt x="55" y="328"/>
                    <a:pt x="63" y="352"/>
                  </a:cubicBezTo>
                  <a:cubicBezTo>
                    <a:pt x="59" y="380"/>
                    <a:pt x="60" y="407"/>
                    <a:pt x="83" y="428"/>
                  </a:cubicBezTo>
                  <a:cubicBezTo>
                    <a:pt x="99" y="454"/>
                    <a:pt x="126" y="473"/>
                    <a:pt x="142" y="485"/>
                  </a:cubicBezTo>
                  <a:cubicBezTo>
                    <a:pt x="162" y="513"/>
                    <a:pt x="178" y="529"/>
                    <a:pt x="207" y="541"/>
                  </a:cubicBezTo>
                  <a:cubicBezTo>
                    <a:pt x="223" y="553"/>
                    <a:pt x="212" y="554"/>
                    <a:pt x="228" y="566"/>
                  </a:cubicBezTo>
                  <a:cubicBezTo>
                    <a:pt x="236" y="573"/>
                    <a:pt x="244" y="580"/>
                    <a:pt x="253" y="593"/>
                  </a:cubicBezTo>
                  <a:cubicBezTo>
                    <a:pt x="265" y="598"/>
                    <a:pt x="285" y="590"/>
                    <a:pt x="301" y="604"/>
                  </a:cubicBezTo>
                  <a:cubicBezTo>
                    <a:pt x="325" y="628"/>
                    <a:pt x="325" y="673"/>
                    <a:pt x="346" y="688"/>
                  </a:cubicBezTo>
                  <a:cubicBezTo>
                    <a:pt x="373" y="680"/>
                    <a:pt x="391" y="696"/>
                    <a:pt x="411" y="700"/>
                  </a:cubicBezTo>
                  <a:cubicBezTo>
                    <a:pt x="439" y="703"/>
                    <a:pt x="453" y="691"/>
                    <a:pt x="486" y="695"/>
                  </a:cubicBezTo>
                  <a:cubicBezTo>
                    <a:pt x="494" y="691"/>
                    <a:pt x="508" y="685"/>
                    <a:pt x="508" y="685"/>
                  </a:cubicBezTo>
                  <a:cubicBezTo>
                    <a:pt x="513" y="659"/>
                    <a:pt x="514" y="619"/>
                    <a:pt x="534" y="599"/>
                  </a:cubicBezTo>
                  <a:cubicBezTo>
                    <a:pt x="534" y="587"/>
                    <a:pt x="552" y="578"/>
                    <a:pt x="564" y="574"/>
                  </a:cubicBezTo>
                  <a:cubicBezTo>
                    <a:pt x="580" y="566"/>
                    <a:pt x="600" y="576"/>
                    <a:pt x="616" y="580"/>
                  </a:cubicBezTo>
                  <a:cubicBezTo>
                    <a:pt x="640" y="584"/>
                    <a:pt x="655" y="588"/>
                    <a:pt x="679" y="588"/>
                  </a:cubicBezTo>
                  <a:cubicBezTo>
                    <a:pt x="708" y="593"/>
                    <a:pt x="735" y="593"/>
                    <a:pt x="731" y="608"/>
                  </a:cubicBezTo>
                  <a:cubicBezTo>
                    <a:pt x="747" y="612"/>
                    <a:pt x="759" y="628"/>
                    <a:pt x="783" y="632"/>
                  </a:cubicBezTo>
                  <a:cubicBezTo>
                    <a:pt x="803" y="636"/>
                    <a:pt x="832" y="635"/>
                    <a:pt x="855" y="636"/>
                  </a:cubicBezTo>
                  <a:cubicBezTo>
                    <a:pt x="880" y="640"/>
                    <a:pt x="891" y="641"/>
                    <a:pt x="919" y="637"/>
                  </a:cubicBezTo>
                  <a:cubicBezTo>
                    <a:pt x="935" y="629"/>
                    <a:pt x="931" y="620"/>
                    <a:pt x="939" y="620"/>
                  </a:cubicBez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  <p:sp>
          <p:nvSpPr>
            <p:cNvPr id="110" name="Freeform 100"/>
            <p:cNvSpPr>
              <a:spLocks noChangeAspect="1"/>
            </p:cNvSpPr>
            <p:nvPr/>
          </p:nvSpPr>
          <p:spPr bwMode="auto">
            <a:xfrm>
              <a:off x="2520" y="3034"/>
              <a:ext cx="373" cy="192"/>
            </a:xfrm>
            <a:custGeom>
              <a:avLst/>
              <a:gdLst>
                <a:gd name="T0" fmla="*/ 0 w 1474"/>
                <a:gd name="T1" fmla="*/ 0 h 764"/>
                <a:gd name="T2" fmla="*/ 0 w 1474"/>
                <a:gd name="T3" fmla="*/ 0 h 764"/>
                <a:gd name="T4" fmla="*/ 0 w 1474"/>
                <a:gd name="T5" fmla="*/ 0 h 764"/>
                <a:gd name="T6" fmla="*/ 0 w 1474"/>
                <a:gd name="T7" fmla="*/ 0 h 764"/>
                <a:gd name="T8" fmla="*/ 0 w 1474"/>
                <a:gd name="T9" fmla="*/ 0 h 764"/>
                <a:gd name="T10" fmla="*/ 0 w 1474"/>
                <a:gd name="T11" fmla="*/ 0 h 764"/>
                <a:gd name="T12" fmla="*/ 0 w 1474"/>
                <a:gd name="T13" fmla="*/ 0 h 764"/>
                <a:gd name="T14" fmla="*/ 0 w 1474"/>
                <a:gd name="T15" fmla="*/ 0 h 764"/>
                <a:gd name="T16" fmla="*/ 0 w 1474"/>
                <a:gd name="T17" fmla="*/ 0 h 764"/>
                <a:gd name="T18" fmla="*/ 0 w 1474"/>
                <a:gd name="T19" fmla="*/ 0 h 764"/>
                <a:gd name="T20" fmla="*/ 0 w 1474"/>
                <a:gd name="T21" fmla="*/ 0 h 764"/>
                <a:gd name="T22" fmla="*/ 0 w 1474"/>
                <a:gd name="T23" fmla="*/ 0 h 764"/>
                <a:gd name="T24" fmla="*/ 0 w 1474"/>
                <a:gd name="T25" fmla="*/ 0 h 764"/>
                <a:gd name="T26" fmla="*/ 0 w 1474"/>
                <a:gd name="T27" fmla="*/ 0 h 764"/>
                <a:gd name="T28" fmla="*/ 0 w 1474"/>
                <a:gd name="T29" fmla="*/ 0 h 764"/>
                <a:gd name="T30" fmla="*/ 0 w 1474"/>
                <a:gd name="T31" fmla="*/ 0 h 764"/>
                <a:gd name="T32" fmla="*/ 0 w 1474"/>
                <a:gd name="T33" fmla="*/ 0 h 764"/>
                <a:gd name="T34" fmla="*/ 0 w 1474"/>
                <a:gd name="T35" fmla="*/ 0 h 764"/>
                <a:gd name="T36" fmla="*/ 0 w 1474"/>
                <a:gd name="T37" fmla="*/ 0 h 764"/>
                <a:gd name="T38" fmla="*/ 0 w 1474"/>
                <a:gd name="T39" fmla="*/ 0 h 764"/>
                <a:gd name="T40" fmla="*/ 0 w 1474"/>
                <a:gd name="T41" fmla="*/ 0 h 764"/>
                <a:gd name="T42" fmla="*/ 0 w 1474"/>
                <a:gd name="T43" fmla="*/ 0 h 764"/>
                <a:gd name="T44" fmla="*/ 0 w 1474"/>
                <a:gd name="T45" fmla="*/ 0 h 764"/>
                <a:gd name="T46" fmla="*/ 0 w 1474"/>
                <a:gd name="T47" fmla="*/ 0 h 764"/>
                <a:gd name="T48" fmla="*/ 0 w 1474"/>
                <a:gd name="T49" fmla="*/ 0 h 764"/>
                <a:gd name="T50" fmla="*/ 0 w 1474"/>
                <a:gd name="T51" fmla="*/ 0 h 764"/>
                <a:gd name="T52" fmla="*/ 0 w 1474"/>
                <a:gd name="T53" fmla="*/ 0 h 764"/>
                <a:gd name="T54" fmla="*/ 0 w 1474"/>
                <a:gd name="T55" fmla="*/ 0 h 764"/>
                <a:gd name="T56" fmla="*/ 0 w 1474"/>
                <a:gd name="T57" fmla="*/ 0 h 764"/>
                <a:gd name="T58" fmla="*/ 0 w 1474"/>
                <a:gd name="T59" fmla="*/ 0 h 764"/>
                <a:gd name="T60" fmla="*/ 0 w 1474"/>
                <a:gd name="T61" fmla="*/ 0 h 764"/>
                <a:gd name="T62" fmla="*/ 0 w 1474"/>
                <a:gd name="T63" fmla="*/ 0 h 764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474"/>
                <a:gd name="T97" fmla="*/ 0 h 764"/>
                <a:gd name="T98" fmla="*/ 1474 w 1474"/>
                <a:gd name="T99" fmla="*/ 764 h 764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474" h="764">
                  <a:moveTo>
                    <a:pt x="26" y="452"/>
                  </a:moveTo>
                  <a:cubicBezTo>
                    <a:pt x="39" y="438"/>
                    <a:pt x="59" y="467"/>
                    <a:pt x="72" y="471"/>
                  </a:cubicBezTo>
                  <a:cubicBezTo>
                    <a:pt x="85" y="475"/>
                    <a:pt x="98" y="472"/>
                    <a:pt x="107" y="477"/>
                  </a:cubicBezTo>
                  <a:cubicBezTo>
                    <a:pt x="115" y="489"/>
                    <a:pt x="125" y="501"/>
                    <a:pt x="125" y="501"/>
                  </a:cubicBezTo>
                  <a:cubicBezTo>
                    <a:pt x="129" y="517"/>
                    <a:pt x="142" y="510"/>
                    <a:pt x="150" y="522"/>
                  </a:cubicBezTo>
                  <a:cubicBezTo>
                    <a:pt x="201" y="522"/>
                    <a:pt x="192" y="498"/>
                    <a:pt x="200" y="474"/>
                  </a:cubicBezTo>
                  <a:cubicBezTo>
                    <a:pt x="212" y="466"/>
                    <a:pt x="214" y="468"/>
                    <a:pt x="230" y="464"/>
                  </a:cubicBezTo>
                  <a:cubicBezTo>
                    <a:pt x="262" y="476"/>
                    <a:pt x="294" y="500"/>
                    <a:pt x="321" y="497"/>
                  </a:cubicBezTo>
                  <a:cubicBezTo>
                    <a:pt x="345" y="489"/>
                    <a:pt x="354" y="483"/>
                    <a:pt x="374" y="479"/>
                  </a:cubicBezTo>
                  <a:cubicBezTo>
                    <a:pt x="383" y="462"/>
                    <a:pt x="396" y="440"/>
                    <a:pt x="420" y="428"/>
                  </a:cubicBezTo>
                  <a:cubicBezTo>
                    <a:pt x="444" y="416"/>
                    <a:pt x="493" y="408"/>
                    <a:pt x="519" y="407"/>
                  </a:cubicBezTo>
                  <a:cubicBezTo>
                    <a:pt x="545" y="406"/>
                    <a:pt x="537" y="402"/>
                    <a:pt x="574" y="420"/>
                  </a:cubicBezTo>
                  <a:cubicBezTo>
                    <a:pt x="594" y="410"/>
                    <a:pt x="591" y="407"/>
                    <a:pt x="602" y="407"/>
                  </a:cubicBezTo>
                  <a:cubicBezTo>
                    <a:pt x="613" y="407"/>
                    <a:pt x="625" y="412"/>
                    <a:pt x="639" y="420"/>
                  </a:cubicBezTo>
                  <a:cubicBezTo>
                    <a:pt x="656" y="425"/>
                    <a:pt x="674" y="450"/>
                    <a:pt x="684" y="455"/>
                  </a:cubicBezTo>
                  <a:cubicBezTo>
                    <a:pt x="694" y="460"/>
                    <a:pt x="696" y="455"/>
                    <a:pt x="699" y="450"/>
                  </a:cubicBezTo>
                  <a:cubicBezTo>
                    <a:pt x="695" y="438"/>
                    <a:pt x="709" y="438"/>
                    <a:pt x="701" y="426"/>
                  </a:cubicBezTo>
                  <a:cubicBezTo>
                    <a:pt x="696" y="408"/>
                    <a:pt x="671" y="401"/>
                    <a:pt x="671" y="401"/>
                  </a:cubicBezTo>
                  <a:cubicBezTo>
                    <a:pt x="678" y="315"/>
                    <a:pt x="647" y="294"/>
                    <a:pt x="623" y="270"/>
                  </a:cubicBezTo>
                  <a:cubicBezTo>
                    <a:pt x="659" y="263"/>
                    <a:pt x="662" y="244"/>
                    <a:pt x="680" y="234"/>
                  </a:cubicBezTo>
                  <a:cubicBezTo>
                    <a:pt x="698" y="224"/>
                    <a:pt x="715" y="223"/>
                    <a:pt x="729" y="209"/>
                  </a:cubicBezTo>
                  <a:cubicBezTo>
                    <a:pt x="743" y="188"/>
                    <a:pt x="740" y="168"/>
                    <a:pt x="761" y="149"/>
                  </a:cubicBezTo>
                  <a:cubicBezTo>
                    <a:pt x="774" y="136"/>
                    <a:pt x="799" y="137"/>
                    <a:pt x="810" y="132"/>
                  </a:cubicBezTo>
                  <a:cubicBezTo>
                    <a:pt x="821" y="127"/>
                    <a:pt x="812" y="117"/>
                    <a:pt x="827" y="116"/>
                  </a:cubicBezTo>
                  <a:cubicBezTo>
                    <a:pt x="843" y="108"/>
                    <a:pt x="874" y="116"/>
                    <a:pt x="898" y="128"/>
                  </a:cubicBezTo>
                  <a:cubicBezTo>
                    <a:pt x="922" y="124"/>
                    <a:pt x="950" y="124"/>
                    <a:pt x="974" y="120"/>
                  </a:cubicBezTo>
                  <a:cubicBezTo>
                    <a:pt x="982" y="120"/>
                    <a:pt x="998" y="112"/>
                    <a:pt x="998" y="112"/>
                  </a:cubicBezTo>
                  <a:cubicBezTo>
                    <a:pt x="1010" y="60"/>
                    <a:pt x="1010" y="28"/>
                    <a:pt x="1054" y="0"/>
                  </a:cubicBezTo>
                  <a:cubicBezTo>
                    <a:pt x="1110" y="8"/>
                    <a:pt x="1162" y="20"/>
                    <a:pt x="1218" y="24"/>
                  </a:cubicBezTo>
                  <a:cubicBezTo>
                    <a:pt x="1258" y="84"/>
                    <a:pt x="1342" y="60"/>
                    <a:pt x="1410" y="64"/>
                  </a:cubicBezTo>
                  <a:cubicBezTo>
                    <a:pt x="1443" y="74"/>
                    <a:pt x="1426" y="35"/>
                    <a:pt x="1433" y="50"/>
                  </a:cubicBezTo>
                  <a:cubicBezTo>
                    <a:pt x="1435" y="59"/>
                    <a:pt x="1419" y="98"/>
                    <a:pt x="1421" y="116"/>
                  </a:cubicBezTo>
                  <a:cubicBezTo>
                    <a:pt x="1423" y="134"/>
                    <a:pt x="1434" y="130"/>
                    <a:pt x="1443" y="158"/>
                  </a:cubicBezTo>
                  <a:cubicBezTo>
                    <a:pt x="1427" y="210"/>
                    <a:pt x="1446" y="240"/>
                    <a:pt x="1474" y="284"/>
                  </a:cubicBezTo>
                  <a:cubicBezTo>
                    <a:pt x="1462" y="356"/>
                    <a:pt x="1470" y="348"/>
                    <a:pt x="1394" y="352"/>
                  </a:cubicBezTo>
                  <a:cubicBezTo>
                    <a:pt x="1374" y="344"/>
                    <a:pt x="1358" y="352"/>
                    <a:pt x="1338" y="356"/>
                  </a:cubicBezTo>
                  <a:cubicBezTo>
                    <a:pt x="1358" y="360"/>
                    <a:pt x="1374" y="372"/>
                    <a:pt x="1390" y="384"/>
                  </a:cubicBezTo>
                  <a:cubicBezTo>
                    <a:pt x="1402" y="424"/>
                    <a:pt x="1414" y="416"/>
                    <a:pt x="1390" y="424"/>
                  </a:cubicBezTo>
                  <a:cubicBezTo>
                    <a:pt x="1386" y="440"/>
                    <a:pt x="1378" y="452"/>
                    <a:pt x="1370" y="468"/>
                  </a:cubicBezTo>
                  <a:cubicBezTo>
                    <a:pt x="1378" y="528"/>
                    <a:pt x="1390" y="572"/>
                    <a:pt x="1322" y="588"/>
                  </a:cubicBezTo>
                  <a:cubicBezTo>
                    <a:pt x="1310" y="620"/>
                    <a:pt x="1322" y="608"/>
                    <a:pt x="1298" y="624"/>
                  </a:cubicBezTo>
                  <a:cubicBezTo>
                    <a:pt x="1286" y="660"/>
                    <a:pt x="1262" y="652"/>
                    <a:pt x="1222" y="660"/>
                  </a:cubicBezTo>
                  <a:cubicBezTo>
                    <a:pt x="1214" y="660"/>
                    <a:pt x="1202" y="664"/>
                    <a:pt x="1202" y="664"/>
                  </a:cubicBezTo>
                  <a:cubicBezTo>
                    <a:pt x="1198" y="684"/>
                    <a:pt x="1194" y="684"/>
                    <a:pt x="1174" y="692"/>
                  </a:cubicBezTo>
                  <a:cubicBezTo>
                    <a:pt x="1146" y="688"/>
                    <a:pt x="1134" y="696"/>
                    <a:pt x="1106" y="704"/>
                  </a:cubicBezTo>
                  <a:cubicBezTo>
                    <a:pt x="1094" y="720"/>
                    <a:pt x="1086" y="712"/>
                    <a:pt x="1066" y="720"/>
                  </a:cubicBezTo>
                  <a:cubicBezTo>
                    <a:pt x="1050" y="736"/>
                    <a:pt x="1018" y="748"/>
                    <a:pt x="998" y="756"/>
                  </a:cubicBezTo>
                  <a:cubicBezTo>
                    <a:pt x="926" y="764"/>
                    <a:pt x="895" y="741"/>
                    <a:pt x="807" y="737"/>
                  </a:cubicBezTo>
                  <a:cubicBezTo>
                    <a:pt x="763" y="721"/>
                    <a:pt x="672" y="723"/>
                    <a:pt x="626" y="712"/>
                  </a:cubicBezTo>
                  <a:cubicBezTo>
                    <a:pt x="606" y="704"/>
                    <a:pt x="598" y="696"/>
                    <a:pt x="578" y="688"/>
                  </a:cubicBezTo>
                  <a:cubicBezTo>
                    <a:pt x="574" y="688"/>
                    <a:pt x="564" y="677"/>
                    <a:pt x="564" y="677"/>
                  </a:cubicBezTo>
                  <a:cubicBezTo>
                    <a:pt x="549" y="657"/>
                    <a:pt x="548" y="632"/>
                    <a:pt x="530" y="620"/>
                  </a:cubicBezTo>
                  <a:cubicBezTo>
                    <a:pt x="519" y="605"/>
                    <a:pt x="522" y="604"/>
                    <a:pt x="500" y="594"/>
                  </a:cubicBezTo>
                  <a:cubicBezTo>
                    <a:pt x="476" y="595"/>
                    <a:pt x="438" y="608"/>
                    <a:pt x="438" y="608"/>
                  </a:cubicBezTo>
                  <a:cubicBezTo>
                    <a:pt x="399" y="614"/>
                    <a:pt x="377" y="620"/>
                    <a:pt x="334" y="616"/>
                  </a:cubicBezTo>
                  <a:cubicBezTo>
                    <a:pt x="326" y="630"/>
                    <a:pt x="333" y="621"/>
                    <a:pt x="310" y="656"/>
                  </a:cubicBezTo>
                  <a:cubicBezTo>
                    <a:pt x="306" y="664"/>
                    <a:pt x="303" y="668"/>
                    <a:pt x="303" y="668"/>
                  </a:cubicBezTo>
                  <a:cubicBezTo>
                    <a:pt x="240" y="663"/>
                    <a:pt x="235" y="654"/>
                    <a:pt x="214" y="650"/>
                  </a:cubicBezTo>
                  <a:cubicBezTo>
                    <a:pt x="193" y="646"/>
                    <a:pt x="190" y="647"/>
                    <a:pt x="178" y="644"/>
                  </a:cubicBezTo>
                  <a:cubicBezTo>
                    <a:pt x="173" y="626"/>
                    <a:pt x="166" y="616"/>
                    <a:pt x="142" y="632"/>
                  </a:cubicBezTo>
                  <a:cubicBezTo>
                    <a:pt x="134" y="648"/>
                    <a:pt x="107" y="650"/>
                    <a:pt x="93" y="659"/>
                  </a:cubicBezTo>
                  <a:cubicBezTo>
                    <a:pt x="81" y="650"/>
                    <a:pt x="79" y="647"/>
                    <a:pt x="71" y="627"/>
                  </a:cubicBezTo>
                  <a:cubicBezTo>
                    <a:pt x="67" y="611"/>
                    <a:pt x="38" y="596"/>
                    <a:pt x="26" y="588"/>
                  </a:cubicBezTo>
                  <a:cubicBezTo>
                    <a:pt x="11" y="582"/>
                    <a:pt x="4" y="568"/>
                    <a:pt x="0" y="552"/>
                  </a:cubicBezTo>
                  <a:cubicBezTo>
                    <a:pt x="16" y="508"/>
                    <a:pt x="38" y="521"/>
                    <a:pt x="26" y="452"/>
                  </a:cubicBez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  <p:sp>
          <p:nvSpPr>
            <p:cNvPr id="111" name="Freeform 101"/>
            <p:cNvSpPr>
              <a:spLocks noChangeAspect="1"/>
            </p:cNvSpPr>
            <p:nvPr/>
          </p:nvSpPr>
          <p:spPr bwMode="auto">
            <a:xfrm>
              <a:off x="2339" y="3127"/>
              <a:ext cx="234" cy="153"/>
            </a:xfrm>
            <a:custGeom>
              <a:avLst/>
              <a:gdLst>
                <a:gd name="T0" fmla="*/ 0 w 925"/>
                <a:gd name="T1" fmla="*/ 0 h 605"/>
                <a:gd name="T2" fmla="*/ 0 w 925"/>
                <a:gd name="T3" fmla="*/ 0 h 605"/>
                <a:gd name="T4" fmla="*/ 0 w 925"/>
                <a:gd name="T5" fmla="*/ 0 h 605"/>
                <a:gd name="T6" fmla="*/ 0 w 925"/>
                <a:gd name="T7" fmla="*/ 0 h 605"/>
                <a:gd name="T8" fmla="*/ 0 w 925"/>
                <a:gd name="T9" fmla="*/ 0 h 605"/>
                <a:gd name="T10" fmla="*/ 0 w 925"/>
                <a:gd name="T11" fmla="*/ 0 h 605"/>
                <a:gd name="T12" fmla="*/ 0 w 925"/>
                <a:gd name="T13" fmla="*/ 0 h 605"/>
                <a:gd name="T14" fmla="*/ 0 w 925"/>
                <a:gd name="T15" fmla="*/ 0 h 605"/>
                <a:gd name="T16" fmla="*/ 0 w 925"/>
                <a:gd name="T17" fmla="*/ 0 h 605"/>
                <a:gd name="T18" fmla="*/ 0 w 925"/>
                <a:gd name="T19" fmla="*/ 0 h 605"/>
                <a:gd name="T20" fmla="*/ 0 w 925"/>
                <a:gd name="T21" fmla="*/ 0 h 605"/>
                <a:gd name="T22" fmla="*/ 0 w 925"/>
                <a:gd name="T23" fmla="*/ 0 h 605"/>
                <a:gd name="T24" fmla="*/ 0 w 925"/>
                <a:gd name="T25" fmla="*/ 0 h 605"/>
                <a:gd name="T26" fmla="*/ 0 w 925"/>
                <a:gd name="T27" fmla="*/ 0 h 605"/>
                <a:gd name="T28" fmla="*/ 0 w 925"/>
                <a:gd name="T29" fmla="*/ 0 h 605"/>
                <a:gd name="T30" fmla="*/ 0 w 925"/>
                <a:gd name="T31" fmla="*/ 0 h 605"/>
                <a:gd name="T32" fmla="*/ 0 w 925"/>
                <a:gd name="T33" fmla="*/ 0 h 605"/>
                <a:gd name="T34" fmla="*/ 0 w 925"/>
                <a:gd name="T35" fmla="*/ 0 h 605"/>
                <a:gd name="T36" fmla="*/ 0 w 925"/>
                <a:gd name="T37" fmla="*/ 0 h 605"/>
                <a:gd name="T38" fmla="*/ 0 w 925"/>
                <a:gd name="T39" fmla="*/ 0 h 605"/>
                <a:gd name="T40" fmla="*/ 0 w 925"/>
                <a:gd name="T41" fmla="*/ 0 h 605"/>
                <a:gd name="T42" fmla="*/ 0 w 925"/>
                <a:gd name="T43" fmla="*/ 0 h 605"/>
                <a:gd name="T44" fmla="*/ 0 w 925"/>
                <a:gd name="T45" fmla="*/ 0 h 605"/>
                <a:gd name="T46" fmla="*/ 0 w 925"/>
                <a:gd name="T47" fmla="*/ 0 h 605"/>
                <a:gd name="T48" fmla="*/ 0 w 925"/>
                <a:gd name="T49" fmla="*/ 0 h 605"/>
                <a:gd name="T50" fmla="*/ 0 w 925"/>
                <a:gd name="T51" fmla="*/ 0 h 605"/>
                <a:gd name="T52" fmla="*/ 0 w 925"/>
                <a:gd name="T53" fmla="*/ 0 h 605"/>
                <a:gd name="T54" fmla="*/ 0 w 925"/>
                <a:gd name="T55" fmla="*/ 0 h 605"/>
                <a:gd name="T56" fmla="*/ 0 w 925"/>
                <a:gd name="T57" fmla="*/ 0 h 605"/>
                <a:gd name="T58" fmla="*/ 0 w 925"/>
                <a:gd name="T59" fmla="*/ 0 h 605"/>
                <a:gd name="T60" fmla="*/ 0 w 925"/>
                <a:gd name="T61" fmla="*/ 0 h 605"/>
                <a:gd name="T62" fmla="*/ 0 w 925"/>
                <a:gd name="T63" fmla="*/ 0 h 605"/>
                <a:gd name="T64" fmla="*/ 0 w 925"/>
                <a:gd name="T65" fmla="*/ 0 h 605"/>
                <a:gd name="T66" fmla="*/ 0 w 925"/>
                <a:gd name="T67" fmla="*/ 0 h 605"/>
                <a:gd name="T68" fmla="*/ 0 w 925"/>
                <a:gd name="T69" fmla="*/ 0 h 605"/>
                <a:gd name="T70" fmla="*/ 0 w 925"/>
                <a:gd name="T71" fmla="*/ 0 h 605"/>
                <a:gd name="T72" fmla="*/ 0 w 925"/>
                <a:gd name="T73" fmla="*/ 0 h 605"/>
                <a:gd name="T74" fmla="*/ 0 w 925"/>
                <a:gd name="T75" fmla="*/ 0 h 605"/>
                <a:gd name="T76" fmla="*/ 0 w 925"/>
                <a:gd name="T77" fmla="*/ 0 h 605"/>
                <a:gd name="T78" fmla="*/ 0 w 925"/>
                <a:gd name="T79" fmla="*/ 0 h 605"/>
                <a:gd name="T80" fmla="*/ 0 w 925"/>
                <a:gd name="T81" fmla="*/ 0 h 605"/>
                <a:gd name="T82" fmla="*/ 0 w 925"/>
                <a:gd name="T83" fmla="*/ 0 h 605"/>
                <a:gd name="T84" fmla="*/ 0 w 925"/>
                <a:gd name="T85" fmla="*/ 0 h 605"/>
                <a:gd name="T86" fmla="*/ 0 w 925"/>
                <a:gd name="T87" fmla="*/ 0 h 605"/>
                <a:gd name="T88" fmla="*/ 0 w 925"/>
                <a:gd name="T89" fmla="*/ 0 h 605"/>
                <a:gd name="T90" fmla="*/ 0 w 925"/>
                <a:gd name="T91" fmla="*/ 0 h 605"/>
                <a:gd name="T92" fmla="*/ 0 w 925"/>
                <a:gd name="T93" fmla="*/ 0 h 605"/>
                <a:gd name="T94" fmla="*/ 0 w 925"/>
                <a:gd name="T95" fmla="*/ 0 h 605"/>
                <a:gd name="T96" fmla="*/ 0 w 925"/>
                <a:gd name="T97" fmla="*/ 0 h 605"/>
                <a:gd name="T98" fmla="*/ 0 w 925"/>
                <a:gd name="T99" fmla="*/ 0 h 605"/>
                <a:gd name="T100" fmla="*/ 0 w 925"/>
                <a:gd name="T101" fmla="*/ 0 h 605"/>
                <a:gd name="T102" fmla="*/ 0 w 925"/>
                <a:gd name="T103" fmla="*/ 0 h 605"/>
                <a:gd name="T104" fmla="*/ 0 w 925"/>
                <a:gd name="T105" fmla="*/ 0 h 605"/>
                <a:gd name="T106" fmla="*/ 0 w 925"/>
                <a:gd name="T107" fmla="*/ 0 h 605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925"/>
                <a:gd name="T163" fmla="*/ 0 h 605"/>
                <a:gd name="T164" fmla="*/ 925 w 925"/>
                <a:gd name="T165" fmla="*/ 605 h 605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925" h="605">
                  <a:moveTo>
                    <a:pt x="328" y="78"/>
                  </a:moveTo>
                  <a:cubicBezTo>
                    <a:pt x="372" y="86"/>
                    <a:pt x="378" y="74"/>
                    <a:pt x="428" y="82"/>
                  </a:cubicBezTo>
                  <a:cubicBezTo>
                    <a:pt x="460" y="74"/>
                    <a:pt x="481" y="81"/>
                    <a:pt x="513" y="69"/>
                  </a:cubicBezTo>
                  <a:cubicBezTo>
                    <a:pt x="517" y="61"/>
                    <a:pt x="543" y="52"/>
                    <a:pt x="535" y="48"/>
                  </a:cubicBezTo>
                  <a:cubicBezTo>
                    <a:pt x="523" y="44"/>
                    <a:pt x="500" y="30"/>
                    <a:pt x="500" y="30"/>
                  </a:cubicBezTo>
                  <a:cubicBezTo>
                    <a:pt x="480" y="2"/>
                    <a:pt x="505" y="0"/>
                    <a:pt x="528" y="10"/>
                  </a:cubicBezTo>
                  <a:cubicBezTo>
                    <a:pt x="544" y="14"/>
                    <a:pt x="555" y="18"/>
                    <a:pt x="567" y="26"/>
                  </a:cubicBezTo>
                  <a:cubicBezTo>
                    <a:pt x="568" y="50"/>
                    <a:pt x="592" y="59"/>
                    <a:pt x="596" y="62"/>
                  </a:cubicBezTo>
                  <a:cubicBezTo>
                    <a:pt x="606" y="66"/>
                    <a:pt x="618" y="44"/>
                    <a:pt x="633" y="42"/>
                  </a:cubicBezTo>
                  <a:cubicBezTo>
                    <a:pt x="648" y="40"/>
                    <a:pt x="655" y="53"/>
                    <a:pt x="685" y="50"/>
                  </a:cubicBezTo>
                  <a:cubicBezTo>
                    <a:pt x="709" y="58"/>
                    <a:pt x="724" y="72"/>
                    <a:pt x="744" y="80"/>
                  </a:cubicBezTo>
                  <a:cubicBezTo>
                    <a:pt x="756" y="113"/>
                    <a:pt x="740" y="154"/>
                    <a:pt x="720" y="182"/>
                  </a:cubicBezTo>
                  <a:cubicBezTo>
                    <a:pt x="728" y="210"/>
                    <a:pt x="724" y="218"/>
                    <a:pt x="752" y="226"/>
                  </a:cubicBezTo>
                  <a:cubicBezTo>
                    <a:pt x="780" y="246"/>
                    <a:pt x="768" y="234"/>
                    <a:pt x="788" y="254"/>
                  </a:cubicBezTo>
                  <a:cubicBezTo>
                    <a:pt x="792" y="270"/>
                    <a:pt x="800" y="282"/>
                    <a:pt x="808" y="294"/>
                  </a:cubicBezTo>
                  <a:cubicBezTo>
                    <a:pt x="828" y="290"/>
                    <a:pt x="860" y="266"/>
                    <a:pt x="880" y="258"/>
                  </a:cubicBezTo>
                  <a:cubicBezTo>
                    <a:pt x="896" y="253"/>
                    <a:pt x="891" y="277"/>
                    <a:pt x="898" y="281"/>
                  </a:cubicBezTo>
                  <a:cubicBezTo>
                    <a:pt x="905" y="285"/>
                    <a:pt x="923" y="279"/>
                    <a:pt x="924" y="282"/>
                  </a:cubicBezTo>
                  <a:cubicBezTo>
                    <a:pt x="925" y="285"/>
                    <a:pt x="909" y="289"/>
                    <a:pt x="903" y="300"/>
                  </a:cubicBezTo>
                  <a:cubicBezTo>
                    <a:pt x="897" y="311"/>
                    <a:pt x="899" y="338"/>
                    <a:pt x="888" y="350"/>
                  </a:cubicBezTo>
                  <a:cubicBezTo>
                    <a:pt x="871" y="384"/>
                    <a:pt x="869" y="373"/>
                    <a:pt x="838" y="374"/>
                  </a:cubicBezTo>
                  <a:cubicBezTo>
                    <a:pt x="837" y="393"/>
                    <a:pt x="834" y="392"/>
                    <a:pt x="823" y="419"/>
                  </a:cubicBezTo>
                  <a:cubicBezTo>
                    <a:pt x="816" y="430"/>
                    <a:pt x="806" y="426"/>
                    <a:pt x="792" y="434"/>
                  </a:cubicBezTo>
                  <a:cubicBezTo>
                    <a:pt x="754" y="450"/>
                    <a:pt x="766" y="447"/>
                    <a:pt x="744" y="470"/>
                  </a:cubicBezTo>
                  <a:cubicBezTo>
                    <a:pt x="739" y="452"/>
                    <a:pt x="747" y="440"/>
                    <a:pt x="709" y="435"/>
                  </a:cubicBezTo>
                  <a:cubicBezTo>
                    <a:pt x="705" y="415"/>
                    <a:pt x="693" y="417"/>
                    <a:pt x="693" y="417"/>
                  </a:cubicBezTo>
                  <a:cubicBezTo>
                    <a:pt x="663" y="422"/>
                    <a:pt x="669" y="433"/>
                    <a:pt x="655" y="453"/>
                  </a:cubicBezTo>
                  <a:cubicBezTo>
                    <a:pt x="641" y="473"/>
                    <a:pt x="622" y="509"/>
                    <a:pt x="610" y="534"/>
                  </a:cubicBezTo>
                  <a:cubicBezTo>
                    <a:pt x="598" y="557"/>
                    <a:pt x="604" y="545"/>
                    <a:pt x="583" y="605"/>
                  </a:cubicBezTo>
                  <a:cubicBezTo>
                    <a:pt x="567" y="576"/>
                    <a:pt x="559" y="543"/>
                    <a:pt x="555" y="515"/>
                  </a:cubicBezTo>
                  <a:cubicBezTo>
                    <a:pt x="543" y="485"/>
                    <a:pt x="538" y="494"/>
                    <a:pt x="528" y="495"/>
                  </a:cubicBezTo>
                  <a:cubicBezTo>
                    <a:pt x="523" y="489"/>
                    <a:pt x="530" y="485"/>
                    <a:pt x="525" y="476"/>
                  </a:cubicBezTo>
                  <a:cubicBezTo>
                    <a:pt x="513" y="456"/>
                    <a:pt x="522" y="453"/>
                    <a:pt x="496" y="438"/>
                  </a:cubicBezTo>
                  <a:cubicBezTo>
                    <a:pt x="488" y="434"/>
                    <a:pt x="472" y="454"/>
                    <a:pt x="464" y="458"/>
                  </a:cubicBezTo>
                  <a:cubicBezTo>
                    <a:pt x="452" y="466"/>
                    <a:pt x="436" y="473"/>
                    <a:pt x="432" y="498"/>
                  </a:cubicBezTo>
                  <a:cubicBezTo>
                    <a:pt x="424" y="510"/>
                    <a:pt x="423" y="536"/>
                    <a:pt x="411" y="540"/>
                  </a:cubicBezTo>
                  <a:cubicBezTo>
                    <a:pt x="403" y="544"/>
                    <a:pt x="360" y="546"/>
                    <a:pt x="360" y="546"/>
                  </a:cubicBezTo>
                  <a:cubicBezTo>
                    <a:pt x="324" y="542"/>
                    <a:pt x="326" y="544"/>
                    <a:pt x="286" y="548"/>
                  </a:cubicBezTo>
                  <a:cubicBezTo>
                    <a:pt x="267" y="557"/>
                    <a:pt x="264" y="562"/>
                    <a:pt x="248" y="566"/>
                  </a:cubicBezTo>
                  <a:cubicBezTo>
                    <a:pt x="235" y="566"/>
                    <a:pt x="208" y="557"/>
                    <a:pt x="198" y="552"/>
                  </a:cubicBezTo>
                  <a:cubicBezTo>
                    <a:pt x="188" y="547"/>
                    <a:pt x="193" y="547"/>
                    <a:pt x="188" y="534"/>
                  </a:cubicBezTo>
                  <a:cubicBezTo>
                    <a:pt x="175" y="494"/>
                    <a:pt x="172" y="506"/>
                    <a:pt x="168" y="473"/>
                  </a:cubicBezTo>
                  <a:cubicBezTo>
                    <a:pt x="157" y="447"/>
                    <a:pt x="178" y="441"/>
                    <a:pt x="128" y="422"/>
                  </a:cubicBezTo>
                  <a:cubicBezTo>
                    <a:pt x="93" y="428"/>
                    <a:pt x="81" y="432"/>
                    <a:pt x="44" y="438"/>
                  </a:cubicBezTo>
                  <a:cubicBezTo>
                    <a:pt x="30" y="450"/>
                    <a:pt x="16" y="468"/>
                    <a:pt x="0" y="494"/>
                  </a:cubicBezTo>
                  <a:cubicBezTo>
                    <a:pt x="1" y="435"/>
                    <a:pt x="15" y="440"/>
                    <a:pt x="24" y="414"/>
                  </a:cubicBezTo>
                  <a:cubicBezTo>
                    <a:pt x="46" y="389"/>
                    <a:pt x="24" y="370"/>
                    <a:pt x="36" y="351"/>
                  </a:cubicBezTo>
                  <a:cubicBezTo>
                    <a:pt x="48" y="332"/>
                    <a:pt x="66" y="313"/>
                    <a:pt x="94" y="299"/>
                  </a:cubicBezTo>
                  <a:cubicBezTo>
                    <a:pt x="111" y="278"/>
                    <a:pt x="116" y="269"/>
                    <a:pt x="136" y="245"/>
                  </a:cubicBezTo>
                  <a:cubicBezTo>
                    <a:pt x="150" y="209"/>
                    <a:pt x="168" y="198"/>
                    <a:pt x="184" y="174"/>
                  </a:cubicBezTo>
                  <a:cubicBezTo>
                    <a:pt x="188" y="162"/>
                    <a:pt x="194" y="146"/>
                    <a:pt x="198" y="134"/>
                  </a:cubicBezTo>
                  <a:cubicBezTo>
                    <a:pt x="217" y="95"/>
                    <a:pt x="196" y="119"/>
                    <a:pt x="225" y="81"/>
                  </a:cubicBezTo>
                  <a:cubicBezTo>
                    <a:pt x="229" y="89"/>
                    <a:pt x="268" y="83"/>
                    <a:pt x="276" y="87"/>
                  </a:cubicBezTo>
                  <a:cubicBezTo>
                    <a:pt x="288" y="87"/>
                    <a:pt x="327" y="101"/>
                    <a:pt x="328" y="78"/>
                  </a:cubicBez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  <p:grpSp>
          <p:nvGrpSpPr>
            <p:cNvPr id="112" name="Group 102"/>
            <p:cNvGrpSpPr>
              <a:grpSpLocks/>
            </p:cNvGrpSpPr>
            <p:nvPr/>
          </p:nvGrpSpPr>
          <p:grpSpPr bwMode="auto">
            <a:xfrm>
              <a:off x="1828" y="2873"/>
              <a:ext cx="695" cy="729"/>
              <a:chOff x="-144" y="5643"/>
              <a:chExt cx="2751" cy="2887"/>
            </a:xfrm>
            <a:grpFill/>
          </p:grpSpPr>
          <p:sp>
            <p:nvSpPr>
              <p:cNvPr id="134" name="Freeform 103"/>
              <p:cNvSpPr>
                <a:spLocks noChangeAspect="1"/>
              </p:cNvSpPr>
              <p:nvPr/>
            </p:nvSpPr>
            <p:spPr bwMode="auto">
              <a:xfrm>
                <a:off x="372" y="6943"/>
                <a:ext cx="68" cy="203"/>
              </a:xfrm>
              <a:custGeom>
                <a:avLst/>
                <a:gdLst>
                  <a:gd name="T0" fmla="*/ 2147483647 w 17"/>
                  <a:gd name="T1" fmla="*/ 2147483647 h 51"/>
                  <a:gd name="T2" fmla="*/ 2147483647 w 17"/>
                  <a:gd name="T3" fmla="*/ 2147483647 h 51"/>
                  <a:gd name="T4" fmla="*/ 2147483647 w 17"/>
                  <a:gd name="T5" fmla="*/ 2147483647 h 51"/>
                  <a:gd name="T6" fmla="*/ 2147483647 w 17"/>
                  <a:gd name="T7" fmla="*/ 2147483647 h 51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7"/>
                  <a:gd name="T13" fmla="*/ 0 h 51"/>
                  <a:gd name="T14" fmla="*/ 17 w 17"/>
                  <a:gd name="T15" fmla="*/ 51 h 51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7" h="51">
                    <a:moveTo>
                      <a:pt x="5" y="11"/>
                    </a:moveTo>
                    <a:cubicBezTo>
                      <a:pt x="8" y="14"/>
                      <a:pt x="9" y="17"/>
                      <a:pt x="11" y="20"/>
                    </a:cubicBezTo>
                    <a:cubicBezTo>
                      <a:pt x="12" y="26"/>
                      <a:pt x="17" y="51"/>
                      <a:pt x="9" y="40"/>
                    </a:cubicBezTo>
                    <a:cubicBezTo>
                      <a:pt x="8" y="35"/>
                      <a:pt x="0" y="0"/>
                      <a:pt x="5" y="11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135" name="Freeform 104"/>
              <p:cNvSpPr>
                <a:spLocks noChangeAspect="1"/>
              </p:cNvSpPr>
              <p:nvPr/>
            </p:nvSpPr>
            <p:spPr bwMode="auto">
              <a:xfrm>
                <a:off x="364" y="6911"/>
                <a:ext cx="76" cy="52"/>
              </a:xfrm>
              <a:custGeom>
                <a:avLst/>
                <a:gdLst>
                  <a:gd name="T0" fmla="*/ 0 w 19"/>
                  <a:gd name="T1" fmla="*/ 0 h 13"/>
                  <a:gd name="T2" fmla="*/ 2147483647 w 19"/>
                  <a:gd name="T3" fmla="*/ 2147483647 h 13"/>
                  <a:gd name="T4" fmla="*/ 0 w 19"/>
                  <a:gd name="T5" fmla="*/ 0 h 13"/>
                  <a:gd name="T6" fmla="*/ 0 60000 65536"/>
                  <a:gd name="T7" fmla="*/ 0 60000 65536"/>
                  <a:gd name="T8" fmla="*/ 0 60000 65536"/>
                  <a:gd name="T9" fmla="*/ 0 w 19"/>
                  <a:gd name="T10" fmla="*/ 0 h 13"/>
                  <a:gd name="T11" fmla="*/ 19 w 19"/>
                  <a:gd name="T12" fmla="*/ 13 h 13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9" h="13">
                    <a:moveTo>
                      <a:pt x="0" y="0"/>
                    </a:moveTo>
                    <a:cubicBezTo>
                      <a:pt x="7" y="3"/>
                      <a:pt x="10" y="11"/>
                      <a:pt x="16" y="13"/>
                    </a:cubicBezTo>
                    <a:cubicBezTo>
                      <a:pt x="19" y="2"/>
                      <a:pt x="9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136" name="Freeform 105"/>
              <p:cNvSpPr>
                <a:spLocks noChangeAspect="1"/>
              </p:cNvSpPr>
              <p:nvPr/>
            </p:nvSpPr>
            <p:spPr bwMode="auto">
              <a:xfrm>
                <a:off x="2347" y="8050"/>
                <a:ext cx="260" cy="480"/>
              </a:xfrm>
              <a:custGeom>
                <a:avLst/>
                <a:gdLst>
                  <a:gd name="T0" fmla="*/ 2147483647 w 65"/>
                  <a:gd name="T1" fmla="*/ 2147483647 h 120"/>
                  <a:gd name="T2" fmla="*/ 2147483647 w 65"/>
                  <a:gd name="T3" fmla="*/ 0 h 120"/>
                  <a:gd name="T4" fmla="*/ 2147483647 w 65"/>
                  <a:gd name="T5" fmla="*/ 2147483647 h 120"/>
                  <a:gd name="T6" fmla="*/ 2147483647 w 65"/>
                  <a:gd name="T7" fmla="*/ 2147483647 h 120"/>
                  <a:gd name="T8" fmla="*/ 2147483647 w 65"/>
                  <a:gd name="T9" fmla="*/ 2147483647 h 120"/>
                  <a:gd name="T10" fmla="*/ 2147483647 w 65"/>
                  <a:gd name="T11" fmla="*/ 2147483647 h 120"/>
                  <a:gd name="T12" fmla="*/ 2147483647 w 65"/>
                  <a:gd name="T13" fmla="*/ 2147483647 h 120"/>
                  <a:gd name="T14" fmla="*/ 2147483647 w 65"/>
                  <a:gd name="T15" fmla="*/ 2147483647 h 120"/>
                  <a:gd name="T16" fmla="*/ 2147483647 w 65"/>
                  <a:gd name="T17" fmla="*/ 2147483647 h 120"/>
                  <a:gd name="T18" fmla="*/ 2147483647 w 65"/>
                  <a:gd name="T19" fmla="*/ 2147483647 h 120"/>
                  <a:gd name="T20" fmla="*/ 2147483647 w 65"/>
                  <a:gd name="T21" fmla="*/ 2147483647 h 120"/>
                  <a:gd name="T22" fmla="*/ 2147483647 w 65"/>
                  <a:gd name="T23" fmla="*/ 2147483647 h 120"/>
                  <a:gd name="T24" fmla="*/ 2147483647 w 65"/>
                  <a:gd name="T25" fmla="*/ 2147483647 h 120"/>
                  <a:gd name="T26" fmla="*/ 2147483647 w 65"/>
                  <a:gd name="T27" fmla="*/ 2147483647 h 120"/>
                  <a:gd name="T28" fmla="*/ 2147483647 w 65"/>
                  <a:gd name="T29" fmla="*/ 2147483647 h 120"/>
                  <a:gd name="T30" fmla="*/ 2147483647 w 65"/>
                  <a:gd name="T31" fmla="*/ 2147483647 h 120"/>
                  <a:gd name="T32" fmla="*/ 2147483647 w 65"/>
                  <a:gd name="T33" fmla="*/ 2147483647 h 120"/>
                  <a:gd name="T34" fmla="*/ 2147483647 w 65"/>
                  <a:gd name="T35" fmla="*/ 2147483647 h 120"/>
                  <a:gd name="T36" fmla="*/ 2147483647 w 65"/>
                  <a:gd name="T37" fmla="*/ 2147483647 h 120"/>
                  <a:gd name="T38" fmla="*/ 2147483647 w 65"/>
                  <a:gd name="T39" fmla="*/ 2147483647 h 120"/>
                  <a:gd name="T40" fmla="*/ 2147483647 w 65"/>
                  <a:gd name="T41" fmla="*/ 2147483647 h 120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65"/>
                  <a:gd name="T64" fmla="*/ 0 h 120"/>
                  <a:gd name="T65" fmla="*/ 65 w 65"/>
                  <a:gd name="T66" fmla="*/ 120 h 120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65" h="120">
                    <a:moveTo>
                      <a:pt x="49" y="27"/>
                    </a:moveTo>
                    <a:cubicBezTo>
                      <a:pt x="53" y="16"/>
                      <a:pt x="45" y="4"/>
                      <a:pt x="57" y="0"/>
                    </a:cubicBezTo>
                    <a:cubicBezTo>
                      <a:pt x="59" y="6"/>
                      <a:pt x="56" y="19"/>
                      <a:pt x="56" y="25"/>
                    </a:cubicBezTo>
                    <a:cubicBezTo>
                      <a:pt x="57" y="31"/>
                      <a:pt x="56" y="33"/>
                      <a:pt x="61" y="36"/>
                    </a:cubicBezTo>
                    <a:cubicBezTo>
                      <a:pt x="63" y="48"/>
                      <a:pt x="65" y="61"/>
                      <a:pt x="60" y="72"/>
                    </a:cubicBezTo>
                    <a:cubicBezTo>
                      <a:pt x="58" y="76"/>
                      <a:pt x="56" y="81"/>
                      <a:pt x="55" y="85"/>
                    </a:cubicBezTo>
                    <a:cubicBezTo>
                      <a:pt x="55" y="86"/>
                      <a:pt x="54" y="88"/>
                      <a:pt x="54" y="88"/>
                    </a:cubicBezTo>
                    <a:cubicBezTo>
                      <a:pt x="55" y="94"/>
                      <a:pt x="56" y="98"/>
                      <a:pt x="51" y="103"/>
                    </a:cubicBezTo>
                    <a:cubicBezTo>
                      <a:pt x="49" y="109"/>
                      <a:pt x="47" y="115"/>
                      <a:pt x="44" y="120"/>
                    </a:cubicBezTo>
                    <a:cubicBezTo>
                      <a:pt x="36" y="119"/>
                      <a:pt x="32" y="111"/>
                      <a:pt x="24" y="106"/>
                    </a:cubicBezTo>
                    <a:cubicBezTo>
                      <a:pt x="23" y="105"/>
                      <a:pt x="22" y="104"/>
                      <a:pt x="22" y="103"/>
                    </a:cubicBezTo>
                    <a:cubicBezTo>
                      <a:pt x="22" y="102"/>
                      <a:pt x="23" y="100"/>
                      <a:pt x="24" y="99"/>
                    </a:cubicBezTo>
                    <a:cubicBezTo>
                      <a:pt x="27" y="91"/>
                      <a:pt x="27" y="93"/>
                      <a:pt x="19" y="94"/>
                    </a:cubicBezTo>
                    <a:cubicBezTo>
                      <a:pt x="9" y="92"/>
                      <a:pt x="17" y="84"/>
                      <a:pt x="19" y="78"/>
                    </a:cubicBezTo>
                    <a:cubicBezTo>
                      <a:pt x="17" y="77"/>
                      <a:pt x="14" y="81"/>
                      <a:pt x="13" y="79"/>
                    </a:cubicBezTo>
                    <a:cubicBezTo>
                      <a:pt x="11" y="75"/>
                      <a:pt x="18" y="67"/>
                      <a:pt x="18" y="67"/>
                    </a:cubicBezTo>
                    <a:cubicBezTo>
                      <a:pt x="6" y="63"/>
                      <a:pt x="0" y="66"/>
                      <a:pt x="10" y="52"/>
                    </a:cubicBezTo>
                    <a:cubicBezTo>
                      <a:pt x="8" y="42"/>
                      <a:pt x="9" y="40"/>
                      <a:pt x="18" y="34"/>
                    </a:cubicBezTo>
                    <a:cubicBezTo>
                      <a:pt x="20" y="31"/>
                      <a:pt x="33" y="24"/>
                      <a:pt x="37" y="23"/>
                    </a:cubicBezTo>
                    <a:cubicBezTo>
                      <a:pt x="41" y="23"/>
                      <a:pt x="45" y="23"/>
                      <a:pt x="49" y="24"/>
                    </a:cubicBezTo>
                    <a:cubicBezTo>
                      <a:pt x="50" y="24"/>
                      <a:pt x="50" y="27"/>
                      <a:pt x="49" y="27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137" name="Freeform 106"/>
              <p:cNvSpPr>
                <a:spLocks noChangeAspect="1"/>
              </p:cNvSpPr>
              <p:nvPr/>
            </p:nvSpPr>
            <p:spPr bwMode="auto">
              <a:xfrm>
                <a:off x="-144" y="5643"/>
                <a:ext cx="2501" cy="2523"/>
              </a:xfrm>
              <a:custGeom>
                <a:avLst/>
                <a:gdLst>
                  <a:gd name="T0" fmla="*/ 1303 w 2501"/>
                  <a:gd name="T1" fmla="*/ 28 h 2523"/>
                  <a:gd name="T2" fmla="*/ 1044 w 2501"/>
                  <a:gd name="T3" fmla="*/ 308 h 2523"/>
                  <a:gd name="T4" fmla="*/ 920 w 2501"/>
                  <a:gd name="T5" fmla="*/ 436 h 2523"/>
                  <a:gd name="T6" fmla="*/ 728 w 2501"/>
                  <a:gd name="T7" fmla="*/ 380 h 2523"/>
                  <a:gd name="T8" fmla="*/ 588 w 2501"/>
                  <a:gd name="T9" fmla="*/ 344 h 2523"/>
                  <a:gd name="T10" fmla="*/ 560 w 2501"/>
                  <a:gd name="T11" fmla="*/ 584 h 2523"/>
                  <a:gd name="T12" fmla="*/ 164 w 2501"/>
                  <a:gd name="T13" fmla="*/ 508 h 2523"/>
                  <a:gd name="T14" fmla="*/ 60 w 2501"/>
                  <a:gd name="T15" fmla="*/ 584 h 2523"/>
                  <a:gd name="T16" fmla="*/ 12 w 2501"/>
                  <a:gd name="T17" fmla="*/ 680 h 2523"/>
                  <a:gd name="T18" fmla="*/ 100 w 2501"/>
                  <a:gd name="T19" fmla="*/ 720 h 2523"/>
                  <a:gd name="T20" fmla="*/ 284 w 2501"/>
                  <a:gd name="T21" fmla="*/ 872 h 2523"/>
                  <a:gd name="T22" fmla="*/ 404 w 2501"/>
                  <a:gd name="T23" fmla="*/ 948 h 2523"/>
                  <a:gd name="T24" fmla="*/ 412 w 2501"/>
                  <a:gd name="T25" fmla="*/ 1032 h 2523"/>
                  <a:gd name="T26" fmla="*/ 500 w 2501"/>
                  <a:gd name="T27" fmla="*/ 1204 h 2523"/>
                  <a:gd name="T28" fmla="*/ 608 w 2501"/>
                  <a:gd name="T29" fmla="*/ 1315 h 2523"/>
                  <a:gd name="T30" fmla="*/ 644 w 2501"/>
                  <a:gd name="T31" fmla="*/ 1559 h 2523"/>
                  <a:gd name="T32" fmla="*/ 620 w 2501"/>
                  <a:gd name="T33" fmla="*/ 1607 h 2523"/>
                  <a:gd name="T34" fmla="*/ 504 w 2501"/>
                  <a:gd name="T35" fmla="*/ 1651 h 2523"/>
                  <a:gd name="T36" fmla="*/ 444 w 2501"/>
                  <a:gd name="T37" fmla="*/ 1919 h 2523"/>
                  <a:gd name="T38" fmla="*/ 381 w 2501"/>
                  <a:gd name="T39" fmla="*/ 2100 h 2523"/>
                  <a:gd name="T40" fmla="*/ 528 w 2501"/>
                  <a:gd name="T41" fmla="*/ 2251 h 2523"/>
                  <a:gd name="T42" fmla="*/ 788 w 2501"/>
                  <a:gd name="T43" fmla="*/ 2383 h 2523"/>
                  <a:gd name="T44" fmla="*/ 988 w 2501"/>
                  <a:gd name="T45" fmla="*/ 2407 h 2523"/>
                  <a:gd name="T46" fmla="*/ 1196 w 2501"/>
                  <a:gd name="T47" fmla="*/ 2502 h 2523"/>
                  <a:gd name="T48" fmla="*/ 1347 w 2501"/>
                  <a:gd name="T49" fmla="*/ 2335 h 2523"/>
                  <a:gd name="T50" fmla="*/ 1779 w 2501"/>
                  <a:gd name="T51" fmla="*/ 2283 h 2523"/>
                  <a:gd name="T52" fmla="*/ 2155 w 2501"/>
                  <a:gd name="T53" fmla="*/ 2299 h 2523"/>
                  <a:gd name="T54" fmla="*/ 2311 w 2501"/>
                  <a:gd name="T55" fmla="*/ 2183 h 2523"/>
                  <a:gd name="T56" fmla="*/ 2243 w 2501"/>
                  <a:gd name="T57" fmla="*/ 2071 h 2523"/>
                  <a:gd name="T58" fmla="*/ 2167 w 2501"/>
                  <a:gd name="T59" fmla="*/ 1855 h 2523"/>
                  <a:gd name="T60" fmla="*/ 2243 w 2501"/>
                  <a:gd name="T61" fmla="*/ 1733 h 2523"/>
                  <a:gd name="T62" fmla="*/ 2211 w 2501"/>
                  <a:gd name="T63" fmla="*/ 1581 h 2523"/>
                  <a:gd name="T64" fmla="*/ 2215 w 2501"/>
                  <a:gd name="T65" fmla="*/ 1543 h 2523"/>
                  <a:gd name="T66" fmla="*/ 2075 w 2501"/>
                  <a:gd name="T67" fmla="*/ 1439 h 2523"/>
                  <a:gd name="T68" fmla="*/ 2071 w 2501"/>
                  <a:gd name="T69" fmla="*/ 1339 h 2523"/>
                  <a:gd name="T70" fmla="*/ 2219 w 2501"/>
                  <a:gd name="T71" fmla="*/ 1156 h 2523"/>
                  <a:gd name="T72" fmla="*/ 2363 w 2501"/>
                  <a:gd name="T73" fmla="*/ 1082 h 2523"/>
                  <a:gd name="T74" fmla="*/ 2418 w 2501"/>
                  <a:gd name="T75" fmla="*/ 758 h 2523"/>
                  <a:gd name="T76" fmla="*/ 2307 w 2501"/>
                  <a:gd name="T77" fmla="*/ 608 h 2523"/>
                  <a:gd name="T78" fmla="*/ 2123 w 2501"/>
                  <a:gd name="T79" fmla="*/ 512 h 2523"/>
                  <a:gd name="T80" fmla="*/ 1947 w 2501"/>
                  <a:gd name="T81" fmla="*/ 452 h 2523"/>
                  <a:gd name="T82" fmla="*/ 1862 w 2501"/>
                  <a:gd name="T83" fmla="*/ 299 h 2523"/>
                  <a:gd name="T84" fmla="*/ 1665 w 2501"/>
                  <a:gd name="T85" fmla="*/ 234 h 2523"/>
                  <a:gd name="T86" fmla="*/ 1519 w 2501"/>
                  <a:gd name="T87" fmla="*/ 100 h 2523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2501"/>
                  <a:gd name="T133" fmla="*/ 0 h 2523"/>
                  <a:gd name="T134" fmla="*/ 2501 w 2501"/>
                  <a:gd name="T135" fmla="*/ 2523 h 2523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2501" h="2523">
                    <a:moveTo>
                      <a:pt x="1484" y="0"/>
                    </a:moveTo>
                    <a:cubicBezTo>
                      <a:pt x="1448" y="4"/>
                      <a:pt x="1407" y="8"/>
                      <a:pt x="1371" y="12"/>
                    </a:cubicBezTo>
                    <a:cubicBezTo>
                      <a:pt x="1347" y="16"/>
                      <a:pt x="1303" y="28"/>
                      <a:pt x="1303" y="28"/>
                    </a:cubicBezTo>
                    <a:cubicBezTo>
                      <a:pt x="1299" y="68"/>
                      <a:pt x="1307" y="108"/>
                      <a:pt x="1283" y="140"/>
                    </a:cubicBezTo>
                    <a:cubicBezTo>
                      <a:pt x="1275" y="168"/>
                      <a:pt x="1275" y="200"/>
                      <a:pt x="1259" y="224"/>
                    </a:cubicBezTo>
                    <a:cubicBezTo>
                      <a:pt x="1244" y="296"/>
                      <a:pt x="1100" y="300"/>
                      <a:pt x="1044" y="308"/>
                    </a:cubicBezTo>
                    <a:cubicBezTo>
                      <a:pt x="1016" y="320"/>
                      <a:pt x="980" y="340"/>
                      <a:pt x="968" y="372"/>
                    </a:cubicBezTo>
                    <a:cubicBezTo>
                      <a:pt x="972" y="392"/>
                      <a:pt x="976" y="400"/>
                      <a:pt x="992" y="416"/>
                    </a:cubicBezTo>
                    <a:cubicBezTo>
                      <a:pt x="988" y="436"/>
                      <a:pt x="944" y="432"/>
                      <a:pt x="920" y="436"/>
                    </a:cubicBezTo>
                    <a:cubicBezTo>
                      <a:pt x="792" y="428"/>
                      <a:pt x="880" y="448"/>
                      <a:pt x="816" y="428"/>
                    </a:cubicBezTo>
                    <a:cubicBezTo>
                      <a:pt x="796" y="424"/>
                      <a:pt x="756" y="412"/>
                      <a:pt x="756" y="412"/>
                    </a:cubicBezTo>
                    <a:cubicBezTo>
                      <a:pt x="740" y="404"/>
                      <a:pt x="740" y="392"/>
                      <a:pt x="728" y="380"/>
                    </a:cubicBezTo>
                    <a:cubicBezTo>
                      <a:pt x="720" y="348"/>
                      <a:pt x="716" y="292"/>
                      <a:pt x="680" y="284"/>
                    </a:cubicBezTo>
                    <a:cubicBezTo>
                      <a:pt x="664" y="284"/>
                      <a:pt x="644" y="280"/>
                      <a:pt x="628" y="288"/>
                    </a:cubicBezTo>
                    <a:cubicBezTo>
                      <a:pt x="612" y="296"/>
                      <a:pt x="604" y="332"/>
                      <a:pt x="588" y="344"/>
                    </a:cubicBezTo>
                    <a:cubicBezTo>
                      <a:pt x="584" y="360"/>
                      <a:pt x="584" y="368"/>
                      <a:pt x="600" y="372"/>
                    </a:cubicBezTo>
                    <a:cubicBezTo>
                      <a:pt x="608" y="428"/>
                      <a:pt x="624" y="484"/>
                      <a:pt x="632" y="540"/>
                    </a:cubicBezTo>
                    <a:cubicBezTo>
                      <a:pt x="652" y="620"/>
                      <a:pt x="624" y="604"/>
                      <a:pt x="560" y="584"/>
                    </a:cubicBezTo>
                    <a:cubicBezTo>
                      <a:pt x="508" y="588"/>
                      <a:pt x="460" y="588"/>
                      <a:pt x="412" y="576"/>
                    </a:cubicBezTo>
                    <a:cubicBezTo>
                      <a:pt x="404" y="564"/>
                      <a:pt x="352" y="492"/>
                      <a:pt x="344" y="488"/>
                    </a:cubicBezTo>
                    <a:cubicBezTo>
                      <a:pt x="300" y="444"/>
                      <a:pt x="220" y="504"/>
                      <a:pt x="164" y="508"/>
                    </a:cubicBezTo>
                    <a:cubicBezTo>
                      <a:pt x="112" y="512"/>
                      <a:pt x="60" y="512"/>
                      <a:pt x="8" y="512"/>
                    </a:cubicBezTo>
                    <a:cubicBezTo>
                      <a:pt x="12" y="528"/>
                      <a:pt x="20" y="568"/>
                      <a:pt x="36" y="576"/>
                    </a:cubicBezTo>
                    <a:cubicBezTo>
                      <a:pt x="44" y="580"/>
                      <a:pt x="60" y="584"/>
                      <a:pt x="60" y="584"/>
                    </a:cubicBezTo>
                    <a:cubicBezTo>
                      <a:pt x="68" y="592"/>
                      <a:pt x="68" y="612"/>
                      <a:pt x="56" y="620"/>
                    </a:cubicBezTo>
                    <a:cubicBezTo>
                      <a:pt x="48" y="624"/>
                      <a:pt x="32" y="628"/>
                      <a:pt x="32" y="628"/>
                    </a:cubicBezTo>
                    <a:cubicBezTo>
                      <a:pt x="20" y="656"/>
                      <a:pt x="24" y="640"/>
                      <a:pt x="12" y="680"/>
                    </a:cubicBezTo>
                    <a:cubicBezTo>
                      <a:pt x="8" y="688"/>
                      <a:pt x="4" y="704"/>
                      <a:pt x="4" y="704"/>
                    </a:cubicBezTo>
                    <a:cubicBezTo>
                      <a:pt x="8" y="716"/>
                      <a:pt x="0" y="732"/>
                      <a:pt x="20" y="732"/>
                    </a:cubicBezTo>
                    <a:cubicBezTo>
                      <a:pt x="36" y="732"/>
                      <a:pt x="100" y="720"/>
                      <a:pt x="100" y="720"/>
                    </a:cubicBezTo>
                    <a:cubicBezTo>
                      <a:pt x="136" y="728"/>
                      <a:pt x="124" y="760"/>
                      <a:pt x="164" y="768"/>
                    </a:cubicBezTo>
                    <a:cubicBezTo>
                      <a:pt x="188" y="784"/>
                      <a:pt x="192" y="792"/>
                      <a:pt x="224" y="800"/>
                    </a:cubicBezTo>
                    <a:cubicBezTo>
                      <a:pt x="292" y="788"/>
                      <a:pt x="252" y="844"/>
                      <a:pt x="284" y="872"/>
                    </a:cubicBezTo>
                    <a:cubicBezTo>
                      <a:pt x="304" y="888"/>
                      <a:pt x="320" y="908"/>
                      <a:pt x="344" y="912"/>
                    </a:cubicBezTo>
                    <a:cubicBezTo>
                      <a:pt x="356" y="920"/>
                      <a:pt x="368" y="912"/>
                      <a:pt x="380" y="920"/>
                    </a:cubicBezTo>
                    <a:cubicBezTo>
                      <a:pt x="384" y="936"/>
                      <a:pt x="388" y="944"/>
                      <a:pt x="404" y="948"/>
                    </a:cubicBezTo>
                    <a:cubicBezTo>
                      <a:pt x="412" y="976"/>
                      <a:pt x="452" y="980"/>
                      <a:pt x="476" y="984"/>
                    </a:cubicBezTo>
                    <a:cubicBezTo>
                      <a:pt x="508" y="1000"/>
                      <a:pt x="508" y="996"/>
                      <a:pt x="548" y="992"/>
                    </a:cubicBezTo>
                    <a:cubicBezTo>
                      <a:pt x="536" y="996"/>
                      <a:pt x="432" y="1012"/>
                      <a:pt x="412" y="1032"/>
                    </a:cubicBezTo>
                    <a:cubicBezTo>
                      <a:pt x="420" y="1064"/>
                      <a:pt x="412" y="1076"/>
                      <a:pt x="428" y="1104"/>
                    </a:cubicBezTo>
                    <a:cubicBezTo>
                      <a:pt x="432" y="1128"/>
                      <a:pt x="432" y="1144"/>
                      <a:pt x="452" y="1156"/>
                    </a:cubicBezTo>
                    <a:cubicBezTo>
                      <a:pt x="460" y="1172"/>
                      <a:pt x="484" y="1200"/>
                      <a:pt x="500" y="1204"/>
                    </a:cubicBezTo>
                    <a:cubicBezTo>
                      <a:pt x="516" y="1236"/>
                      <a:pt x="536" y="1240"/>
                      <a:pt x="560" y="1260"/>
                    </a:cubicBezTo>
                    <a:cubicBezTo>
                      <a:pt x="568" y="1267"/>
                      <a:pt x="584" y="1283"/>
                      <a:pt x="584" y="1283"/>
                    </a:cubicBezTo>
                    <a:cubicBezTo>
                      <a:pt x="588" y="1299"/>
                      <a:pt x="600" y="1295"/>
                      <a:pt x="608" y="1315"/>
                    </a:cubicBezTo>
                    <a:cubicBezTo>
                      <a:pt x="612" y="1371"/>
                      <a:pt x="600" y="1399"/>
                      <a:pt x="584" y="1447"/>
                    </a:cubicBezTo>
                    <a:cubicBezTo>
                      <a:pt x="588" y="1475"/>
                      <a:pt x="588" y="1511"/>
                      <a:pt x="620" y="1523"/>
                    </a:cubicBezTo>
                    <a:cubicBezTo>
                      <a:pt x="624" y="1539"/>
                      <a:pt x="632" y="1547"/>
                      <a:pt x="644" y="1559"/>
                    </a:cubicBezTo>
                    <a:cubicBezTo>
                      <a:pt x="652" y="1587"/>
                      <a:pt x="656" y="1611"/>
                      <a:pt x="660" y="1643"/>
                    </a:cubicBezTo>
                    <a:cubicBezTo>
                      <a:pt x="660" y="1655"/>
                      <a:pt x="668" y="1691"/>
                      <a:pt x="668" y="1679"/>
                    </a:cubicBezTo>
                    <a:cubicBezTo>
                      <a:pt x="668" y="1627"/>
                      <a:pt x="652" y="1627"/>
                      <a:pt x="620" y="1607"/>
                    </a:cubicBezTo>
                    <a:cubicBezTo>
                      <a:pt x="604" y="1583"/>
                      <a:pt x="604" y="1559"/>
                      <a:pt x="588" y="1535"/>
                    </a:cubicBezTo>
                    <a:cubicBezTo>
                      <a:pt x="556" y="1547"/>
                      <a:pt x="560" y="1575"/>
                      <a:pt x="536" y="1591"/>
                    </a:cubicBezTo>
                    <a:cubicBezTo>
                      <a:pt x="528" y="1611"/>
                      <a:pt x="512" y="1627"/>
                      <a:pt x="504" y="1651"/>
                    </a:cubicBezTo>
                    <a:cubicBezTo>
                      <a:pt x="500" y="1659"/>
                      <a:pt x="496" y="1711"/>
                      <a:pt x="504" y="1703"/>
                    </a:cubicBezTo>
                    <a:cubicBezTo>
                      <a:pt x="500" y="1727"/>
                      <a:pt x="492" y="1767"/>
                      <a:pt x="484" y="1807"/>
                    </a:cubicBezTo>
                    <a:cubicBezTo>
                      <a:pt x="464" y="1839"/>
                      <a:pt x="460" y="1883"/>
                      <a:pt x="444" y="1919"/>
                    </a:cubicBezTo>
                    <a:cubicBezTo>
                      <a:pt x="440" y="1947"/>
                      <a:pt x="440" y="2047"/>
                      <a:pt x="412" y="2059"/>
                    </a:cubicBezTo>
                    <a:cubicBezTo>
                      <a:pt x="396" y="2067"/>
                      <a:pt x="396" y="2076"/>
                      <a:pt x="384" y="2088"/>
                    </a:cubicBezTo>
                    <a:cubicBezTo>
                      <a:pt x="380" y="2097"/>
                      <a:pt x="383" y="2088"/>
                      <a:pt x="381" y="2100"/>
                    </a:cubicBezTo>
                    <a:cubicBezTo>
                      <a:pt x="389" y="2112"/>
                      <a:pt x="386" y="2127"/>
                      <a:pt x="389" y="2168"/>
                    </a:cubicBezTo>
                    <a:cubicBezTo>
                      <a:pt x="401" y="2192"/>
                      <a:pt x="438" y="2226"/>
                      <a:pt x="456" y="2252"/>
                    </a:cubicBezTo>
                    <a:cubicBezTo>
                      <a:pt x="510" y="2255"/>
                      <a:pt x="488" y="2247"/>
                      <a:pt x="528" y="2251"/>
                    </a:cubicBezTo>
                    <a:cubicBezTo>
                      <a:pt x="564" y="2291"/>
                      <a:pt x="611" y="2325"/>
                      <a:pt x="659" y="2349"/>
                    </a:cubicBezTo>
                    <a:cubicBezTo>
                      <a:pt x="693" y="2363"/>
                      <a:pt x="696" y="2355"/>
                      <a:pt x="720" y="2363"/>
                    </a:cubicBezTo>
                    <a:cubicBezTo>
                      <a:pt x="736" y="2367"/>
                      <a:pt x="768" y="2383"/>
                      <a:pt x="788" y="2383"/>
                    </a:cubicBezTo>
                    <a:cubicBezTo>
                      <a:pt x="808" y="2383"/>
                      <a:pt x="822" y="2382"/>
                      <a:pt x="836" y="2375"/>
                    </a:cubicBezTo>
                    <a:cubicBezTo>
                      <a:pt x="854" y="2354"/>
                      <a:pt x="851" y="2369"/>
                      <a:pt x="869" y="2343"/>
                    </a:cubicBezTo>
                    <a:cubicBezTo>
                      <a:pt x="901" y="2351"/>
                      <a:pt x="956" y="2391"/>
                      <a:pt x="988" y="2407"/>
                    </a:cubicBezTo>
                    <a:cubicBezTo>
                      <a:pt x="1004" y="2415"/>
                      <a:pt x="1067" y="2437"/>
                      <a:pt x="1083" y="2441"/>
                    </a:cubicBezTo>
                    <a:cubicBezTo>
                      <a:pt x="1095" y="2481"/>
                      <a:pt x="1097" y="2481"/>
                      <a:pt x="1101" y="2499"/>
                    </a:cubicBezTo>
                    <a:cubicBezTo>
                      <a:pt x="1133" y="2501"/>
                      <a:pt x="1172" y="2504"/>
                      <a:pt x="1196" y="2502"/>
                    </a:cubicBezTo>
                    <a:cubicBezTo>
                      <a:pt x="1224" y="2502"/>
                      <a:pt x="1247" y="2496"/>
                      <a:pt x="1274" y="2496"/>
                    </a:cubicBezTo>
                    <a:cubicBezTo>
                      <a:pt x="1294" y="2496"/>
                      <a:pt x="1346" y="2493"/>
                      <a:pt x="1346" y="2493"/>
                    </a:cubicBezTo>
                    <a:cubicBezTo>
                      <a:pt x="1362" y="2425"/>
                      <a:pt x="1335" y="2523"/>
                      <a:pt x="1347" y="2335"/>
                    </a:cubicBezTo>
                    <a:cubicBezTo>
                      <a:pt x="1351" y="2271"/>
                      <a:pt x="1459" y="2259"/>
                      <a:pt x="1507" y="2251"/>
                    </a:cubicBezTo>
                    <a:cubicBezTo>
                      <a:pt x="1575" y="2255"/>
                      <a:pt x="1611" y="2223"/>
                      <a:pt x="1679" y="2239"/>
                    </a:cubicBezTo>
                    <a:cubicBezTo>
                      <a:pt x="1699" y="2251"/>
                      <a:pt x="1755" y="2279"/>
                      <a:pt x="1779" y="2283"/>
                    </a:cubicBezTo>
                    <a:cubicBezTo>
                      <a:pt x="1851" y="2311"/>
                      <a:pt x="1919" y="2339"/>
                      <a:pt x="1999" y="2351"/>
                    </a:cubicBezTo>
                    <a:cubicBezTo>
                      <a:pt x="2039" y="2351"/>
                      <a:pt x="2079" y="2355"/>
                      <a:pt x="2115" y="2347"/>
                    </a:cubicBezTo>
                    <a:cubicBezTo>
                      <a:pt x="2119" y="2347"/>
                      <a:pt x="2139" y="2303"/>
                      <a:pt x="2155" y="2299"/>
                    </a:cubicBezTo>
                    <a:cubicBezTo>
                      <a:pt x="2171" y="2283"/>
                      <a:pt x="2171" y="2271"/>
                      <a:pt x="2191" y="2259"/>
                    </a:cubicBezTo>
                    <a:cubicBezTo>
                      <a:pt x="2207" y="2247"/>
                      <a:pt x="2219" y="2215"/>
                      <a:pt x="2239" y="2203"/>
                    </a:cubicBezTo>
                    <a:cubicBezTo>
                      <a:pt x="2259" y="2191"/>
                      <a:pt x="2295" y="2195"/>
                      <a:pt x="2311" y="2183"/>
                    </a:cubicBezTo>
                    <a:cubicBezTo>
                      <a:pt x="2318" y="2150"/>
                      <a:pt x="2333" y="2154"/>
                      <a:pt x="2347" y="2135"/>
                    </a:cubicBezTo>
                    <a:cubicBezTo>
                      <a:pt x="2357" y="2088"/>
                      <a:pt x="2354" y="2100"/>
                      <a:pt x="2345" y="2078"/>
                    </a:cubicBezTo>
                    <a:cubicBezTo>
                      <a:pt x="2304" y="2069"/>
                      <a:pt x="2295" y="2072"/>
                      <a:pt x="2243" y="2071"/>
                    </a:cubicBezTo>
                    <a:cubicBezTo>
                      <a:pt x="2231" y="2067"/>
                      <a:pt x="2198" y="2064"/>
                      <a:pt x="2183" y="1979"/>
                    </a:cubicBezTo>
                    <a:cubicBezTo>
                      <a:pt x="2187" y="1956"/>
                      <a:pt x="2201" y="1937"/>
                      <a:pt x="2220" y="1892"/>
                    </a:cubicBezTo>
                    <a:cubicBezTo>
                      <a:pt x="2219" y="1854"/>
                      <a:pt x="2223" y="1859"/>
                      <a:pt x="2167" y="1855"/>
                    </a:cubicBezTo>
                    <a:cubicBezTo>
                      <a:pt x="2127" y="1859"/>
                      <a:pt x="2142" y="1817"/>
                      <a:pt x="2121" y="1823"/>
                    </a:cubicBezTo>
                    <a:cubicBezTo>
                      <a:pt x="2117" y="1815"/>
                      <a:pt x="2116" y="1798"/>
                      <a:pt x="2124" y="1790"/>
                    </a:cubicBezTo>
                    <a:cubicBezTo>
                      <a:pt x="2186" y="1788"/>
                      <a:pt x="2222" y="1743"/>
                      <a:pt x="2243" y="1733"/>
                    </a:cubicBezTo>
                    <a:cubicBezTo>
                      <a:pt x="2229" y="1704"/>
                      <a:pt x="2225" y="1695"/>
                      <a:pt x="2213" y="1659"/>
                    </a:cubicBezTo>
                    <a:cubicBezTo>
                      <a:pt x="2209" y="1647"/>
                      <a:pt x="2203" y="1619"/>
                      <a:pt x="2203" y="1619"/>
                    </a:cubicBezTo>
                    <a:cubicBezTo>
                      <a:pt x="2201" y="1590"/>
                      <a:pt x="2210" y="1589"/>
                      <a:pt x="2211" y="1581"/>
                    </a:cubicBezTo>
                    <a:cubicBezTo>
                      <a:pt x="2212" y="1573"/>
                      <a:pt x="2205" y="1571"/>
                      <a:pt x="2207" y="1568"/>
                    </a:cubicBezTo>
                    <a:cubicBezTo>
                      <a:pt x="2209" y="1565"/>
                      <a:pt x="2225" y="1564"/>
                      <a:pt x="2226" y="1560"/>
                    </a:cubicBezTo>
                    <a:cubicBezTo>
                      <a:pt x="2227" y="1556"/>
                      <a:pt x="2220" y="1555"/>
                      <a:pt x="2215" y="1543"/>
                    </a:cubicBezTo>
                    <a:cubicBezTo>
                      <a:pt x="2211" y="1519"/>
                      <a:pt x="2207" y="1507"/>
                      <a:pt x="2195" y="1487"/>
                    </a:cubicBezTo>
                    <a:cubicBezTo>
                      <a:pt x="2191" y="1455"/>
                      <a:pt x="2195" y="1431"/>
                      <a:pt x="2159" y="1423"/>
                    </a:cubicBezTo>
                    <a:cubicBezTo>
                      <a:pt x="2127" y="1423"/>
                      <a:pt x="2107" y="1435"/>
                      <a:pt x="2075" y="1439"/>
                    </a:cubicBezTo>
                    <a:cubicBezTo>
                      <a:pt x="2055" y="1443"/>
                      <a:pt x="2043" y="1483"/>
                      <a:pt x="2023" y="1495"/>
                    </a:cubicBezTo>
                    <a:cubicBezTo>
                      <a:pt x="2027" y="1467"/>
                      <a:pt x="2043" y="1423"/>
                      <a:pt x="2059" y="1399"/>
                    </a:cubicBezTo>
                    <a:cubicBezTo>
                      <a:pt x="2071" y="1379"/>
                      <a:pt x="2051" y="1367"/>
                      <a:pt x="2071" y="1339"/>
                    </a:cubicBezTo>
                    <a:cubicBezTo>
                      <a:pt x="2083" y="1323"/>
                      <a:pt x="2107" y="1311"/>
                      <a:pt x="2123" y="1295"/>
                    </a:cubicBezTo>
                    <a:cubicBezTo>
                      <a:pt x="2139" y="1279"/>
                      <a:pt x="2155" y="1256"/>
                      <a:pt x="2171" y="1232"/>
                    </a:cubicBezTo>
                    <a:cubicBezTo>
                      <a:pt x="2187" y="1208"/>
                      <a:pt x="2207" y="1180"/>
                      <a:pt x="2219" y="1156"/>
                    </a:cubicBezTo>
                    <a:cubicBezTo>
                      <a:pt x="2231" y="1132"/>
                      <a:pt x="2231" y="1096"/>
                      <a:pt x="2251" y="1084"/>
                    </a:cubicBezTo>
                    <a:cubicBezTo>
                      <a:pt x="2303" y="1088"/>
                      <a:pt x="2311" y="1096"/>
                      <a:pt x="2347" y="1092"/>
                    </a:cubicBezTo>
                    <a:cubicBezTo>
                      <a:pt x="2358" y="1082"/>
                      <a:pt x="2357" y="1088"/>
                      <a:pt x="2363" y="1082"/>
                    </a:cubicBezTo>
                    <a:cubicBezTo>
                      <a:pt x="2358" y="1073"/>
                      <a:pt x="2343" y="1034"/>
                      <a:pt x="2351" y="993"/>
                    </a:cubicBezTo>
                    <a:cubicBezTo>
                      <a:pt x="2355" y="941"/>
                      <a:pt x="2390" y="899"/>
                      <a:pt x="2414" y="833"/>
                    </a:cubicBezTo>
                    <a:cubicBezTo>
                      <a:pt x="2422" y="805"/>
                      <a:pt x="2394" y="771"/>
                      <a:pt x="2418" y="758"/>
                    </a:cubicBezTo>
                    <a:cubicBezTo>
                      <a:pt x="2469" y="747"/>
                      <a:pt x="2472" y="734"/>
                      <a:pt x="2493" y="705"/>
                    </a:cubicBezTo>
                    <a:cubicBezTo>
                      <a:pt x="2501" y="673"/>
                      <a:pt x="2489" y="680"/>
                      <a:pt x="2431" y="656"/>
                    </a:cubicBezTo>
                    <a:cubicBezTo>
                      <a:pt x="2387" y="626"/>
                      <a:pt x="2346" y="599"/>
                      <a:pt x="2307" y="608"/>
                    </a:cubicBezTo>
                    <a:cubicBezTo>
                      <a:pt x="2275" y="600"/>
                      <a:pt x="2275" y="604"/>
                      <a:pt x="2239" y="600"/>
                    </a:cubicBezTo>
                    <a:cubicBezTo>
                      <a:pt x="2219" y="580"/>
                      <a:pt x="2208" y="567"/>
                      <a:pt x="2183" y="552"/>
                    </a:cubicBezTo>
                    <a:cubicBezTo>
                      <a:pt x="2160" y="509"/>
                      <a:pt x="2162" y="504"/>
                      <a:pt x="2123" y="512"/>
                    </a:cubicBezTo>
                    <a:cubicBezTo>
                      <a:pt x="2109" y="521"/>
                      <a:pt x="2082" y="528"/>
                      <a:pt x="2061" y="513"/>
                    </a:cubicBezTo>
                    <a:cubicBezTo>
                      <a:pt x="2037" y="513"/>
                      <a:pt x="2033" y="492"/>
                      <a:pt x="2010" y="510"/>
                    </a:cubicBezTo>
                    <a:cubicBezTo>
                      <a:pt x="1964" y="497"/>
                      <a:pt x="1970" y="459"/>
                      <a:pt x="1947" y="452"/>
                    </a:cubicBezTo>
                    <a:cubicBezTo>
                      <a:pt x="1932" y="425"/>
                      <a:pt x="1903" y="414"/>
                      <a:pt x="1875" y="408"/>
                    </a:cubicBezTo>
                    <a:cubicBezTo>
                      <a:pt x="1877" y="360"/>
                      <a:pt x="1878" y="360"/>
                      <a:pt x="1860" y="345"/>
                    </a:cubicBezTo>
                    <a:cubicBezTo>
                      <a:pt x="1875" y="315"/>
                      <a:pt x="1869" y="296"/>
                      <a:pt x="1862" y="299"/>
                    </a:cubicBezTo>
                    <a:cubicBezTo>
                      <a:pt x="1836" y="302"/>
                      <a:pt x="1839" y="344"/>
                      <a:pt x="1823" y="360"/>
                    </a:cubicBezTo>
                    <a:cubicBezTo>
                      <a:pt x="1748" y="371"/>
                      <a:pt x="1761" y="356"/>
                      <a:pt x="1747" y="308"/>
                    </a:cubicBezTo>
                    <a:cubicBezTo>
                      <a:pt x="1723" y="204"/>
                      <a:pt x="1715" y="252"/>
                      <a:pt x="1665" y="234"/>
                    </a:cubicBezTo>
                    <a:cubicBezTo>
                      <a:pt x="1645" y="202"/>
                      <a:pt x="1665" y="179"/>
                      <a:pt x="1596" y="173"/>
                    </a:cubicBezTo>
                    <a:cubicBezTo>
                      <a:pt x="1589" y="159"/>
                      <a:pt x="1591" y="136"/>
                      <a:pt x="1575" y="116"/>
                    </a:cubicBezTo>
                    <a:cubicBezTo>
                      <a:pt x="1567" y="96"/>
                      <a:pt x="1557" y="95"/>
                      <a:pt x="1519" y="100"/>
                    </a:cubicBezTo>
                    <a:cubicBezTo>
                      <a:pt x="1484" y="96"/>
                      <a:pt x="1484" y="40"/>
                      <a:pt x="1484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</p:grpSp>
        <p:sp>
          <p:nvSpPr>
            <p:cNvPr id="113" name="Freeform 107"/>
            <p:cNvSpPr>
              <a:spLocks noChangeAspect="1"/>
            </p:cNvSpPr>
            <p:nvPr/>
          </p:nvSpPr>
          <p:spPr bwMode="auto">
            <a:xfrm>
              <a:off x="2200" y="2848"/>
              <a:ext cx="174" cy="154"/>
            </a:xfrm>
            <a:custGeom>
              <a:avLst/>
              <a:gdLst>
                <a:gd name="T0" fmla="*/ 0 w 691"/>
                <a:gd name="T1" fmla="*/ 0 h 607"/>
                <a:gd name="T2" fmla="*/ 0 w 691"/>
                <a:gd name="T3" fmla="*/ 0 h 607"/>
                <a:gd name="T4" fmla="*/ 0 w 691"/>
                <a:gd name="T5" fmla="*/ 0 h 607"/>
                <a:gd name="T6" fmla="*/ 0 w 691"/>
                <a:gd name="T7" fmla="*/ 0 h 607"/>
                <a:gd name="T8" fmla="*/ 0 w 691"/>
                <a:gd name="T9" fmla="*/ 0 h 607"/>
                <a:gd name="T10" fmla="*/ 0 w 691"/>
                <a:gd name="T11" fmla="*/ 0 h 607"/>
                <a:gd name="T12" fmla="*/ 0 w 691"/>
                <a:gd name="T13" fmla="*/ 0 h 607"/>
                <a:gd name="T14" fmla="*/ 0 w 691"/>
                <a:gd name="T15" fmla="*/ 0 h 607"/>
                <a:gd name="T16" fmla="*/ 0 w 691"/>
                <a:gd name="T17" fmla="*/ 0 h 607"/>
                <a:gd name="T18" fmla="*/ 0 w 691"/>
                <a:gd name="T19" fmla="*/ 0 h 607"/>
                <a:gd name="T20" fmla="*/ 0 w 691"/>
                <a:gd name="T21" fmla="*/ 0 h 607"/>
                <a:gd name="T22" fmla="*/ 0 w 691"/>
                <a:gd name="T23" fmla="*/ 0 h 607"/>
                <a:gd name="T24" fmla="*/ 0 w 691"/>
                <a:gd name="T25" fmla="*/ 0 h 607"/>
                <a:gd name="T26" fmla="*/ 0 w 691"/>
                <a:gd name="T27" fmla="*/ 0 h 607"/>
                <a:gd name="T28" fmla="*/ 0 w 691"/>
                <a:gd name="T29" fmla="*/ 0 h 607"/>
                <a:gd name="T30" fmla="*/ 0 w 691"/>
                <a:gd name="T31" fmla="*/ 0 h 607"/>
                <a:gd name="T32" fmla="*/ 0 w 691"/>
                <a:gd name="T33" fmla="*/ 0 h 607"/>
                <a:gd name="T34" fmla="*/ 0 w 691"/>
                <a:gd name="T35" fmla="*/ 0 h 607"/>
                <a:gd name="T36" fmla="*/ 0 w 691"/>
                <a:gd name="T37" fmla="*/ 0 h 607"/>
                <a:gd name="T38" fmla="*/ 0 w 691"/>
                <a:gd name="T39" fmla="*/ 0 h 607"/>
                <a:gd name="T40" fmla="*/ 0 w 691"/>
                <a:gd name="T41" fmla="*/ 0 h 607"/>
                <a:gd name="T42" fmla="*/ 0 w 691"/>
                <a:gd name="T43" fmla="*/ 0 h 607"/>
                <a:gd name="T44" fmla="*/ 0 w 691"/>
                <a:gd name="T45" fmla="*/ 0 h 607"/>
                <a:gd name="T46" fmla="*/ 0 w 691"/>
                <a:gd name="T47" fmla="*/ 0 h 607"/>
                <a:gd name="T48" fmla="*/ 0 w 691"/>
                <a:gd name="T49" fmla="*/ 0 h 607"/>
                <a:gd name="T50" fmla="*/ 0 w 691"/>
                <a:gd name="T51" fmla="*/ 0 h 607"/>
                <a:gd name="T52" fmla="*/ 0 w 691"/>
                <a:gd name="T53" fmla="*/ 0 h 607"/>
                <a:gd name="T54" fmla="*/ 0 w 691"/>
                <a:gd name="T55" fmla="*/ 0 h 607"/>
                <a:gd name="T56" fmla="*/ 0 w 691"/>
                <a:gd name="T57" fmla="*/ 0 h 607"/>
                <a:gd name="T58" fmla="*/ 0 w 691"/>
                <a:gd name="T59" fmla="*/ 0 h 607"/>
                <a:gd name="T60" fmla="*/ 0 w 691"/>
                <a:gd name="T61" fmla="*/ 0 h 607"/>
                <a:gd name="T62" fmla="*/ 0 w 691"/>
                <a:gd name="T63" fmla="*/ 0 h 607"/>
                <a:gd name="T64" fmla="*/ 0 w 691"/>
                <a:gd name="T65" fmla="*/ 0 h 607"/>
                <a:gd name="T66" fmla="*/ 0 w 691"/>
                <a:gd name="T67" fmla="*/ 0 h 607"/>
                <a:gd name="T68" fmla="*/ 0 w 691"/>
                <a:gd name="T69" fmla="*/ 0 h 607"/>
                <a:gd name="T70" fmla="*/ 0 w 691"/>
                <a:gd name="T71" fmla="*/ 0 h 607"/>
                <a:gd name="T72" fmla="*/ 0 w 691"/>
                <a:gd name="T73" fmla="*/ 0 h 607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691"/>
                <a:gd name="T112" fmla="*/ 0 h 607"/>
                <a:gd name="T113" fmla="*/ 691 w 691"/>
                <a:gd name="T114" fmla="*/ 607 h 607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691" h="607">
                  <a:moveTo>
                    <a:pt x="181" y="0"/>
                  </a:moveTo>
                  <a:cubicBezTo>
                    <a:pt x="188" y="1"/>
                    <a:pt x="178" y="11"/>
                    <a:pt x="187" y="20"/>
                  </a:cubicBezTo>
                  <a:cubicBezTo>
                    <a:pt x="192" y="25"/>
                    <a:pt x="206" y="28"/>
                    <a:pt x="214" y="33"/>
                  </a:cubicBezTo>
                  <a:cubicBezTo>
                    <a:pt x="222" y="38"/>
                    <a:pt x="213" y="54"/>
                    <a:pt x="237" y="53"/>
                  </a:cubicBezTo>
                  <a:cubicBezTo>
                    <a:pt x="273" y="60"/>
                    <a:pt x="284" y="39"/>
                    <a:pt x="312" y="31"/>
                  </a:cubicBezTo>
                  <a:cubicBezTo>
                    <a:pt x="324" y="27"/>
                    <a:pt x="358" y="11"/>
                    <a:pt x="358" y="11"/>
                  </a:cubicBezTo>
                  <a:cubicBezTo>
                    <a:pt x="374" y="10"/>
                    <a:pt x="356" y="9"/>
                    <a:pt x="375" y="14"/>
                  </a:cubicBezTo>
                  <a:cubicBezTo>
                    <a:pt x="394" y="19"/>
                    <a:pt x="450" y="27"/>
                    <a:pt x="474" y="39"/>
                  </a:cubicBezTo>
                  <a:cubicBezTo>
                    <a:pt x="484" y="74"/>
                    <a:pt x="500" y="71"/>
                    <a:pt x="521" y="84"/>
                  </a:cubicBezTo>
                  <a:cubicBezTo>
                    <a:pt x="535" y="87"/>
                    <a:pt x="590" y="99"/>
                    <a:pt x="597" y="119"/>
                  </a:cubicBezTo>
                  <a:cubicBezTo>
                    <a:pt x="603" y="144"/>
                    <a:pt x="561" y="176"/>
                    <a:pt x="558" y="209"/>
                  </a:cubicBezTo>
                  <a:cubicBezTo>
                    <a:pt x="574" y="236"/>
                    <a:pt x="576" y="239"/>
                    <a:pt x="627" y="224"/>
                  </a:cubicBezTo>
                  <a:cubicBezTo>
                    <a:pt x="622" y="236"/>
                    <a:pt x="625" y="263"/>
                    <a:pt x="649" y="287"/>
                  </a:cubicBezTo>
                  <a:cubicBezTo>
                    <a:pt x="661" y="295"/>
                    <a:pt x="691" y="338"/>
                    <a:pt x="688" y="353"/>
                  </a:cubicBezTo>
                  <a:cubicBezTo>
                    <a:pt x="684" y="373"/>
                    <a:pt x="673" y="363"/>
                    <a:pt x="661" y="374"/>
                  </a:cubicBezTo>
                  <a:cubicBezTo>
                    <a:pt x="653" y="386"/>
                    <a:pt x="642" y="431"/>
                    <a:pt x="642" y="431"/>
                  </a:cubicBezTo>
                  <a:cubicBezTo>
                    <a:pt x="627" y="434"/>
                    <a:pt x="603" y="432"/>
                    <a:pt x="591" y="441"/>
                  </a:cubicBezTo>
                  <a:cubicBezTo>
                    <a:pt x="593" y="487"/>
                    <a:pt x="576" y="475"/>
                    <a:pt x="572" y="491"/>
                  </a:cubicBezTo>
                  <a:cubicBezTo>
                    <a:pt x="566" y="516"/>
                    <a:pt x="558" y="581"/>
                    <a:pt x="561" y="602"/>
                  </a:cubicBezTo>
                  <a:cubicBezTo>
                    <a:pt x="552" y="605"/>
                    <a:pt x="561" y="602"/>
                    <a:pt x="540" y="607"/>
                  </a:cubicBezTo>
                  <a:cubicBezTo>
                    <a:pt x="484" y="595"/>
                    <a:pt x="508" y="575"/>
                    <a:pt x="476" y="551"/>
                  </a:cubicBezTo>
                  <a:cubicBezTo>
                    <a:pt x="452" y="531"/>
                    <a:pt x="436" y="511"/>
                    <a:pt x="404" y="507"/>
                  </a:cubicBezTo>
                  <a:cubicBezTo>
                    <a:pt x="396" y="483"/>
                    <a:pt x="412" y="451"/>
                    <a:pt x="384" y="443"/>
                  </a:cubicBezTo>
                  <a:cubicBezTo>
                    <a:pt x="392" y="431"/>
                    <a:pt x="388" y="423"/>
                    <a:pt x="396" y="411"/>
                  </a:cubicBezTo>
                  <a:cubicBezTo>
                    <a:pt x="384" y="375"/>
                    <a:pt x="368" y="419"/>
                    <a:pt x="360" y="431"/>
                  </a:cubicBezTo>
                  <a:cubicBezTo>
                    <a:pt x="348" y="463"/>
                    <a:pt x="352" y="455"/>
                    <a:pt x="324" y="463"/>
                  </a:cubicBezTo>
                  <a:cubicBezTo>
                    <a:pt x="312" y="459"/>
                    <a:pt x="296" y="467"/>
                    <a:pt x="288" y="455"/>
                  </a:cubicBezTo>
                  <a:cubicBezTo>
                    <a:pt x="284" y="447"/>
                    <a:pt x="272" y="407"/>
                    <a:pt x="272" y="407"/>
                  </a:cubicBezTo>
                  <a:cubicBezTo>
                    <a:pt x="248" y="327"/>
                    <a:pt x="268" y="343"/>
                    <a:pt x="192" y="335"/>
                  </a:cubicBezTo>
                  <a:cubicBezTo>
                    <a:pt x="176" y="287"/>
                    <a:pt x="172" y="279"/>
                    <a:pt x="120" y="271"/>
                  </a:cubicBezTo>
                  <a:cubicBezTo>
                    <a:pt x="104" y="235"/>
                    <a:pt x="116" y="207"/>
                    <a:pt x="72" y="195"/>
                  </a:cubicBezTo>
                  <a:cubicBezTo>
                    <a:pt x="44" y="203"/>
                    <a:pt x="48" y="207"/>
                    <a:pt x="24" y="191"/>
                  </a:cubicBezTo>
                  <a:cubicBezTo>
                    <a:pt x="20" y="179"/>
                    <a:pt x="12" y="155"/>
                    <a:pt x="12" y="155"/>
                  </a:cubicBezTo>
                  <a:cubicBezTo>
                    <a:pt x="8" y="127"/>
                    <a:pt x="0" y="95"/>
                    <a:pt x="32" y="83"/>
                  </a:cubicBezTo>
                  <a:cubicBezTo>
                    <a:pt x="48" y="55"/>
                    <a:pt x="56" y="55"/>
                    <a:pt x="88" y="47"/>
                  </a:cubicBezTo>
                  <a:cubicBezTo>
                    <a:pt x="136" y="11"/>
                    <a:pt x="12" y="43"/>
                    <a:pt x="152" y="15"/>
                  </a:cubicBezTo>
                  <a:cubicBezTo>
                    <a:pt x="160" y="15"/>
                    <a:pt x="189" y="0"/>
                    <a:pt x="181" y="0"/>
                  </a:cubicBez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  <p:sp>
          <p:nvSpPr>
            <p:cNvPr id="114" name="Freeform 108"/>
            <p:cNvSpPr>
              <a:spLocks noChangeAspect="1"/>
            </p:cNvSpPr>
            <p:nvPr/>
          </p:nvSpPr>
          <p:spPr bwMode="auto">
            <a:xfrm>
              <a:off x="2339" y="2957"/>
              <a:ext cx="38" cy="50"/>
            </a:xfrm>
            <a:custGeom>
              <a:avLst/>
              <a:gdLst>
                <a:gd name="T0" fmla="*/ 0 w 153"/>
                <a:gd name="T1" fmla="*/ 0 h 200"/>
                <a:gd name="T2" fmla="*/ 0 w 153"/>
                <a:gd name="T3" fmla="*/ 0 h 200"/>
                <a:gd name="T4" fmla="*/ 0 w 153"/>
                <a:gd name="T5" fmla="*/ 0 h 200"/>
                <a:gd name="T6" fmla="*/ 0 w 153"/>
                <a:gd name="T7" fmla="*/ 0 h 200"/>
                <a:gd name="T8" fmla="*/ 0 w 153"/>
                <a:gd name="T9" fmla="*/ 0 h 200"/>
                <a:gd name="T10" fmla="*/ 0 w 153"/>
                <a:gd name="T11" fmla="*/ 0 h 200"/>
                <a:gd name="T12" fmla="*/ 0 w 153"/>
                <a:gd name="T13" fmla="*/ 0 h 200"/>
                <a:gd name="T14" fmla="*/ 0 w 153"/>
                <a:gd name="T15" fmla="*/ 0 h 200"/>
                <a:gd name="T16" fmla="*/ 0 w 153"/>
                <a:gd name="T17" fmla="*/ 0 h 20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53"/>
                <a:gd name="T28" fmla="*/ 0 h 200"/>
                <a:gd name="T29" fmla="*/ 153 w 153"/>
                <a:gd name="T30" fmla="*/ 200 h 20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53" h="200">
                  <a:moveTo>
                    <a:pt x="95" y="0"/>
                  </a:moveTo>
                  <a:cubicBezTo>
                    <a:pt x="0" y="3"/>
                    <a:pt x="71" y="24"/>
                    <a:pt x="23" y="56"/>
                  </a:cubicBezTo>
                  <a:cubicBezTo>
                    <a:pt x="15" y="96"/>
                    <a:pt x="15" y="116"/>
                    <a:pt x="11" y="168"/>
                  </a:cubicBezTo>
                  <a:cubicBezTo>
                    <a:pt x="22" y="186"/>
                    <a:pt x="33" y="181"/>
                    <a:pt x="51" y="184"/>
                  </a:cubicBezTo>
                  <a:cubicBezTo>
                    <a:pt x="63" y="200"/>
                    <a:pt x="111" y="171"/>
                    <a:pt x="130" y="178"/>
                  </a:cubicBezTo>
                  <a:cubicBezTo>
                    <a:pt x="125" y="160"/>
                    <a:pt x="132" y="150"/>
                    <a:pt x="147" y="120"/>
                  </a:cubicBezTo>
                  <a:cubicBezTo>
                    <a:pt x="153" y="88"/>
                    <a:pt x="151" y="79"/>
                    <a:pt x="127" y="63"/>
                  </a:cubicBezTo>
                  <a:cubicBezTo>
                    <a:pt x="105" y="42"/>
                    <a:pt x="115" y="48"/>
                    <a:pt x="95" y="28"/>
                  </a:cubicBezTo>
                  <a:cubicBezTo>
                    <a:pt x="91" y="8"/>
                    <a:pt x="91" y="16"/>
                    <a:pt x="95" y="0"/>
                  </a:cubicBez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  <p:grpSp>
          <p:nvGrpSpPr>
            <p:cNvPr id="115" name="Group 109"/>
            <p:cNvGrpSpPr>
              <a:grpSpLocks/>
            </p:cNvGrpSpPr>
            <p:nvPr/>
          </p:nvGrpSpPr>
          <p:grpSpPr bwMode="auto">
            <a:xfrm>
              <a:off x="2245" y="2705"/>
              <a:ext cx="177" cy="201"/>
              <a:chOff x="1507" y="4979"/>
              <a:chExt cx="706" cy="796"/>
            </a:xfrm>
            <a:grpFill/>
          </p:grpSpPr>
          <p:sp>
            <p:nvSpPr>
              <p:cNvPr id="129" name="Freeform 110"/>
              <p:cNvSpPr>
                <a:spLocks noChangeAspect="1"/>
              </p:cNvSpPr>
              <p:nvPr/>
            </p:nvSpPr>
            <p:spPr bwMode="auto">
              <a:xfrm>
                <a:off x="1759" y="5075"/>
                <a:ext cx="56" cy="44"/>
              </a:xfrm>
              <a:custGeom>
                <a:avLst/>
                <a:gdLst>
                  <a:gd name="T0" fmla="*/ 2147483647 w 14"/>
                  <a:gd name="T1" fmla="*/ 0 h 11"/>
                  <a:gd name="T2" fmla="*/ 2147483647 w 14"/>
                  <a:gd name="T3" fmla="*/ 2147483647 h 11"/>
                  <a:gd name="T4" fmla="*/ 2147483647 w 14"/>
                  <a:gd name="T5" fmla="*/ 2147483647 h 11"/>
                  <a:gd name="T6" fmla="*/ 2147483647 w 14"/>
                  <a:gd name="T7" fmla="*/ 0 h 11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4"/>
                  <a:gd name="T13" fmla="*/ 0 h 11"/>
                  <a:gd name="T14" fmla="*/ 14 w 14"/>
                  <a:gd name="T15" fmla="*/ 11 h 11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4" h="11">
                    <a:moveTo>
                      <a:pt x="5" y="0"/>
                    </a:moveTo>
                    <a:cubicBezTo>
                      <a:pt x="9" y="1"/>
                      <a:pt x="14" y="0"/>
                      <a:pt x="9" y="7"/>
                    </a:cubicBezTo>
                    <a:cubicBezTo>
                      <a:pt x="8" y="9"/>
                      <a:pt x="3" y="11"/>
                      <a:pt x="3" y="11"/>
                    </a:cubicBezTo>
                    <a:cubicBezTo>
                      <a:pt x="0" y="7"/>
                      <a:pt x="1" y="4"/>
                      <a:pt x="5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130" name="Freeform 111"/>
              <p:cNvSpPr>
                <a:spLocks noChangeAspect="1"/>
              </p:cNvSpPr>
              <p:nvPr/>
            </p:nvSpPr>
            <p:spPr bwMode="auto">
              <a:xfrm>
                <a:off x="1803" y="5019"/>
                <a:ext cx="32" cy="68"/>
              </a:xfrm>
              <a:custGeom>
                <a:avLst/>
                <a:gdLst>
                  <a:gd name="T0" fmla="*/ 0 w 8"/>
                  <a:gd name="T1" fmla="*/ 2147483647 h 17"/>
                  <a:gd name="T2" fmla="*/ 2147483647 w 8"/>
                  <a:gd name="T3" fmla="*/ 0 h 17"/>
                  <a:gd name="T4" fmla="*/ 0 w 8"/>
                  <a:gd name="T5" fmla="*/ 2147483647 h 17"/>
                  <a:gd name="T6" fmla="*/ 0 60000 65536"/>
                  <a:gd name="T7" fmla="*/ 0 60000 65536"/>
                  <a:gd name="T8" fmla="*/ 0 60000 65536"/>
                  <a:gd name="T9" fmla="*/ 0 w 8"/>
                  <a:gd name="T10" fmla="*/ 0 h 17"/>
                  <a:gd name="T11" fmla="*/ 8 w 8"/>
                  <a:gd name="T12" fmla="*/ 17 h 17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8" h="17">
                    <a:moveTo>
                      <a:pt x="0" y="8"/>
                    </a:moveTo>
                    <a:cubicBezTo>
                      <a:pt x="5" y="6"/>
                      <a:pt x="4" y="4"/>
                      <a:pt x="8" y="0"/>
                    </a:cubicBezTo>
                    <a:cubicBezTo>
                      <a:pt x="8" y="2"/>
                      <a:pt x="0" y="17"/>
                      <a:pt x="0" y="8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131" name="Freeform 112"/>
              <p:cNvSpPr>
                <a:spLocks noChangeAspect="1"/>
              </p:cNvSpPr>
              <p:nvPr/>
            </p:nvSpPr>
            <p:spPr bwMode="auto">
              <a:xfrm>
                <a:off x="1859" y="4991"/>
                <a:ext cx="48" cy="40"/>
              </a:xfrm>
              <a:custGeom>
                <a:avLst/>
                <a:gdLst>
                  <a:gd name="T0" fmla="*/ 0 w 12"/>
                  <a:gd name="T1" fmla="*/ 2147483647 h 10"/>
                  <a:gd name="T2" fmla="*/ 2147483647 w 12"/>
                  <a:gd name="T3" fmla="*/ 2147483647 h 10"/>
                  <a:gd name="T4" fmla="*/ 0 w 12"/>
                  <a:gd name="T5" fmla="*/ 2147483647 h 10"/>
                  <a:gd name="T6" fmla="*/ 0 60000 65536"/>
                  <a:gd name="T7" fmla="*/ 0 60000 65536"/>
                  <a:gd name="T8" fmla="*/ 0 60000 65536"/>
                  <a:gd name="T9" fmla="*/ 0 w 12"/>
                  <a:gd name="T10" fmla="*/ 0 h 10"/>
                  <a:gd name="T11" fmla="*/ 12 w 12"/>
                  <a:gd name="T12" fmla="*/ 10 h 10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2" h="10">
                    <a:moveTo>
                      <a:pt x="0" y="3"/>
                    </a:moveTo>
                    <a:cubicBezTo>
                      <a:pt x="8" y="0"/>
                      <a:pt x="4" y="1"/>
                      <a:pt x="12" y="2"/>
                    </a:cubicBezTo>
                    <a:cubicBezTo>
                      <a:pt x="10" y="9"/>
                      <a:pt x="0" y="10"/>
                      <a:pt x="0" y="3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132" name="Freeform 113"/>
              <p:cNvSpPr>
                <a:spLocks noChangeAspect="1"/>
              </p:cNvSpPr>
              <p:nvPr/>
            </p:nvSpPr>
            <p:spPr bwMode="auto">
              <a:xfrm>
                <a:off x="1919" y="4979"/>
                <a:ext cx="96" cy="28"/>
              </a:xfrm>
              <a:custGeom>
                <a:avLst/>
                <a:gdLst>
                  <a:gd name="T0" fmla="*/ 2147483647 w 24"/>
                  <a:gd name="T1" fmla="*/ 2147483647 h 7"/>
                  <a:gd name="T2" fmla="*/ 2147483647 w 24"/>
                  <a:gd name="T3" fmla="*/ 2147483647 h 7"/>
                  <a:gd name="T4" fmla="*/ 2147483647 w 24"/>
                  <a:gd name="T5" fmla="*/ 2147483647 h 7"/>
                  <a:gd name="T6" fmla="*/ 0 60000 65536"/>
                  <a:gd name="T7" fmla="*/ 0 60000 65536"/>
                  <a:gd name="T8" fmla="*/ 0 60000 65536"/>
                  <a:gd name="T9" fmla="*/ 0 w 24"/>
                  <a:gd name="T10" fmla="*/ 0 h 7"/>
                  <a:gd name="T11" fmla="*/ 24 w 24"/>
                  <a:gd name="T12" fmla="*/ 7 h 7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4" h="7">
                    <a:moveTo>
                      <a:pt x="1" y="4"/>
                    </a:moveTo>
                    <a:cubicBezTo>
                      <a:pt x="22" y="3"/>
                      <a:pt x="24" y="3"/>
                      <a:pt x="12" y="7"/>
                    </a:cubicBezTo>
                    <a:cubicBezTo>
                      <a:pt x="6" y="6"/>
                      <a:pt x="0" y="0"/>
                      <a:pt x="1" y="4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133" name="Freeform 114"/>
              <p:cNvSpPr>
                <a:spLocks noChangeAspect="1"/>
              </p:cNvSpPr>
              <p:nvPr/>
            </p:nvSpPr>
            <p:spPr bwMode="auto">
              <a:xfrm>
                <a:off x="1507" y="5019"/>
                <a:ext cx="706" cy="756"/>
              </a:xfrm>
              <a:custGeom>
                <a:avLst/>
                <a:gdLst>
                  <a:gd name="T0" fmla="*/ 694 w 706"/>
                  <a:gd name="T1" fmla="*/ 39 h 756"/>
                  <a:gd name="T2" fmla="*/ 624 w 706"/>
                  <a:gd name="T3" fmla="*/ 0 h 756"/>
                  <a:gd name="T4" fmla="*/ 508 w 706"/>
                  <a:gd name="T5" fmla="*/ 12 h 756"/>
                  <a:gd name="T6" fmla="*/ 432 w 706"/>
                  <a:gd name="T7" fmla="*/ 28 h 756"/>
                  <a:gd name="T8" fmla="*/ 376 w 706"/>
                  <a:gd name="T9" fmla="*/ 60 h 756"/>
                  <a:gd name="T10" fmla="*/ 328 w 706"/>
                  <a:gd name="T11" fmla="*/ 92 h 756"/>
                  <a:gd name="T12" fmla="*/ 304 w 706"/>
                  <a:gd name="T13" fmla="*/ 100 h 756"/>
                  <a:gd name="T14" fmla="*/ 244 w 706"/>
                  <a:gd name="T15" fmla="*/ 156 h 756"/>
                  <a:gd name="T16" fmla="*/ 364 w 706"/>
                  <a:gd name="T17" fmla="*/ 240 h 756"/>
                  <a:gd name="T18" fmla="*/ 324 w 706"/>
                  <a:gd name="T19" fmla="*/ 272 h 756"/>
                  <a:gd name="T20" fmla="*/ 220 w 706"/>
                  <a:gd name="T21" fmla="*/ 268 h 756"/>
                  <a:gd name="T22" fmla="*/ 168 w 706"/>
                  <a:gd name="T23" fmla="*/ 316 h 756"/>
                  <a:gd name="T24" fmla="*/ 112 w 706"/>
                  <a:gd name="T25" fmla="*/ 392 h 756"/>
                  <a:gd name="T26" fmla="*/ 76 w 706"/>
                  <a:gd name="T27" fmla="*/ 420 h 756"/>
                  <a:gd name="T28" fmla="*/ 12 w 706"/>
                  <a:gd name="T29" fmla="*/ 504 h 756"/>
                  <a:gd name="T30" fmla="*/ 36 w 706"/>
                  <a:gd name="T31" fmla="*/ 560 h 756"/>
                  <a:gd name="T32" fmla="*/ 76 w 706"/>
                  <a:gd name="T33" fmla="*/ 580 h 756"/>
                  <a:gd name="T34" fmla="*/ 196 w 706"/>
                  <a:gd name="T35" fmla="*/ 536 h 756"/>
                  <a:gd name="T36" fmla="*/ 300 w 706"/>
                  <a:gd name="T37" fmla="*/ 564 h 756"/>
                  <a:gd name="T38" fmla="*/ 364 w 706"/>
                  <a:gd name="T39" fmla="*/ 612 h 756"/>
                  <a:gd name="T40" fmla="*/ 400 w 706"/>
                  <a:gd name="T41" fmla="*/ 628 h 756"/>
                  <a:gd name="T42" fmla="*/ 424 w 706"/>
                  <a:gd name="T43" fmla="*/ 644 h 756"/>
                  <a:gd name="T44" fmla="*/ 392 w 706"/>
                  <a:gd name="T45" fmla="*/ 704 h 756"/>
                  <a:gd name="T46" fmla="*/ 408 w 706"/>
                  <a:gd name="T47" fmla="*/ 756 h 756"/>
                  <a:gd name="T48" fmla="*/ 464 w 706"/>
                  <a:gd name="T49" fmla="*/ 732 h 756"/>
                  <a:gd name="T50" fmla="*/ 460 w 706"/>
                  <a:gd name="T51" fmla="*/ 720 h 756"/>
                  <a:gd name="T52" fmla="*/ 440 w 706"/>
                  <a:gd name="T53" fmla="*/ 692 h 756"/>
                  <a:gd name="T54" fmla="*/ 466 w 706"/>
                  <a:gd name="T55" fmla="*/ 669 h 756"/>
                  <a:gd name="T56" fmla="*/ 484 w 706"/>
                  <a:gd name="T57" fmla="*/ 624 h 756"/>
                  <a:gd name="T58" fmla="*/ 496 w 706"/>
                  <a:gd name="T59" fmla="*/ 588 h 756"/>
                  <a:gd name="T60" fmla="*/ 484 w 706"/>
                  <a:gd name="T61" fmla="*/ 524 h 756"/>
                  <a:gd name="T62" fmla="*/ 482 w 706"/>
                  <a:gd name="T63" fmla="*/ 471 h 756"/>
                  <a:gd name="T64" fmla="*/ 464 w 706"/>
                  <a:gd name="T65" fmla="*/ 474 h 756"/>
                  <a:gd name="T66" fmla="*/ 529 w 706"/>
                  <a:gd name="T67" fmla="*/ 452 h 756"/>
                  <a:gd name="T68" fmla="*/ 610 w 706"/>
                  <a:gd name="T69" fmla="*/ 431 h 756"/>
                  <a:gd name="T70" fmla="*/ 616 w 706"/>
                  <a:gd name="T71" fmla="*/ 371 h 756"/>
                  <a:gd name="T72" fmla="*/ 652 w 706"/>
                  <a:gd name="T73" fmla="*/ 356 h 756"/>
                  <a:gd name="T74" fmla="*/ 625 w 706"/>
                  <a:gd name="T75" fmla="*/ 273 h 756"/>
                  <a:gd name="T76" fmla="*/ 593 w 706"/>
                  <a:gd name="T77" fmla="*/ 231 h 756"/>
                  <a:gd name="T78" fmla="*/ 628 w 706"/>
                  <a:gd name="T79" fmla="*/ 215 h 756"/>
                  <a:gd name="T80" fmla="*/ 646 w 706"/>
                  <a:gd name="T81" fmla="*/ 242 h 756"/>
                  <a:gd name="T82" fmla="*/ 665 w 706"/>
                  <a:gd name="T83" fmla="*/ 197 h 756"/>
                  <a:gd name="T84" fmla="*/ 694 w 706"/>
                  <a:gd name="T85" fmla="*/ 39 h 75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706"/>
                  <a:gd name="T130" fmla="*/ 0 h 756"/>
                  <a:gd name="T131" fmla="*/ 706 w 706"/>
                  <a:gd name="T132" fmla="*/ 756 h 756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706" h="756">
                    <a:moveTo>
                      <a:pt x="694" y="39"/>
                    </a:moveTo>
                    <a:cubicBezTo>
                      <a:pt x="682" y="7"/>
                      <a:pt x="652" y="20"/>
                      <a:pt x="624" y="0"/>
                    </a:cubicBezTo>
                    <a:cubicBezTo>
                      <a:pt x="584" y="4"/>
                      <a:pt x="548" y="8"/>
                      <a:pt x="508" y="12"/>
                    </a:cubicBezTo>
                    <a:cubicBezTo>
                      <a:pt x="480" y="20"/>
                      <a:pt x="460" y="24"/>
                      <a:pt x="432" y="28"/>
                    </a:cubicBezTo>
                    <a:cubicBezTo>
                      <a:pt x="412" y="36"/>
                      <a:pt x="376" y="60"/>
                      <a:pt x="376" y="60"/>
                    </a:cubicBezTo>
                    <a:cubicBezTo>
                      <a:pt x="364" y="76"/>
                      <a:pt x="344" y="80"/>
                      <a:pt x="328" y="92"/>
                    </a:cubicBezTo>
                    <a:cubicBezTo>
                      <a:pt x="320" y="96"/>
                      <a:pt x="304" y="100"/>
                      <a:pt x="304" y="100"/>
                    </a:cubicBezTo>
                    <a:cubicBezTo>
                      <a:pt x="284" y="124"/>
                      <a:pt x="268" y="140"/>
                      <a:pt x="244" y="156"/>
                    </a:cubicBezTo>
                    <a:cubicBezTo>
                      <a:pt x="252" y="228"/>
                      <a:pt x="300" y="228"/>
                      <a:pt x="364" y="240"/>
                    </a:cubicBezTo>
                    <a:cubicBezTo>
                      <a:pt x="356" y="260"/>
                      <a:pt x="340" y="268"/>
                      <a:pt x="324" y="272"/>
                    </a:cubicBezTo>
                    <a:cubicBezTo>
                      <a:pt x="280" y="268"/>
                      <a:pt x="264" y="264"/>
                      <a:pt x="220" y="268"/>
                    </a:cubicBezTo>
                    <a:cubicBezTo>
                      <a:pt x="200" y="276"/>
                      <a:pt x="176" y="296"/>
                      <a:pt x="168" y="316"/>
                    </a:cubicBezTo>
                    <a:cubicBezTo>
                      <a:pt x="164" y="332"/>
                      <a:pt x="132" y="384"/>
                      <a:pt x="112" y="392"/>
                    </a:cubicBezTo>
                    <a:cubicBezTo>
                      <a:pt x="104" y="408"/>
                      <a:pt x="92" y="412"/>
                      <a:pt x="76" y="420"/>
                    </a:cubicBezTo>
                    <a:cubicBezTo>
                      <a:pt x="68" y="440"/>
                      <a:pt x="32" y="496"/>
                      <a:pt x="12" y="504"/>
                    </a:cubicBezTo>
                    <a:cubicBezTo>
                      <a:pt x="0" y="540"/>
                      <a:pt x="12" y="544"/>
                      <a:pt x="36" y="560"/>
                    </a:cubicBezTo>
                    <a:cubicBezTo>
                      <a:pt x="44" y="580"/>
                      <a:pt x="56" y="576"/>
                      <a:pt x="76" y="580"/>
                    </a:cubicBezTo>
                    <a:cubicBezTo>
                      <a:pt x="128" y="572"/>
                      <a:pt x="148" y="540"/>
                      <a:pt x="196" y="536"/>
                    </a:cubicBezTo>
                    <a:cubicBezTo>
                      <a:pt x="228" y="548"/>
                      <a:pt x="264" y="556"/>
                      <a:pt x="300" y="564"/>
                    </a:cubicBezTo>
                    <a:cubicBezTo>
                      <a:pt x="312" y="600"/>
                      <a:pt x="324" y="608"/>
                      <a:pt x="364" y="612"/>
                    </a:cubicBezTo>
                    <a:cubicBezTo>
                      <a:pt x="376" y="620"/>
                      <a:pt x="388" y="620"/>
                      <a:pt x="400" y="628"/>
                    </a:cubicBezTo>
                    <a:cubicBezTo>
                      <a:pt x="408" y="632"/>
                      <a:pt x="424" y="644"/>
                      <a:pt x="424" y="644"/>
                    </a:cubicBezTo>
                    <a:cubicBezTo>
                      <a:pt x="416" y="668"/>
                      <a:pt x="412" y="688"/>
                      <a:pt x="392" y="704"/>
                    </a:cubicBezTo>
                    <a:cubicBezTo>
                      <a:pt x="384" y="728"/>
                      <a:pt x="380" y="748"/>
                      <a:pt x="408" y="756"/>
                    </a:cubicBezTo>
                    <a:cubicBezTo>
                      <a:pt x="436" y="752"/>
                      <a:pt x="452" y="756"/>
                      <a:pt x="464" y="732"/>
                    </a:cubicBezTo>
                    <a:cubicBezTo>
                      <a:pt x="464" y="728"/>
                      <a:pt x="464" y="724"/>
                      <a:pt x="460" y="720"/>
                    </a:cubicBezTo>
                    <a:cubicBezTo>
                      <a:pt x="456" y="713"/>
                      <a:pt x="439" y="700"/>
                      <a:pt x="440" y="692"/>
                    </a:cubicBezTo>
                    <a:cubicBezTo>
                      <a:pt x="452" y="683"/>
                      <a:pt x="454" y="681"/>
                      <a:pt x="466" y="669"/>
                    </a:cubicBezTo>
                    <a:cubicBezTo>
                      <a:pt x="470" y="653"/>
                      <a:pt x="481" y="645"/>
                      <a:pt x="484" y="624"/>
                    </a:cubicBezTo>
                    <a:cubicBezTo>
                      <a:pt x="488" y="612"/>
                      <a:pt x="490" y="597"/>
                      <a:pt x="496" y="588"/>
                    </a:cubicBezTo>
                    <a:cubicBezTo>
                      <a:pt x="497" y="570"/>
                      <a:pt x="486" y="543"/>
                      <a:pt x="484" y="524"/>
                    </a:cubicBezTo>
                    <a:cubicBezTo>
                      <a:pt x="482" y="505"/>
                      <a:pt x="485" y="479"/>
                      <a:pt x="482" y="471"/>
                    </a:cubicBezTo>
                    <a:cubicBezTo>
                      <a:pt x="479" y="463"/>
                      <a:pt x="456" y="477"/>
                      <a:pt x="464" y="474"/>
                    </a:cubicBezTo>
                    <a:cubicBezTo>
                      <a:pt x="473" y="440"/>
                      <a:pt x="485" y="453"/>
                      <a:pt x="529" y="452"/>
                    </a:cubicBezTo>
                    <a:cubicBezTo>
                      <a:pt x="569" y="446"/>
                      <a:pt x="583" y="443"/>
                      <a:pt x="610" y="431"/>
                    </a:cubicBezTo>
                    <a:cubicBezTo>
                      <a:pt x="622" y="395"/>
                      <a:pt x="577" y="395"/>
                      <a:pt x="616" y="371"/>
                    </a:cubicBezTo>
                    <a:cubicBezTo>
                      <a:pt x="628" y="363"/>
                      <a:pt x="640" y="368"/>
                      <a:pt x="652" y="356"/>
                    </a:cubicBezTo>
                    <a:cubicBezTo>
                      <a:pt x="685" y="318"/>
                      <a:pt x="654" y="255"/>
                      <a:pt x="625" y="273"/>
                    </a:cubicBezTo>
                    <a:cubicBezTo>
                      <a:pt x="603" y="263"/>
                      <a:pt x="593" y="241"/>
                      <a:pt x="593" y="231"/>
                    </a:cubicBezTo>
                    <a:cubicBezTo>
                      <a:pt x="593" y="221"/>
                      <a:pt x="619" y="213"/>
                      <a:pt x="628" y="215"/>
                    </a:cubicBezTo>
                    <a:cubicBezTo>
                      <a:pt x="638" y="230"/>
                      <a:pt x="634" y="230"/>
                      <a:pt x="646" y="242"/>
                    </a:cubicBezTo>
                    <a:cubicBezTo>
                      <a:pt x="653" y="239"/>
                      <a:pt x="657" y="231"/>
                      <a:pt x="665" y="197"/>
                    </a:cubicBezTo>
                    <a:cubicBezTo>
                      <a:pt x="673" y="163"/>
                      <a:pt x="706" y="167"/>
                      <a:pt x="694" y="39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</p:grpSp>
        <p:grpSp>
          <p:nvGrpSpPr>
            <p:cNvPr id="116" name="Group 115"/>
            <p:cNvGrpSpPr>
              <a:grpSpLocks/>
            </p:cNvGrpSpPr>
            <p:nvPr/>
          </p:nvGrpSpPr>
          <p:grpSpPr bwMode="auto">
            <a:xfrm>
              <a:off x="1776" y="2141"/>
              <a:ext cx="402" cy="752"/>
              <a:chOff x="-347" y="2747"/>
              <a:chExt cx="1590" cy="2976"/>
            </a:xfrm>
            <a:grpFill/>
          </p:grpSpPr>
          <p:sp>
            <p:nvSpPr>
              <p:cNvPr id="118" name="Freeform 116"/>
              <p:cNvSpPr>
                <a:spLocks noChangeAspect="1"/>
              </p:cNvSpPr>
              <p:nvPr/>
            </p:nvSpPr>
            <p:spPr bwMode="auto">
              <a:xfrm>
                <a:off x="1007" y="2747"/>
                <a:ext cx="144" cy="288"/>
              </a:xfrm>
              <a:custGeom>
                <a:avLst/>
                <a:gdLst>
                  <a:gd name="T0" fmla="*/ 2147483647 w 36"/>
                  <a:gd name="T1" fmla="*/ 2147483647 h 72"/>
                  <a:gd name="T2" fmla="*/ 2147483647 w 36"/>
                  <a:gd name="T3" fmla="*/ 2147483647 h 72"/>
                  <a:gd name="T4" fmla="*/ 2147483647 w 36"/>
                  <a:gd name="T5" fmla="*/ 2147483647 h 72"/>
                  <a:gd name="T6" fmla="*/ 2147483647 w 36"/>
                  <a:gd name="T7" fmla="*/ 2147483647 h 72"/>
                  <a:gd name="T8" fmla="*/ 0 w 36"/>
                  <a:gd name="T9" fmla="*/ 2147483647 h 72"/>
                  <a:gd name="T10" fmla="*/ 2147483647 w 36"/>
                  <a:gd name="T11" fmla="*/ 2147483647 h 72"/>
                  <a:gd name="T12" fmla="*/ 2147483647 w 36"/>
                  <a:gd name="T13" fmla="*/ 2147483647 h 72"/>
                  <a:gd name="T14" fmla="*/ 2147483647 w 36"/>
                  <a:gd name="T15" fmla="*/ 2147483647 h 72"/>
                  <a:gd name="T16" fmla="*/ 2147483647 w 36"/>
                  <a:gd name="T17" fmla="*/ 2147483647 h 72"/>
                  <a:gd name="T18" fmla="*/ 2147483647 w 36"/>
                  <a:gd name="T19" fmla="*/ 2147483647 h 72"/>
                  <a:gd name="T20" fmla="*/ 2147483647 w 36"/>
                  <a:gd name="T21" fmla="*/ 2147483647 h 72"/>
                  <a:gd name="T22" fmla="*/ 2147483647 w 36"/>
                  <a:gd name="T23" fmla="*/ 2147483647 h 72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36"/>
                  <a:gd name="T37" fmla="*/ 0 h 72"/>
                  <a:gd name="T38" fmla="*/ 36 w 36"/>
                  <a:gd name="T39" fmla="*/ 72 h 72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36" h="72">
                    <a:moveTo>
                      <a:pt x="32" y="4"/>
                    </a:moveTo>
                    <a:cubicBezTo>
                      <a:pt x="24" y="5"/>
                      <a:pt x="26" y="8"/>
                      <a:pt x="20" y="11"/>
                    </a:cubicBezTo>
                    <a:cubicBezTo>
                      <a:pt x="16" y="16"/>
                      <a:pt x="11" y="17"/>
                      <a:pt x="7" y="22"/>
                    </a:cubicBezTo>
                    <a:cubicBezTo>
                      <a:pt x="5" y="24"/>
                      <a:pt x="3" y="28"/>
                      <a:pt x="3" y="28"/>
                    </a:cubicBezTo>
                    <a:cubicBezTo>
                      <a:pt x="2" y="33"/>
                      <a:pt x="2" y="38"/>
                      <a:pt x="0" y="43"/>
                    </a:cubicBezTo>
                    <a:cubicBezTo>
                      <a:pt x="2" y="53"/>
                      <a:pt x="1" y="63"/>
                      <a:pt x="7" y="72"/>
                    </a:cubicBezTo>
                    <a:cubicBezTo>
                      <a:pt x="10" y="68"/>
                      <a:pt x="12" y="66"/>
                      <a:pt x="17" y="63"/>
                    </a:cubicBezTo>
                    <a:cubicBezTo>
                      <a:pt x="18" y="60"/>
                      <a:pt x="20" y="57"/>
                      <a:pt x="21" y="54"/>
                    </a:cubicBezTo>
                    <a:cubicBezTo>
                      <a:pt x="22" y="42"/>
                      <a:pt x="20" y="30"/>
                      <a:pt x="30" y="23"/>
                    </a:cubicBezTo>
                    <a:cubicBezTo>
                      <a:pt x="32" y="19"/>
                      <a:pt x="34" y="14"/>
                      <a:pt x="36" y="9"/>
                    </a:cubicBezTo>
                    <a:cubicBezTo>
                      <a:pt x="33" y="0"/>
                      <a:pt x="30" y="7"/>
                      <a:pt x="26" y="11"/>
                    </a:cubicBezTo>
                    <a:lnTo>
                      <a:pt x="32" y="4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119" name="Freeform 117"/>
              <p:cNvSpPr>
                <a:spLocks noChangeAspect="1"/>
              </p:cNvSpPr>
              <p:nvPr/>
            </p:nvSpPr>
            <p:spPr bwMode="auto">
              <a:xfrm>
                <a:off x="715" y="3135"/>
                <a:ext cx="120" cy="132"/>
              </a:xfrm>
              <a:custGeom>
                <a:avLst/>
                <a:gdLst>
                  <a:gd name="T0" fmla="*/ 2147483647 w 30"/>
                  <a:gd name="T1" fmla="*/ 0 h 33"/>
                  <a:gd name="T2" fmla="*/ 2147483647 w 30"/>
                  <a:gd name="T3" fmla="*/ 2147483647 h 33"/>
                  <a:gd name="T4" fmla="*/ 0 w 30"/>
                  <a:gd name="T5" fmla="*/ 2147483647 h 33"/>
                  <a:gd name="T6" fmla="*/ 2147483647 w 30"/>
                  <a:gd name="T7" fmla="*/ 2147483647 h 33"/>
                  <a:gd name="T8" fmla="*/ 2147483647 w 30"/>
                  <a:gd name="T9" fmla="*/ 2147483647 h 33"/>
                  <a:gd name="T10" fmla="*/ 2147483647 w 30"/>
                  <a:gd name="T11" fmla="*/ 2147483647 h 33"/>
                  <a:gd name="T12" fmla="*/ 2147483647 w 30"/>
                  <a:gd name="T13" fmla="*/ 0 h 3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0"/>
                  <a:gd name="T22" fmla="*/ 0 h 33"/>
                  <a:gd name="T23" fmla="*/ 30 w 30"/>
                  <a:gd name="T24" fmla="*/ 33 h 3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0" h="33">
                    <a:moveTo>
                      <a:pt x="16" y="0"/>
                    </a:moveTo>
                    <a:cubicBezTo>
                      <a:pt x="7" y="3"/>
                      <a:pt x="9" y="3"/>
                      <a:pt x="3" y="9"/>
                    </a:cubicBezTo>
                    <a:cubicBezTo>
                      <a:pt x="0" y="17"/>
                      <a:pt x="1" y="13"/>
                      <a:pt x="0" y="21"/>
                    </a:cubicBezTo>
                    <a:cubicBezTo>
                      <a:pt x="1" y="29"/>
                      <a:pt x="3" y="31"/>
                      <a:pt x="10" y="33"/>
                    </a:cubicBezTo>
                    <a:cubicBezTo>
                      <a:pt x="25" y="32"/>
                      <a:pt x="18" y="33"/>
                      <a:pt x="25" y="26"/>
                    </a:cubicBezTo>
                    <a:cubicBezTo>
                      <a:pt x="26" y="20"/>
                      <a:pt x="27" y="17"/>
                      <a:pt x="30" y="12"/>
                    </a:cubicBezTo>
                    <a:cubicBezTo>
                      <a:pt x="27" y="0"/>
                      <a:pt x="24" y="5"/>
                      <a:pt x="16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120" name="Freeform 118"/>
              <p:cNvSpPr>
                <a:spLocks noChangeAspect="1"/>
              </p:cNvSpPr>
              <p:nvPr/>
            </p:nvSpPr>
            <p:spPr bwMode="auto">
              <a:xfrm>
                <a:off x="-88" y="3271"/>
                <a:ext cx="340" cy="432"/>
              </a:xfrm>
              <a:custGeom>
                <a:avLst/>
                <a:gdLst>
                  <a:gd name="T0" fmla="*/ 2147483647 w 85"/>
                  <a:gd name="T1" fmla="*/ 0 h 108"/>
                  <a:gd name="T2" fmla="*/ 2147483647 w 85"/>
                  <a:gd name="T3" fmla="*/ 2147483647 h 108"/>
                  <a:gd name="T4" fmla="*/ 2147483647 w 85"/>
                  <a:gd name="T5" fmla="*/ 2147483647 h 108"/>
                  <a:gd name="T6" fmla="*/ 2147483647 w 85"/>
                  <a:gd name="T7" fmla="*/ 2147483647 h 108"/>
                  <a:gd name="T8" fmla="*/ 2147483647 w 85"/>
                  <a:gd name="T9" fmla="*/ 2147483647 h 108"/>
                  <a:gd name="T10" fmla="*/ 0 w 85"/>
                  <a:gd name="T11" fmla="*/ 2147483647 h 108"/>
                  <a:gd name="T12" fmla="*/ 2147483647 w 85"/>
                  <a:gd name="T13" fmla="*/ 2147483647 h 108"/>
                  <a:gd name="T14" fmla="*/ 2147483647 w 85"/>
                  <a:gd name="T15" fmla="*/ 2147483647 h 108"/>
                  <a:gd name="T16" fmla="*/ 2147483647 w 85"/>
                  <a:gd name="T17" fmla="*/ 2147483647 h 108"/>
                  <a:gd name="T18" fmla="*/ 2147483647 w 85"/>
                  <a:gd name="T19" fmla="*/ 2147483647 h 108"/>
                  <a:gd name="T20" fmla="*/ 2147483647 w 85"/>
                  <a:gd name="T21" fmla="*/ 2147483647 h 108"/>
                  <a:gd name="T22" fmla="*/ 2147483647 w 85"/>
                  <a:gd name="T23" fmla="*/ 2147483647 h 108"/>
                  <a:gd name="T24" fmla="*/ 2147483647 w 85"/>
                  <a:gd name="T25" fmla="*/ 2147483647 h 108"/>
                  <a:gd name="T26" fmla="*/ 2147483647 w 85"/>
                  <a:gd name="T27" fmla="*/ 2147483647 h 108"/>
                  <a:gd name="T28" fmla="*/ 2147483647 w 85"/>
                  <a:gd name="T29" fmla="*/ 0 h 108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85"/>
                  <a:gd name="T46" fmla="*/ 0 h 108"/>
                  <a:gd name="T47" fmla="*/ 85 w 85"/>
                  <a:gd name="T48" fmla="*/ 108 h 108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85" h="108">
                    <a:moveTo>
                      <a:pt x="81" y="0"/>
                    </a:moveTo>
                    <a:cubicBezTo>
                      <a:pt x="69" y="1"/>
                      <a:pt x="55" y="0"/>
                      <a:pt x="45" y="7"/>
                    </a:cubicBezTo>
                    <a:cubicBezTo>
                      <a:pt x="38" y="18"/>
                      <a:pt x="41" y="31"/>
                      <a:pt x="36" y="42"/>
                    </a:cubicBezTo>
                    <a:cubicBezTo>
                      <a:pt x="33" y="48"/>
                      <a:pt x="26" y="52"/>
                      <a:pt x="21" y="55"/>
                    </a:cubicBezTo>
                    <a:cubicBezTo>
                      <a:pt x="14" y="65"/>
                      <a:pt x="17" y="83"/>
                      <a:pt x="6" y="90"/>
                    </a:cubicBezTo>
                    <a:cubicBezTo>
                      <a:pt x="5" y="96"/>
                      <a:pt x="4" y="99"/>
                      <a:pt x="0" y="103"/>
                    </a:cubicBezTo>
                    <a:cubicBezTo>
                      <a:pt x="1" y="106"/>
                      <a:pt x="7" y="108"/>
                      <a:pt x="7" y="108"/>
                    </a:cubicBezTo>
                    <a:cubicBezTo>
                      <a:pt x="12" y="99"/>
                      <a:pt x="15" y="88"/>
                      <a:pt x="23" y="82"/>
                    </a:cubicBezTo>
                    <a:cubicBezTo>
                      <a:pt x="25" y="77"/>
                      <a:pt x="30" y="68"/>
                      <a:pt x="34" y="64"/>
                    </a:cubicBezTo>
                    <a:cubicBezTo>
                      <a:pt x="35" y="60"/>
                      <a:pt x="35" y="57"/>
                      <a:pt x="40" y="55"/>
                    </a:cubicBezTo>
                    <a:cubicBezTo>
                      <a:pt x="45" y="50"/>
                      <a:pt x="51" y="49"/>
                      <a:pt x="58" y="48"/>
                    </a:cubicBezTo>
                    <a:cubicBezTo>
                      <a:pt x="61" y="46"/>
                      <a:pt x="66" y="41"/>
                      <a:pt x="69" y="40"/>
                    </a:cubicBezTo>
                    <a:cubicBezTo>
                      <a:pt x="72" y="34"/>
                      <a:pt x="77" y="26"/>
                      <a:pt x="81" y="22"/>
                    </a:cubicBezTo>
                    <a:cubicBezTo>
                      <a:pt x="82" y="18"/>
                      <a:pt x="83" y="14"/>
                      <a:pt x="84" y="10"/>
                    </a:cubicBezTo>
                    <a:cubicBezTo>
                      <a:pt x="83" y="1"/>
                      <a:pt x="85" y="4"/>
                      <a:pt x="81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121" name="Freeform 119"/>
              <p:cNvSpPr>
                <a:spLocks noChangeAspect="1"/>
              </p:cNvSpPr>
              <p:nvPr/>
            </p:nvSpPr>
            <p:spPr bwMode="auto">
              <a:xfrm>
                <a:off x="76" y="3503"/>
                <a:ext cx="176" cy="200"/>
              </a:xfrm>
              <a:custGeom>
                <a:avLst/>
                <a:gdLst>
                  <a:gd name="T0" fmla="*/ 2147483647 w 44"/>
                  <a:gd name="T1" fmla="*/ 0 h 50"/>
                  <a:gd name="T2" fmla="*/ 2147483647 w 44"/>
                  <a:gd name="T3" fmla="*/ 2147483647 h 50"/>
                  <a:gd name="T4" fmla="*/ 2147483647 w 44"/>
                  <a:gd name="T5" fmla="*/ 2147483647 h 50"/>
                  <a:gd name="T6" fmla="*/ 2147483647 w 44"/>
                  <a:gd name="T7" fmla="*/ 2147483647 h 50"/>
                  <a:gd name="T8" fmla="*/ 2147483647 w 44"/>
                  <a:gd name="T9" fmla="*/ 2147483647 h 50"/>
                  <a:gd name="T10" fmla="*/ 2147483647 w 44"/>
                  <a:gd name="T11" fmla="*/ 2147483647 h 50"/>
                  <a:gd name="T12" fmla="*/ 2147483647 w 44"/>
                  <a:gd name="T13" fmla="*/ 2147483647 h 50"/>
                  <a:gd name="T14" fmla="*/ 2147483647 w 44"/>
                  <a:gd name="T15" fmla="*/ 2147483647 h 50"/>
                  <a:gd name="T16" fmla="*/ 2147483647 w 44"/>
                  <a:gd name="T17" fmla="*/ 2147483647 h 50"/>
                  <a:gd name="T18" fmla="*/ 2147483647 w 44"/>
                  <a:gd name="T19" fmla="*/ 0 h 50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44"/>
                  <a:gd name="T31" fmla="*/ 0 h 50"/>
                  <a:gd name="T32" fmla="*/ 44 w 44"/>
                  <a:gd name="T33" fmla="*/ 50 h 50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44" h="50">
                    <a:moveTo>
                      <a:pt x="23" y="0"/>
                    </a:moveTo>
                    <a:cubicBezTo>
                      <a:pt x="38" y="10"/>
                      <a:pt x="20" y="24"/>
                      <a:pt x="41" y="31"/>
                    </a:cubicBezTo>
                    <a:cubicBezTo>
                      <a:pt x="44" y="39"/>
                      <a:pt x="38" y="45"/>
                      <a:pt x="31" y="46"/>
                    </a:cubicBezTo>
                    <a:cubicBezTo>
                      <a:pt x="30" y="46"/>
                      <a:pt x="26" y="50"/>
                      <a:pt x="25" y="49"/>
                    </a:cubicBezTo>
                    <a:cubicBezTo>
                      <a:pt x="18" y="46"/>
                      <a:pt x="19" y="35"/>
                      <a:pt x="16" y="30"/>
                    </a:cubicBezTo>
                    <a:cubicBezTo>
                      <a:pt x="11" y="22"/>
                      <a:pt x="11" y="22"/>
                      <a:pt x="4" y="18"/>
                    </a:cubicBezTo>
                    <a:cubicBezTo>
                      <a:pt x="0" y="10"/>
                      <a:pt x="4" y="9"/>
                      <a:pt x="12" y="7"/>
                    </a:cubicBezTo>
                    <a:cubicBezTo>
                      <a:pt x="14" y="7"/>
                      <a:pt x="16" y="7"/>
                      <a:pt x="17" y="8"/>
                    </a:cubicBezTo>
                    <a:cubicBezTo>
                      <a:pt x="18" y="9"/>
                      <a:pt x="19" y="12"/>
                      <a:pt x="19" y="12"/>
                    </a:cubicBezTo>
                    <a:lnTo>
                      <a:pt x="23" y="0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122" name="Freeform 120"/>
              <p:cNvSpPr>
                <a:spLocks noChangeAspect="1"/>
              </p:cNvSpPr>
              <p:nvPr/>
            </p:nvSpPr>
            <p:spPr bwMode="auto">
              <a:xfrm>
                <a:off x="12" y="3987"/>
                <a:ext cx="108" cy="128"/>
              </a:xfrm>
              <a:custGeom>
                <a:avLst/>
                <a:gdLst>
                  <a:gd name="T0" fmla="*/ 2147483647 w 27"/>
                  <a:gd name="T1" fmla="*/ 2147483647 h 32"/>
                  <a:gd name="T2" fmla="*/ 2147483647 w 27"/>
                  <a:gd name="T3" fmla="*/ 2147483647 h 32"/>
                  <a:gd name="T4" fmla="*/ 2147483647 w 27"/>
                  <a:gd name="T5" fmla="*/ 2147483647 h 32"/>
                  <a:gd name="T6" fmla="*/ 2147483647 w 27"/>
                  <a:gd name="T7" fmla="*/ 2147483647 h 32"/>
                  <a:gd name="T8" fmla="*/ 2147483647 w 27"/>
                  <a:gd name="T9" fmla="*/ 2147483647 h 32"/>
                  <a:gd name="T10" fmla="*/ 2147483647 w 27"/>
                  <a:gd name="T11" fmla="*/ 2147483647 h 32"/>
                  <a:gd name="T12" fmla="*/ 2147483647 w 27"/>
                  <a:gd name="T13" fmla="*/ 2147483647 h 32"/>
                  <a:gd name="T14" fmla="*/ 2147483647 w 27"/>
                  <a:gd name="T15" fmla="*/ 2147483647 h 3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7"/>
                  <a:gd name="T25" fmla="*/ 0 h 32"/>
                  <a:gd name="T26" fmla="*/ 27 w 27"/>
                  <a:gd name="T27" fmla="*/ 32 h 3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7" h="32">
                    <a:moveTo>
                      <a:pt x="8" y="7"/>
                    </a:moveTo>
                    <a:cubicBezTo>
                      <a:pt x="0" y="11"/>
                      <a:pt x="1" y="18"/>
                      <a:pt x="8" y="23"/>
                    </a:cubicBezTo>
                    <a:cubicBezTo>
                      <a:pt x="9" y="24"/>
                      <a:pt x="10" y="25"/>
                      <a:pt x="10" y="26"/>
                    </a:cubicBezTo>
                    <a:cubicBezTo>
                      <a:pt x="10" y="27"/>
                      <a:pt x="10" y="29"/>
                      <a:pt x="9" y="30"/>
                    </a:cubicBezTo>
                    <a:cubicBezTo>
                      <a:pt x="8" y="31"/>
                      <a:pt x="5" y="32"/>
                      <a:pt x="6" y="32"/>
                    </a:cubicBezTo>
                    <a:cubicBezTo>
                      <a:pt x="10" y="32"/>
                      <a:pt x="13" y="31"/>
                      <a:pt x="17" y="31"/>
                    </a:cubicBezTo>
                    <a:cubicBezTo>
                      <a:pt x="25" y="25"/>
                      <a:pt x="16" y="19"/>
                      <a:pt x="27" y="12"/>
                    </a:cubicBezTo>
                    <a:cubicBezTo>
                      <a:pt x="24" y="0"/>
                      <a:pt x="0" y="18"/>
                      <a:pt x="8" y="7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123" name="Freeform 121"/>
              <p:cNvSpPr>
                <a:spLocks noChangeAspect="1"/>
              </p:cNvSpPr>
              <p:nvPr/>
            </p:nvSpPr>
            <p:spPr bwMode="auto">
              <a:xfrm>
                <a:off x="172" y="4495"/>
                <a:ext cx="128" cy="100"/>
              </a:xfrm>
              <a:custGeom>
                <a:avLst/>
                <a:gdLst>
                  <a:gd name="T0" fmla="*/ 2147483647 w 32"/>
                  <a:gd name="T1" fmla="*/ 0 h 25"/>
                  <a:gd name="T2" fmla="*/ 2147483647 w 32"/>
                  <a:gd name="T3" fmla="*/ 2147483647 h 25"/>
                  <a:gd name="T4" fmla="*/ 2147483647 w 32"/>
                  <a:gd name="T5" fmla="*/ 2147483647 h 25"/>
                  <a:gd name="T6" fmla="*/ 0 w 32"/>
                  <a:gd name="T7" fmla="*/ 2147483647 h 25"/>
                  <a:gd name="T8" fmla="*/ 2147483647 w 32"/>
                  <a:gd name="T9" fmla="*/ 2147483647 h 25"/>
                  <a:gd name="T10" fmla="*/ 2147483647 w 32"/>
                  <a:gd name="T11" fmla="*/ 2147483647 h 25"/>
                  <a:gd name="T12" fmla="*/ 2147483647 w 32"/>
                  <a:gd name="T13" fmla="*/ 2147483647 h 25"/>
                  <a:gd name="T14" fmla="*/ 2147483647 w 32"/>
                  <a:gd name="T15" fmla="*/ 0 h 25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2"/>
                  <a:gd name="T25" fmla="*/ 0 h 25"/>
                  <a:gd name="T26" fmla="*/ 32 w 32"/>
                  <a:gd name="T27" fmla="*/ 25 h 25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2" h="25">
                    <a:moveTo>
                      <a:pt x="19" y="0"/>
                    </a:moveTo>
                    <a:cubicBezTo>
                      <a:pt x="18" y="3"/>
                      <a:pt x="15" y="8"/>
                      <a:pt x="13" y="10"/>
                    </a:cubicBezTo>
                    <a:cubicBezTo>
                      <a:pt x="11" y="12"/>
                      <a:pt x="7" y="14"/>
                      <a:pt x="7" y="14"/>
                    </a:cubicBezTo>
                    <a:cubicBezTo>
                      <a:pt x="5" y="17"/>
                      <a:pt x="2" y="20"/>
                      <a:pt x="0" y="23"/>
                    </a:cubicBezTo>
                    <a:cubicBezTo>
                      <a:pt x="7" y="25"/>
                      <a:pt x="12" y="25"/>
                      <a:pt x="19" y="24"/>
                    </a:cubicBezTo>
                    <a:cubicBezTo>
                      <a:pt x="22" y="22"/>
                      <a:pt x="24" y="19"/>
                      <a:pt x="28" y="18"/>
                    </a:cubicBezTo>
                    <a:cubicBezTo>
                      <a:pt x="30" y="10"/>
                      <a:pt x="32" y="4"/>
                      <a:pt x="23" y="1"/>
                    </a:cubicBezTo>
                    <a:cubicBezTo>
                      <a:pt x="17" y="2"/>
                      <a:pt x="14" y="9"/>
                      <a:pt x="19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124" name="Freeform 122"/>
              <p:cNvSpPr>
                <a:spLocks noChangeAspect="1"/>
              </p:cNvSpPr>
              <p:nvPr/>
            </p:nvSpPr>
            <p:spPr bwMode="auto">
              <a:xfrm>
                <a:off x="152" y="4783"/>
                <a:ext cx="112" cy="100"/>
              </a:xfrm>
              <a:custGeom>
                <a:avLst/>
                <a:gdLst>
                  <a:gd name="T0" fmla="*/ 2147483647 w 28"/>
                  <a:gd name="T1" fmla="*/ 0 h 25"/>
                  <a:gd name="T2" fmla="*/ 2147483647 w 28"/>
                  <a:gd name="T3" fmla="*/ 2147483647 h 25"/>
                  <a:gd name="T4" fmla="*/ 2147483647 w 28"/>
                  <a:gd name="T5" fmla="*/ 2147483647 h 25"/>
                  <a:gd name="T6" fmla="*/ 2147483647 w 28"/>
                  <a:gd name="T7" fmla="*/ 2147483647 h 25"/>
                  <a:gd name="T8" fmla="*/ 2147483647 w 28"/>
                  <a:gd name="T9" fmla="*/ 2147483647 h 25"/>
                  <a:gd name="T10" fmla="*/ 2147483647 w 28"/>
                  <a:gd name="T11" fmla="*/ 0 h 2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8"/>
                  <a:gd name="T19" fmla="*/ 0 h 25"/>
                  <a:gd name="T20" fmla="*/ 28 w 28"/>
                  <a:gd name="T21" fmla="*/ 25 h 2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8" h="25">
                    <a:moveTo>
                      <a:pt x="11" y="0"/>
                    </a:moveTo>
                    <a:cubicBezTo>
                      <a:pt x="19" y="2"/>
                      <a:pt x="23" y="4"/>
                      <a:pt x="28" y="10"/>
                    </a:cubicBezTo>
                    <a:cubicBezTo>
                      <a:pt x="26" y="15"/>
                      <a:pt x="21" y="15"/>
                      <a:pt x="16" y="17"/>
                    </a:cubicBezTo>
                    <a:cubicBezTo>
                      <a:pt x="8" y="25"/>
                      <a:pt x="9" y="14"/>
                      <a:pt x="3" y="12"/>
                    </a:cubicBezTo>
                    <a:cubicBezTo>
                      <a:pt x="0" y="5"/>
                      <a:pt x="2" y="5"/>
                      <a:pt x="9" y="4"/>
                    </a:cubicBezTo>
                    <a:cubicBezTo>
                      <a:pt x="13" y="2"/>
                      <a:pt x="18" y="2"/>
                      <a:pt x="11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125" name="Freeform 123"/>
              <p:cNvSpPr>
                <a:spLocks noChangeAspect="1"/>
              </p:cNvSpPr>
              <p:nvPr/>
            </p:nvSpPr>
            <p:spPr bwMode="auto">
              <a:xfrm>
                <a:off x="-236" y="3311"/>
                <a:ext cx="1479" cy="2412"/>
              </a:xfrm>
              <a:custGeom>
                <a:avLst/>
                <a:gdLst>
                  <a:gd name="T0" fmla="*/ 2147483647 w 370"/>
                  <a:gd name="T1" fmla="*/ 2147483647 h 603"/>
                  <a:gd name="T2" fmla="*/ 2147483647 w 370"/>
                  <a:gd name="T3" fmla="*/ 2147483647 h 603"/>
                  <a:gd name="T4" fmla="*/ 2147483647 w 370"/>
                  <a:gd name="T5" fmla="*/ 2147483647 h 603"/>
                  <a:gd name="T6" fmla="*/ 2147483647 w 370"/>
                  <a:gd name="T7" fmla="*/ 2147483647 h 603"/>
                  <a:gd name="T8" fmla="*/ 2147483647 w 370"/>
                  <a:gd name="T9" fmla="*/ 2147483647 h 603"/>
                  <a:gd name="T10" fmla="*/ 2147483647 w 370"/>
                  <a:gd name="T11" fmla="*/ 2147483647 h 603"/>
                  <a:gd name="T12" fmla="*/ 2147483647 w 370"/>
                  <a:gd name="T13" fmla="*/ 2147483647 h 603"/>
                  <a:gd name="T14" fmla="*/ 2147483647 w 370"/>
                  <a:gd name="T15" fmla="*/ 2147483647 h 603"/>
                  <a:gd name="T16" fmla="*/ 2147483647 w 370"/>
                  <a:gd name="T17" fmla="*/ 2147483647 h 603"/>
                  <a:gd name="T18" fmla="*/ 2147483647 w 370"/>
                  <a:gd name="T19" fmla="*/ 2147483647 h 603"/>
                  <a:gd name="T20" fmla="*/ 2147483647 w 370"/>
                  <a:gd name="T21" fmla="*/ 2147483647 h 603"/>
                  <a:gd name="T22" fmla="*/ 2147483647 w 370"/>
                  <a:gd name="T23" fmla="*/ 2147483647 h 603"/>
                  <a:gd name="T24" fmla="*/ 2147483647 w 370"/>
                  <a:gd name="T25" fmla="*/ 2147483647 h 603"/>
                  <a:gd name="T26" fmla="*/ 2147483647 w 370"/>
                  <a:gd name="T27" fmla="*/ 2147483647 h 603"/>
                  <a:gd name="T28" fmla="*/ 2147483647 w 370"/>
                  <a:gd name="T29" fmla="*/ 2147483647 h 603"/>
                  <a:gd name="T30" fmla="*/ 2147483647 w 370"/>
                  <a:gd name="T31" fmla="*/ 2147483647 h 603"/>
                  <a:gd name="T32" fmla="*/ 2147483647 w 370"/>
                  <a:gd name="T33" fmla="*/ 2147483647 h 603"/>
                  <a:gd name="T34" fmla="*/ 2147483647 w 370"/>
                  <a:gd name="T35" fmla="*/ 2147483647 h 603"/>
                  <a:gd name="T36" fmla="*/ 2147483647 w 370"/>
                  <a:gd name="T37" fmla="*/ 2147483647 h 603"/>
                  <a:gd name="T38" fmla="*/ 2147483647 w 370"/>
                  <a:gd name="T39" fmla="*/ 2147483647 h 603"/>
                  <a:gd name="T40" fmla="*/ 2147483647 w 370"/>
                  <a:gd name="T41" fmla="*/ 2147483647 h 603"/>
                  <a:gd name="T42" fmla="*/ 2147483647 w 370"/>
                  <a:gd name="T43" fmla="*/ 2147483647 h 603"/>
                  <a:gd name="T44" fmla="*/ 2147483647 w 370"/>
                  <a:gd name="T45" fmla="*/ 2147483647 h 603"/>
                  <a:gd name="T46" fmla="*/ 2147483647 w 370"/>
                  <a:gd name="T47" fmla="*/ 2147483647 h 603"/>
                  <a:gd name="T48" fmla="*/ 2147483647 w 370"/>
                  <a:gd name="T49" fmla="*/ 2147483647 h 603"/>
                  <a:gd name="T50" fmla="*/ 2147483647 w 370"/>
                  <a:gd name="T51" fmla="*/ 2147483647 h 603"/>
                  <a:gd name="T52" fmla="*/ 2147483647 w 370"/>
                  <a:gd name="T53" fmla="*/ 2147483647 h 603"/>
                  <a:gd name="T54" fmla="*/ 2147483647 w 370"/>
                  <a:gd name="T55" fmla="*/ 2147483647 h 603"/>
                  <a:gd name="T56" fmla="*/ 2147483647 w 370"/>
                  <a:gd name="T57" fmla="*/ 2147483647 h 603"/>
                  <a:gd name="T58" fmla="*/ 2147483647 w 370"/>
                  <a:gd name="T59" fmla="*/ 2147483647 h 603"/>
                  <a:gd name="T60" fmla="*/ 2147483647 w 370"/>
                  <a:gd name="T61" fmla="*/ 2147483647 h 603"/>
                  <a:gd name="T62" fmla="*/ 2147483647 w 370"/>
                  <a:gd name="T63" fmla="*/ 2147483647 h 603"/>
                  <a:gd name="T64" fmla="*/ 2147483647 w 370"/>
                  <a:gd name="T65" fmla="*/ 2147483647 h 603"/>
                  <a:gd name="T66" fmla="*/ 2147483647 w 370"/>
                  <a:gd name="T67" fmla="*/ 2147483647 h 603"/>
                  <a:gd name="T68" fmla="*/ 2147483647 w 370"/>
                  <a:gd name="T69" fmla="*/ 2147483647 h 603"/>
                  <a:gd name="T70" fmla="*/ 2147483647 w 370"/>
                  <a:gd name="T71" fmla="*/ 2147483647 h 603"/>
                  <a:gd name="T72" fmla="*/ 2147483647 w 370"/>
                  <a:gd name="T73" fmla="*/ 2147483647 h 603"/>
                  <a:gd name="T74" fmla="*/ 2147483647 w 370"/>
                  <a:gd name="T75" fmla="*/ 2147483647 h 603"/>
                  <a:gd name="T76" fmla="*/ 2147483647 w 370"/>
                  <a:gd name="T77" fmla="*/ 2147483647 h 603"/>
                  <a:gd name="T78" fmla="*/ 2147483647 w 370"/>
                  <a:gd name="T79" fmla="*/ 2147483647 h 603"/>
                  <a:gd name="T80" fmla="*/ 2147483647 w 370"/>
                  <a:gd name="T81" fmla="*/ 2147483647 h 603"/>
                  <a:gd name="T82" fmla="*/ 2147483647 w 370"/>
                  <a:gd name="T83" fmla="*/ 2147483647 h 603"/>
                  <a:gd name="T84" fmla="*/ 2147483647 w 370"/>
                  <a:gd name="T85" fmla="*/ 2147483647 h 603"/>
                  <a:gd name="T86" fmla="*/ 2147483647 w 370"/>
                  <a:gd name="T87" fmla="*/ 2147483647 h 603"/>
                  <a:gd name="T88" fmla="*/ 2147483647 w 370"/>
                  <a:gd name="T89" fmla="*/ 2147483647 h 603"/>
                  <a:gd name="T90" fmla="*/ 2147483647 w 370"/>
                  <a:gd name="T91" fmla="*/ 2147483647 h 603"/>
                  <a:gd name="T92" fmla="*/ 2147483647 w 370"/>
                  <a:gd name="T93" fmla="*/ 2147483647 h 603"/>
                  <a:gd name="T94" fmla="*/ 2147483647 w 370"/>
                  <a:gd name="T95" fmla="*/ 2147483647 h 603"/>
                  <a:gd name="T96" fmla="*/ 2147483647 w 370"/>
                  <a:gd name="T97" fmla="*/ 2147483647 h 603"/>
                  <a:gd name="T98" fmla="*/ 2147483647 w 370"/>
                  <a:gd name="T99" fmla="*/ 2147483647 h 603"/>
                  <a:gd name="T100" fmla="*/ 2147483647 w 370"/>
                  <a:gd name="T101" fmla="*/ 2147483647 h 603"/>
                  <a:gd name="T102" fmla="*/ 2147483647 w 370"/>
                  <a:gd name="T103" fmla="*/ 2147483647 h 603"/>
                  <a:gd name="T104" fmla="*/ 2147483647 w 370"/>
                  <a:gd name="T105" fmla="*/ 2147483647 h 603"/>
                  <a:gd name="T106" fmla="*/ 2147483647 w 370"/>
                  <a:gd name="T107" fmla="*/ 2147483647 h 603"/>
                  <a:gd name="T108" fmla="*/ 2147483647 w 370"/>
                  <a:gd name="T109" fmla="*/ 2147483647 h 603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370"/>
                  <a:gd name="T166" fmla="*/ 0 h 603"/>
                  <a:gd name="T167" fmla="*/ 370 w 370"/>
                  <a:gd name="T168" fmla="*/ 603 h 603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370" h="603">
                    <a:moveTo>
                      <a:pt x="174" y="3"/>
                    </a:moveTo>
                    <a:cubicBezTo>
                      <a:pt x="184" y="2"/>
                      <a:pt x="190" y="6"/>
                      <a:pt x="199" y="7"/>
                    </a:cubicBezTo>
                    <a:cubicBezTo>
                      <a:pt x="217" y="6"/>
                      <a:pt x="224" y="4"/>
                      <a:pt x="240" y="6"/>
                    </a:cubicBezTo>
                    <a:cubicBezTo>
                      <a:pt x="237" y="29"/>
                      <a:pt x="221" y="37"/>
                      <a:pt x="199" y="40"/>
                    </a:cubicBezTo>
                    <a:cubicBezTo>
                      <a:pt x="193" y="44"/>
                      <a:pt x="192" y="44"/>
                      <a:pt x="190" y="51"/>
                    </a:cubicBezTo>
                    <a:cubicBezTo>
                      <a:pt x="192" y="60"/>
                      <a:pt x="193" y="64"/>
                      <a:pt x="185" y="69"/>
                    </a:cubicBezTo>
                    <a:cubicBezTo>
                      <a:pt x="183" y="75"/>
                      <a:pt x="182" y="78"/>
                      <a:pt x="176" y="79"/>
                    </a:cubicBezTo>
                    <a:cubicBezTo>
                      <a:pt x="173" y="80"/>
                      <a:pt x="165" y="82"/>
                      <a:pt x="168" y="81"/>
                    </a:cubicBezTo>
                    <a:cubicBezTo>
                      <a:pt x="172" y="80"/>
                      <a:pt x="177" y="79"/>
                      <a:pt x="181" y="78"/>
                    </a:cubicBezTo>
                    <a:cubicBezTo>
                      <a:pt x="188" y="73"/>
                      <a:pt x="195" y="75"/>
                      <a:pt x="204" y="74"/>
                    </a:cubicBezTo>
                    <a:cubicBezTo>
                      <a:pt x="224" y="70"/>
                      <a:pt x="243" y="79"/>
                      <a:pt x="263" y="82"/>
                    </a:cubicBezTo>
                    <a:cubicBezTo>
                      <a:pt x="268" y="85"/>
                      <a:pt x="269" y="83"/>
                      <a:pt x="270" y="90"/>
                    </a:cubicBezTo>
                    <a:cubicBezTo>
                      <a:pt x="269" y="97"/>
                      <a:pt x="272" y="104"/>
                      <a:pt x="265" y="106"/>
                    </a:cubicBezTo>
                    <a:cubicBezTo>
                      <a:pt x="260" y="114"/>
                      <a:pt x="254" y="126"/>
                      <a:pt x="248" y="132"/>
                    </a:cubicBezTo>
                    <a:cubicBezTo>
                      <a:pt x="245" y="141"/>
                      <a:pt x="243" y="146"/>
                      <a:pt x="235" y="152"/>
                    </a:cubicBezTo>
                    <a:cubicBezTo>
                      <a:pt x="233" y="157"/>
                      <a:pt x="230" y="161"/>
                      <a:pt x="227" y="165"/>
                    </a:cubicBezTo>
                    <a:cubicBezTo>
                      <a:pt x="222" y="164"/>
                      <a:pt x="217" y="163"/>
                      <a:pt x="212" y="160"/>
                    </a:cubicBezTo>
                    <a:cubicBezTo>
                      <a:pt x="209" y="161"/>
                      <a:pt x="205" y="160"/>
                      <a:pt x="202" y="162"/>
                    </a:cubicBezTo>
                    <a:cubicBezTo>
                      <a:pt x="202" y="162"/>
                      <a:pt x="208" y="165"/>
                      <a:pt x="212" y="166"/>
                    </a:cubicBezTo>
                    <a:cubicBezTo>
                      <a:pt x="217" y="168"/>
                      <a:pt x="222" y="169"/>
                      <a:pt x="226" y="172"/>
                    </a:cubicBezTo>
                    <a:cubicBezTo>
                      <a:pt x="223" y="175"/>
                      <a:pt x="221" y="177"/>
                      <a:pt x="217" y="178"/>
                    </a:cubicBezTo>
                    <a:cubicBezTo>
                      <a:pt x="212" y="185"/>
                      <a:pt x="201" y="183"/>
                      <a:pt x="194" y="184"/>
                    </a:cubicBezTo>
                    <a:cubicBezTo>
                      <a:pt x="191" y="186"/>
                      <a:pt x="188" y="187"/>
                      <a:pt x="184" y="188"/>
                    </a:cubicBezTo>
                    <a:cubicBezTo>
                      <a:pt x="180" y="195"/>
                      <a:pt x="187" y="194"/>
                      <a:pt x="193" y="196"/>
                    </a:cubicBezTo>
                    <a:cubicBezTo>
                      <a:pt x="205" y="195"/>
                      <a:pt x="206" y="189"/>
                      <a:pt x="216" y="192"/>
                    </a:cubicBezTo>
                    <a:cubicBezTo>
                      <a:pt x="219" y="194"/>
                      <a:pt x="230" y="198"/>
                      <a:pt x="233" y="200"/>
                    </a:cubicBezTo>
                    <a:cubicBezTo>
                      <a:pt x="236" y="204"/>
                      <a:pt x="238" y="209"/>
                      <a:pt x="242" y="212"/>
                    </a:cubicBezTo>
                    <a:cubicBezTo>
                      <a:pt x="243" y="216"/>
                      <a:pt x="241" y="221"/>
                      <a:pt x="245" y="224"/>
                    </a:cubicBezTo>
                    <a:cubicBezTo>
                      <a:pt x="248" y="235"/>
                      <a:pt x="243" y="233"/>
                      <a:pt x="254" y="237"/>
                    </a:cubicBezTo>
                    <a:cubicBezTo>
                      <a:pt x="253" y="242"/>
                      <a:pt x="262" y="263"/>
                      <a:pt x="260" y="268"/>
                    </a:cubicBezTo>
                    <a:cubicBezTo>
                      <a:pt x="259" y="270"/>
                      <a:pt x="258" y="274"/>
                      <a:pt x="258" y="274"/>
                    </a:cubicBezTo>
                    <a:cubicBezTo>
                      <a:pt x="259" y="296"/>
                      <a:pt x="255" y="289"/>
                      <a:pt x="266" y="296"/>
                    </a:cubicBezTo>
                    <a:cubicBezTo>
                      <a:pt x="269" y="302"/>
                      <a:pt x="268" y="299"/>
                      <a:pt x="270" y="306"/>
                    </a:cubicBezTo>
                    <a:cubicBezTo>
                      <a:pt x="271" y="308"/>
                      <a:pt x="272" y="312"/>
                      <a:pt x="272" y="312"/>
                    </a:cubicBezTo>
                    <a:cubicBezTo>
                      <a:pt x="275" y="310"/>
                      <a:pt x="289" y="311"/>
                      <a:pt x="270" y="315"/>
                    </a:cubicBezTo>
                    <a:cubicBezTo>
                      <a:pt x="272" y="316"/>
                      <a:pt x="283" y="316"/>
                      <a:pt x="287" y="319"/>
                    </a:cubicBezTo>
                    <a:cubicBezTo>
                      <a:pt x="290" y="311"/>
                      <a:pt x="278" y="330"/>
                      <a:pt x="296" y="333"/>
                    </a:cubicBezTo>
                    <a:cubicBezTo>
                      <a:pt x="300" y="339"/>
                      <a:pt x="303" y="345"/>
                      <a:pt x="305" y="352"/>
                    </a:cubicBezTo>
                    <a:cubicBezTo>
                      <a:pt x="304" y="364"/>
                      <a:pt x="301" y="372"/>
                      <a:pt x="305" y="385"/>
                    </a:cubicBezTo>
                    <a:cubicBezTo>
                      <a:pt x="298" y="387"/>
                      <a:pt x="299" y="379"/>
                      <a:pt x="294" y="376"/>
                    </a:cubicBezTo>
                    <a:cubicBezTo>
                      <a:pt x="289" y="373"/>
                      <a:pt x="281" y="374"/>
                      <a:pt x="275" y="372"/>
                    </a:cubicBezTo>
                    <a:cubicBezTo>
                      <a:pt x="275" y="372"/>
                      <a:pt x="267" y="373"/>
                      <a:pt x="269" y="376"/>
                    </a:cubicBezTo>
                    <a:cubicBezTo>
                      <a:pt x="271" y="380"/>
                      <a:pt x="284" y="386"/>
                      <a:pt x="288" y="387"/>
                    </a:cubicBezTo>
                    <a:cubicBezTo>
                      <a:pt x="291" y="389"/>
                      <a:pt x="299" y="392"/>
                      <a:pt x="299" y="392"/>
                    </a:cubicBezTo>
                    <a:cubicBezTo>
                      <a:pt x="302" y="396"/>
                      <a:pt x="306" y="398"/>
                      <a:pt x="310" y="402"/>
                    </a:cubicBezTo>
                    <a:cubicBezTo>
                      <a:pt x="312" y="409"/>
                      <a:pt x="315" y="419"/>
                      <a:pt x="308" y="424"/>
                    </a:cubicBezTo>
                    <a:cubicBezTo>
                      <a:pt x="305" y="428"/>
                      <a:pt x="302" y="429"/>
                      <a:pt x="301" y="434"/>
                    </a:cubicBezTo>
                    <a:cubicBezTo>
                      <a:pt x="301" y="438"/>
                      <a:pt x="301" y="442"/>
                      <a:pt x="302" y="445"/>
                    </a:cubicBezTo>
                    <a:cubicBezTo>
                      <a:pt x="303" y="448"/>
                      <a:pt x="311" y="444"/>
                      <a:pt x="311" y="444"/>
                    </a:cubicBezTo>
                    <a:cubicBezTo>
                      <a:pt x="314" y="440"/>
                      <a:pt x="315" y="440"/>
                      <a:pt x="320" y="439"/>
                    </a:cubicBezTo>
                    <a:cubicBezTo>
                      <a:pt x="338" y="440"/>
                      <a:pt x="332" y="431"/>
                      <a:pt x="342" y="436"/>
                    </a:cubicBezTo>
                    <a:cubicBezTo>
                      <a:pt x="345" y="438"/>
                      <a:pt x="354" y="440"/>
                      <a:pt x="354" y="440"/>
                    </a:cubicBezTo>
                    <a:cubicBezTo>
                      <a:pt x="357" y="443"/>
                      <a:pt x="360" y="450"/>
                      <a:pt x="364" y="451"/>
                    </a:cubicBezTo>
                    <a:cubicBezTo>
                      <a:pt x="366" y="453"/>
                      <a:pt x="364" y="457"/>
                      <a:pt x="365" y="459"/>
                    </a:cubicBezTo>
                    <a:cubicBezTo>
                      <a:pt x="366" y="461"/>
                      <a:pt x="367" y="465"/>
                      <a:pt x="367" y="465"/>
                    </a:cubicBezTo>
                    <a:cubicBezTo>
                      <a:pt x="368" y="475"/>
                      <a:pt x="370" y="488"/>
                      <a:pt x="361" y="494"/>
                    </a:cubicBezTo>
                    <a:cubicBezTo>
                      <a:pt x="358" y="501"/>
                      <a:pt x="354" y="505"/>
                      <a:pt x="351" y="510"/>
                    </a:cubicBezTo>
                    <a:cubicBezTo>
                      <a:pt x="347" y="512"/>
                      <a:pt x="338" y="506"/>
                      <a:pt x="336" y="508"/>
                    </a:cubicBezTo>
                    <a:cubicBezTo>
                      <a:pt x="334" y="510"/>
                      <a:pt x="343" y="520"/>
                      <a:pt x="341" y="522"/>
                    </a:cubicBezTo>
                    <a:cubicBezTo>
                      <a:pt x="340" y="525"/>
                      <a:pt x="327" y="521"/>
                      <a:pt x="324" y="522"/>
                    </a:cubicBezTo>
                    <a:cubicBezTo>
                      <a:pt x="321" y="523"/>
                      <a:pt x="327" y="527"/>
                      <a:pt x="325" y="530"/>
                    </a:cubicBezTo>
                    <a:cubicBezTo>
                      <a:pt x="323" y="533"/>
                      <a:pt x="315" y="536"/>
                      <a:pt x="311" y="538"/>
                    </a:cubicBezTo>
                    <a:cubicBezTo>
                      <a:pt x="310" y="541"/>
                      <a:pt x="304" y="544"/>
                      <a:pt x="304" y="544"/>
                    </a:cubicBezTo>
                    <a:cubicBezTo>
                      <a:pt x="307" y="552"/>
                      <a:pt x="307" y="552"/>
                      <a:pt x="316" y="553"/>
                    </a:cubicBezTo>
                    <a:cubicBezTo>
                      <a:pt x="320" y="552"/>
                      <a:pt x="324" y="549"/>
                      <a:pt x="328" y="549"/>
                    </a:cubicBezTo>
                    <a:cubicBezTo>
                      <a:pt x="329" y="549"/>
                      <a:pt x="330" y="551"/>
                      <a:pt x="331" y="552"/>
                    </a:cubicBezTo>
                    <a:cubicBezTo>
                      <a:pt x="335" y="554"/>
                      <a:pt x="340" y="554"/>
                      <a:pt x="344" y="554"/>
                    </a:cubicBezTo>
                    <a:cubicBezTo>
                      <a:pt x="343" y="561"/>
                      <a:pt x="343" y="568"/>
                      <a:pt x="338" y="573"/>
                    </a:cubicBezTo>
                    <a:cubicBezTo>
                      <a:pt x="335" y="582"/>
                      <a:pt x="325" y="583"/>
                      <a:pt x="317" y="584"/>
                    </a:cubicBezTo>
                    <a:cubicBezTo>
                      <a:pt x="311" y="586"/>
                      <a:pt x="305" y="588"/>
                      <a:pt x="300" y="591"/>
                    </a:cubicBezTo>
                    <a:cubicBezTo>
                      <a:pt x="297" y="593"/>
                      <a:pt x="290" y="596"/>
                      <a:pt x="290" y="596"/>
                    </a:cubicBezTo>
                    <a:cubicBezTo>
                      <a:pt x="288" y="596"/>
                      <a:pt x="286" y="596"/>
                      <a:pt x="284" y="595"/>
                    </a:cubicBezTo>
                    <a:cubicBezTo>
                      <a:pt x="283" y="594"/>
                      <a:pt x="284" y="593"/>
                      <a:pt x="283" y="592"/>
                    </a:cubicBezTo>
                    <a:cubicBezTo>
                      <a:pt x="281" y="591"/>
                      <a:pt x="277" y="590"/>
                      <a:pt x="277" y="590"/>
                    </a:cubicBezTo>
                    <a:cubicBezTo>
                      <a:pt x="272" y="589"/>
                      <a:pt x="256" y="586"/>
                      <a:pt x="251" y="585"/>
                    </a:cubicBezTo>
                    <a:cubicBezTo>
                      <a:pt x="249" y="584"/>
                      <a:pt x="245" y="583"/>
                      <a:pt x="245" y="583"/>
                    </a:cubicBezTo>
                    <a:cubicBezTo>
                      <a:pt x="235" y="585"/>
                      <a:pt x="228" y="580"/>
                      <a:pt x="218" y="579"/>
                    </a:cubicBezTo>
                    <a:cubicBezTo>
                      <a:pt x="219" y="579"/>
                      <a:pt x="220" y="577"/>
                      <a:pt x="221" y="578"/>
                    </a:cubicBezTo>
                    <a:cubicBezTo>
                      <a:pt x="222" y="579"/>
                      <a:pt x="221" y="582"/>
                      <a:pt x="220" y="582"/>
                    </a:cubicBezTo>
                    <a:cubicBezTo>
                      <a:pt x="215" y="582"/>
                      <a:pt x="206" y="579"/>
                      <a:pt x="206" y="579"/>
                    </a:cubicBezTo>
                    <a:cubicBezTo>
                      <a:pt x="201" y="581"/>
                      <a:pt x="201" y="585"/>
                      <a:pt x="198" y="580"/>
                    </a:cubicBezTo>
                    <a:cubicBezTo>
                      <a:pt x="196" y="580"/>
                      <a:pt x="195" y="580"/>
                      <a:pt x="193" y="580"/>
                    </a:cubicBezTo>
                    <a:cubicBezTo>
                      <a:pt x="195" y="579"/>
                      <a:pt x="189" y="583"/>
                      <a:pt x="187" y="583"/>
                    </a:cubicBezTo>
                    <a:cubicBezTo>
                      <a:pt x="183" y="584"/>
                      <a:pt x="178" y="584"/>
                      <a:pt x="174" y="584"/>
                    </a:cubicBezTo>
                    <a:cubicBezTo>
                      <a:pt x="171" y="595"/>
                      <a:pt x="155" y="577"/>
                      <a:pt x="148" y="574"/>
                    </a:cubicBezTo>
                    <a:cubicBezTo>
                      <a:pt x="145" y="573"/>
                      <a:pt x="140" y="572"/>
                      <a:pt x="140" y="572"/>
                    </a:cubicBezTo>
                    <a:cubicBezTo>
                      <a:pt x="133" y="573"/>
                      <a:pt x="126" y="571"/>
                      <a:pt x="120" y="574"/>
                    </a:cubicBezTo>
                    <a:cubicBezTo>
                      <a:pt x="118" y="575"/>
                      <a:pt x="116" y="580"/>
                      <a:pt x="116" y="580"/>
                    </a:cubicBezTo>
                    <a:cubicBezTo>
                      <a:pt x="114" y="589"/>
                      <a:pt x="117" y="579"/>
                      <a:pt x="106" y="586"/>
                    </a:cubicBezTo>
                    <a:cubicBezTo>
                      <a:pt x="103" y="589"/>
                      <a:pt x="99" y="595"/>
                      <a:pt x="97" y="596"/>
                    </a:cubicBezTo>
                    <a:cubicBezTo>
                      <a:pt x="104" y="591"/>
                      <a:pt x="100" y="591"/>
                      <a:pt x="92" y="590"/>
                    </a:cubicBezTo>
                    <a:cubicBezTo>
                      <a:pt x="83" y="587"/>
                      <a:pt x="75" y="586"/>
                      <a:pt x="66" y="585"/>
                    </a:cubicBezTo>
                    <a:cubicBezTo>
                      <a:pt x="59" y="586"/>
                      <a:pt x="56" y="588"/>
                      <a:pt x="49" y="590"/>
                    </a:cubicBezTo>
                    <a:cubicBezTo>
                      <a:pt x="47" y="591"/>
                      <a:pt x="43" y="592"/>
                      <a:pt x="43" y="592"/>
                    </a:cubicBezTo>
                    <a:cubicBezTo>
                      <a:pt x="39" y="596"/>
                      <a:pt x="37" y="598"/>
                      <a:pt x="34" y="603"/>
                    </a:cubicBezTo>
                    <a:cubicBezTo>
                      <a:pt x="19" y="601"/>
                      <a:pt x="22" y="595"/>
                      <a:pt x="8" y="594"/>
                    </a:cubicBezTo>
                    <a:cubicBezTo>
                      <a:pt x="2" y="596"/>
                      <a:pt x="3" y="600"/>
                      <a:pt x="0" y="592"/>
                    </a:cubicBezTo>
                    <a:cubicBezTo>
                      <a:pt x="4" y="590"/>
                      <a:pt x="7" y="589"/>
                      <a:pt x="12" y="588"/>
                    </a:cubicBezTo>
                    <a:cubicBezTo>
                      <a:pt x="24" y="582"/>
                      <a:pt x="18" y="584"/>
                      <a:pt x="40" y="583"/>
                    </a:cubicBezTo>
                    <a:cubicBezTo>
                      <a:pt x="45" y="564"/>
                      <a:pt x="44" y="571"/>
                      <a:pt x="58" y="562"/>
                    </a:cubicBezTo>
                    <a:cubicBezTo>
                      <a:pt x="63" y="555"/>
                      <a:pt x="60" y="557"/>
                      <a:pt x="65" y="554"/>
                    </a:cubicBezTo>
                    <a:cubicBezTo>
                      <a:pt x="68" y="548"/>
                      <a:pt x="76" y="545"/>
                      <a:pt x="82" y="543"/>
                    </a:cubicBezTo>
                    <a:cubicBezTo>
                      <a:pt x="85" y="540"/>
                      <a:pt x="86" y="537"/>
                      <a:pt x="89" y="534"/>
                    </a:cubicBezTo>
                    <a:cubicBezTo>
                      <a:pt x="91" y="525"/>
                      <a:pt x="107" y="530"/>
                      <a:pt x="114" y="530"/>
                    </a:cubicBezTo>
                    <a:cubicBezTo>
                      <a:pt x="116" y="531"/>
                      <a:pt x="118" y="534"/>
                      <a:pt x="120" y="535"/>
                    </a:cubicBezTo>
                    <a:cubicBezTo>
                      <a:pt x="122" y="536"/>
                      <a:pt x="128" y="537"/>
                      <a:pt x="128" y="537"/>
                    </a:cubicBezTo>
                    <a:cubicBezTo>
                      <a:pt x="155" y="535"/>
                      <a:pt x="148" y="523"/>
                      <a:pt x="162" y="518"/>
                    </a:cubicBezTo>
                    <a:cubicBezTo>
                      <a:pt x="165" y="514"/>
                      <a:pt x="168" y="511"/>
                      <a:pt x="172" y="508"/>
                    </a:cubicBezTo>
                    <a:cubicBezTo>
                      <a:pt x="174" y="507"/>
                      <a:pt x="178" y="504"/>
                      <a:pt x="178" y="504"/>
                    </a:cubicBezTo>
                    <a:cubicBezTo>
                      <a:pt x="179" y="503"/>
                      <a:pt x="181" y="502"/>
                      <a:pt x="180" y="501"/>
                    </a:cubicBezTo>
                    <a:cubicBezTo>
                      <a:pt x="175" y="498"/>
                      <a:pt x="164" y="507"/>
                      <a:pt x="164" y="507"/>
                    </a:cubicBezTo>
                    <a:cubicBezTo>
                      <a:pt x="159" y="512"/>
                      <a:pt x="157" y="511"/>
                      <a:pt x="149" y="512"/>
                    </a:cubicBezTo>
                    <a:cubicBezTo>
                      <a:pt x="146" y="513"/>
                      <a:pt x="140" y="516"/>
                      <a:pt x="140" y="516"/>
                    </a:cubicBezTo>
                    <a:cubicBezTo>
                      <a:pt x="136" y="518"/>
                      <a:pt x="127" y="519"/>
                      <a:pt x="127" y="519"/>
                    </a:cubicBezTo>
                    <a:cubicBezTo>
                      <a:pt x="121" y="517"/>
                      <a:pt x="122" y="512"/>
                      <a:pt x="118" y="508"/>
                    </a:cubicBezTo>
                    <a:cubicBezTo>
                      <a:pt x="108" y="498"/>
                      <a:pt x="97" y="502"/>
                      <a:pt x="91" y="501"/>
                    </a:cubicBezTo>
                    <a:cubicBezTo>
                      <a:pt x="86" y="498"/>
                      <a:pt x="95" y="490"/>
                      <a:pt x="90" y="487"/>
                    </a:cubicBezTo>
                    <a:cubicBezTo>
                      <a:pt x="86" y="484"/>
                      <a:pt x="75" y="483"/>
                      <a:pt x="70" y="484"/>
                    </a:cubicBezTo>
                    <a:cubicBezTo>
                      <a:pt x="63" y="489"/>
                      <a:pt x="60" y="491"/>
                      <a:pt x="58" y="482"/>
                    </a:cubicBezTo>
                    <a:cubicBezTo>
                      <a:pt x="52" y="458"/>
                      <a:pt x="55" y="464"/>
                      <a:pt x="88" y="460"/>
                    </a:cubicBezTo>
                    <a:cubicBezTo>
                      <a:pt x="94" y="458"/>
                      <a:pt x="96" y="449"/>
                      <a:pt x="101" y="448"/>
                    </a:cubicBezTo>
                    <a:cubicBezTo>
                      <a:pt x="105" y="447"/>
                      <a:pt x="112" y="445"/>
                      <a:pt x="112" y="445"/>
                    </a:cubicBezTo>
                    <a:cubicBezTo>
                      <a:pt x="115" y="441"/>
                      <a:pt x="115" y="436"/>
                      <a:pt x="118" y="432"/>
                    </a:cubicBezTo>
                    <a:cubicBezTo>
                      <a:pt x="120" y="423"/>
                      <a:pt x="121" y="417"/>
                      <a:pt x="118" y="406"/>
                    </a:cubicBezTo>
                    <a:cubicBezTo>
                      <a:pt x="117" y="404"/>
                      <a:pt x="112" y="404"/>
                      <a:pt x="112" y="404"/>
                    </a:cubicBezTo>
                    <a:cubicBezTo>
                      <a:pt x="105" y="406"/>
                      <a:pt x="99" y="409"/>
                      <a:pt x="92" y="410"/>
                    </a:cubicBezTo>
                    <a:cubicBezTo>
                      <a:pt x="91" y="405"/>
                      <a:pt x="90" y="404"/>
                      <a:pt x="95" y="402"/>
                    </a:cubicBezTo>
                    <a:cubicBezTo>
                      <a:pt x="99" y="398"/>
                      <a:pt x="115" y="392"/>
                      <a:pt x="122" y="390"/>
                    </a:cubicBezTo>
                    <a:cubicBezTo>
                      <a:pt x="129" y="385"/>
                      <a:pt x="126" y="387"/>
                      <a:pt x="131" y="385"/>
                    </a:cubicBezTo>
                    <a:cubicBezTo>
                      <a:pt x="144" y="385"/>
                      <a:pt x="148" y="385"/>
                      <a:pt x="161" y="381"/>
                    </a:cubicBezTo>
                    <a:cubicBezTo>
                      <a:pt x="167" y="380"/>
                      <a:pt x="172" y="390"/>
                      <a:pt x="174" y="388"/>
                    </a:cubicBezTo>
                    <a:cubicBezTo>
                      <a:pt x="176" y="386"/>
                      <a:pt x="173" y="375"/>
                      <a:pt x="174" y="369"/>
                    </a:cubicBezTo>
                    <a:cubicBezTo>
                      <a:pt x="175" y="363"/>
                      <a:pt x="176" y="357"/>
                      <a:pt x="179" y="352"/>
                    </a:cubicBezTo>
                    <a:cubicBezTo>
                      <a:pt x="180" y="345"/>
                      <a:pt x="193" y="336"/>
                      <a:pt x="193" y="336"/>
                    </a:cubicBezTo>
                    <a:cubicBezTo>
                      <a:pt x="194" y="332"/>
                      <a:pt x="196" y="329"/>
                      <a:pt x="197" y="325"/>
                    </a:cubicBezTo>
                    <a:cubicBezTo>
                      <a:pt x="195" y="307"/>
                      <a:pt x="189" y="323"/>
                      <a:pt x="170" y="322"/>
                    </a:cubicBezTo>
                    <a:cubicBezTo>
                      <a:pt x="164" y="318"/>
                      <a:pt x="160" y="308"/>
                      <a:pt x="158" y="301"/>
                    </a:cubicBezTo>
                    <a:cubicBezTo>
                      <a:pt x="162" y="290"/>
                      <a:pt x="167" y="280"/>
                      <a:pt x="179" y="276"/>
                    </a:cubicBezTo>
                    <a:cubicBezTo>
                      <a:pt x="187" y="268"/>
                      <a:pt x="186" y="270"/>
                      <a:pt x="170" y="266"/>
                    </a:cubicBezTo>
                    <a:cubicBezTo>
                      <a:pt x="157" y="267"/>
                      <a:pt x="147" y="271"/>
                      <a:pt x="134" y="272"/>
                    </a:cubicBezTo>
                    <a:cubicBezTo>
                      <a:pt x="128" y="272"/>
                      <a:pt x="120" y="274"/>
                      <a:pt x="115" y="270"/>
                    </a:cubicBezTo>
                    <a:cubicBezTo>
                      <a:pt x="109" y="266"/>
                      <a:pt x="108" y="258"/>
                      <a:pt x="103" y="254"/>
                    </a:cubicBezTo>
                    <a:cubicBezTo>
                      <a:pt x="107" y="246"/>
                      <a:pt x="113" y="243"/>
                      <a:pt x="122" y="240"/>
                    </a:cubicBezTo>
                    <a:cubicBezTo>
                      <a:pt x="125" y="236"/>
                      <a:pt x="126" y="233"/>
                      <a:pt x="130" y="230"/>
                    </a:cubicBezTo>
                    <a:cubicBezTo>
                      <a:pt x="134" y="222"/>
                      <a:pt x="133" y="202"/>
                      <a:pt x="127" y="194"/>
                    </a:cubicBezTo>
                    <a:cubicBezTo>
                      <a:pt x="124" y="190"/>
                      <a:pt x="124" y="201"/>
                      <a:pt x="120" y="198"/>
                    </a:cubicBezTo>
                    <a:cubicBezTo>
                      <a:pt x="118" y="197"/>
                      <a:pt x="124" y="177"/>
                      <a:pt x="124" y="177"/>
                    </a:cubicBezTo>
                    <a:cubicBezTo>
                      <a:pt x="123" y="173"/>
                      <a:pt x="85" y="223"/>
                      <a:pt x="85" y="223"/>
                    </a:cubicBezTo>
                    <a:cubicBezTo>
                      <a:pt x="87" y="212"/>
                      <a:pt x="101" y="156"/>
                      <a:pt x="110" y="153"/>
                    </a:cubicBezTo>
                    <a:cubicBezTo>
                      <a:pt x="117" y="146"/>
                      <a:pt x="115" y="152"/>
                      <a:pt x="118" y="145"/>
                    </a:cubicBezTo>
                    <a:cubicBezTo>
                      <a:pt x="119" y="138"/>
                      <a:pt x="125" y="137"/>
                      <a:pt x="127" y="130"/>
                    </a:cubicBezTo>
                    <a:cubicBezTo>
                      <a:pt x="122" y="121"/>
                      <a:pt x="106" y="142"/>
                      <a:pt x="97" y="145"/>
                    </a:cubicBezTo>
                    <a:cubicBezTo>
                      <a:pt x="94" y="148"/>
                      <a:pt x="81" y="142"/>
                      <a:pt x="78" y="146"/>
                    </a:cubicBezTo>
                    <a:cubicBezTo>
                      <a:pt x="73" y="139"/>
                      <a:pt x="76" y="129"/>
                      <a:pt x="84" y="123"/>
                    </a:cubicBezTo>
                    <a:cubicBezTo>
                      <a:pt x="88" y="120"/>
                      <a:pt x="92" y="118"/>
                      <a:pt x="97" y="116"/>
                    </a:cubicBezTo>
                    <a:cubicBezTo>
                      <a:pt x="98" y="116"/>
                      <a:pt x="100" y="115"/>
                      <a:pt x="100" y="115"/>
                    </a:cubicBezTo>
                    <a:cubicBezTo>
                      <a:pt x="103" y="110"/>
                      <a:pt x="110" y="109"/>
                      <a:pt x="115" y="105"/>
                    </a:cubicBezTo>
                    <a:cubicBezTo>
                      <a:pt x="118" y="102"/>
                      <a:pt x="124" y="97"/>
                      <a:pt x="124" y="97"/>
                    </a:cubicBezTo>
                    <a:cubicBezTo>
                      <a:pt x="127" y="87"/>
                      <a:pt x="129" y="77"/>
                      <a:pt x="122" y="67"/>
                    </a:cubicBezTo>
                    <a:cubicBezTo>
                      <a:pt x="120" y="60"/>
                      <a:pt x="124" y="62"/>
                      <a:pt x="127" y="56"/>
                    </a:cubicBezTo>
                    <a:cubicBezTo>
                      <a:pt x="136" y="38"/>
                      <a:pt x="125" y="46"/>
                      <a:pt x="152" y="36"/>
                    </a:cubicBezTo>
                    <a:cubicBezTo>
                      <a:pt x="154" y="24"/>
                      <a:pt x="155" y="21"/>
                      <a:pt x="160" y="12"/>
                    </a:cubicBezTo>
                    <a:cubicBezTo>
                      <a:pt x="163" y="8"/>
                      <a:pt x="170" y="0"/>
                      <a:pt x="170" y="0"/>
                    </a:cubicBezTo>
                    <a:cubicBezTo>
                      <a:pt x="176" y="2"/>
                      <a:pt x="180" y="2"/>
                      <a:pt x="185" y="7"/>
                    </a:cubicBezTo>
                    <a:lnTo>
                      <a:pt x="174" y="3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126" name="Freeform 124"/>
              <p:cNvSpPr>
                <a:spLocks noChangeAspect="1"/>
              </p:cNvSpPr>
              <p:nvPr/>
            </p:nvSpPr>
            <p:spPr bwMode="auto">
              <a:xfrm>
                <a:off x="164" y="4091"/>
                <a:ext cx="84" cy="108"/>
              </a:xfrm>
              <a:custGeom>
                <a:avLst/>
                <a:gdLst>
                  <a:gd name="T0" fmla="*/ 2147483647 w 21"/>
                  <a:gd name="T1" fmla="*/ 2147483647 h 27"/>
                  <a:gd name="T2" fmla="*/ 2147483647 w 21"/>
                  <a:gd name="T3" fmla="*/ 2147483647 h 27"/>
                  <a:gd name="T4" fmla="*/ 2147483647 w 21"/>
                  <a:gd name="T5" fmla="*/ 0 h 27"/>
                  <a:gd name="T6" fmla="*/ 2147483647 w 21"/>
                  <a:gd name="T7" fmla="*/ 2147483647 h 27"/>
                  <a:gd name="T8" fmla="*/ 2147483647 w 21"/>
                  <a:gd name="T9" fmla="*/ 2147483647 h 2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1"/>
                  <a:gd name="T16" fmla="*/ 0 h 27"/>
                  <a:gd name="T17" fmla="*/ 21 w 21"/>
                  <a:gd name="T18" fmla="*/ 27 h 2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1" h="27">
                    <a:moveTo>
                      <a:pt x="6" y="7"/>
                    </a:moveTo>
                    <a:cubicBezTo>
                      <a:pt x="4" y="18"/>
                      <a:pt x="0" y="21"/>
                      <a:pt x="9" y="27"/>
                    </a:cubicBezTo>
                    <a:cubicBezTo>
                      <a:pt x="21" y="23"/>
                      <a:pt x="18" y="12"/>
                      <a:pt x="14" y="0"/>
                    </a:cubicBezTo>
                    <a:cubicBezTo>
                      <a:pt x="12" y="0"/>
                      <a:pt x="10" y="0"/>
                      <a:pt x="9" y="1"/>
                    </a:cubicBezTo>
                    <a:cubicBezTo>
                      <a:pt x="7" y="2"/>
                      <a:pt x="6" y="7"/>
                      <a:pt x="6" y="7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127" name="Freeform 125"/>
              <p:cNvSpPr>
                <a:spLocks noChangeAspect="1"/>
              </p:cNvSpPr>
              <p:nvPr/>
            </p:nvSpPr>
            <p:spPr bwMode="auto">
              <a:xfrm>
                <a:off x="587" y="5655"/>
                <a:ext cx="96" cy="52"/>
              </a:xfrm>
              <a:custGeom>
                <a:avLst/>
                <a:gdLst>
                  <a:gd name="T0" fmla="*/ 0 w 24"/>
                  <a:gd name="T1" fmla="*/ 0 h 13"/>
                  <a:gd name="T2" fmla="*/ 2147483647 w 24"/>
                  <a:gd name="T3" fmla="*/ 2147483647 h 13"/>
                  <a:gd name="T4" fmla="*/ 2147483647 w 24"/>
                  <a:gd name="T5" fmla="*/ 2147483647 h 13"/>
                  <a:gd name="T6" fmla="*/ 0 w 24"/>
                  <a:gd name="T7" fmla="*/ 0 h 13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4"/>
                  <a:gd name="T13" fmla="*/ 0 h 13"/>
                  <a:gd name="T14" fmla="*/ 24 w 24"/>
                  <a:gd name="T15" fmla="*/ 13 h 13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4" h="13">
                    <a:moveTo>
                      <a:pt x="0" y="0"/>
                    </a:moveTo>
                    <a:cubicBezTo>
                      <a:pt x="7" y="4"/>
                      <a:pt x="24" y="0"/>
                      <a:pt x="12" y="8"/>
                    </a:cubicBezTo>
                    <a:cubicBezTo>
                      <a:pt x="9" y="12"/>
                      <a:pt x="8" y="13"/>
                      <a:pt x="3" y="11"/>
                    </a:cubicBezTo>
                    <a:cubicBezTo>
                      <a:pt x="2" y="3"/>
                      <a:pt x="3" y="6"/>
                      <a:pt x="0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  <p:sp>
            <p:nvSpPr>
              <p:cNvPr id="128" name="Freeform 126"/>
              <p:cNvSpPr>
                <a:spLocks noChangeAspect="1"/>
              </p:cNvSpPr>
              <p:nvPr/>
            </p:nvSpPr>
            <p:spPr bwMode="auto">
              <a:xfrm>
                <a:off x="-347" y="4175"/>
                <a:ext cx="451" cy="376"/>
              </a:xfrm>
              <a:custGeom>
                <a:avLst/>
                <a:gdLst>
                  <a:gd name="T0" fmla="*/ 303 w 451"/>
                  <a:gd name="T1" fmla="*/ 376 h 376"/>
                  <a:gd name="T2" fmla="*/ 399 w 451"/>
                  <a:gd name="T3" fmla="*/ 352 h 376"/>
                  <a:gd name="T4" fmla="*/ 439 w 451"/>
                  <a:gd name="T5" fmla="*/ 340 h 376"/>
                  <a:gd name="T6" fmla="*/ 451 w 451"/>
                  <a:gd name="T7" fmla="*/ 280 h 376"/>
                  <a:gd name="T8" fmla="*/ 395 w 451"/>
                  <a:gd name="T9" fmla="*/ 216 h 376"/>
                  <a:gd name="T10" fmla="*/ 407 w 451"/>
                  <a:gd name="T11" fmla="*/ 196 h 376"/>
                  <a:gd name="T12" fmla="*/ 407 w 451"/>
                  <a:gd name="T13" fmla="*/ 96 h 376"/>
                  <a:gd name="T14" fmla="*/ 259 w 451"/>
                  <a:gd name="T15" fmla="*/ 24 h 376"/>
                  <a:gd name="T16" fmla="*/ 199 w 451"/>
                  <a:gd name="T17" fmla="*/ 48 h 376"/>
                  <a:gd name="T18" fmla="*/ 174 w 451"/>
                  <a:gd name="T19" fmla="*/ 54 h 376"/>
                  <a:gd name="T20" fmla="*/ 152 w 451"/>
                  <a:gd name="T21" fmla="*/ 90 h 376"/>
                  <a:gd name="T22" fmla="*/ 83 w 451"/>
                  <a:gd name="T23" fmla="*/ 124 h 376"/>
                  <a:gd name="T24" fmla="*/ 60 w 451"/>
                  <a:gd name="T25" fmla="*/ 165 h 376"/>
                  <a:gd name="T26" fmla="*/ 12 w 451"/>
                  <a:gd name="T27" fmla="*/ 178 h 376"/>
                  <a:gd name="T28" fmla="*/ 24 w 451"/>
                  <a:gd name="T29" fmla="*/ 219 h 376"/>
                  <a:gd name="T30" fmla="*/ 83 w 451"/>
                  <a:gd name="T31" fmla="*/ 268 h 376"/>
                  <a:gd name="T32" fmla="*/ 105 w 451"/>
                  <a:gd name="T33" fmla="*/ 298 h 376"/>
                  <a:gd name="T34" fmla="*/ 144 w 451"/>
                  <a:gd name="T35" fmla="*/ 298 h 376"/>
                  <a:gd name="T36" fmla="*/ 179 w 451"/>
                  <a:gd name="T37" fmla="*/ 248 h 376"/>
                  <a:gd name="T38" fmla="*/ 228 w 451"/>
                  <a:gd name="T39" fmla="*/ 322 h 376"/>
                  <a:gd name="T40" fmla="*/ 258 w 451"/>
                  <a:gd name="T41" fmla="*/ 351 h 376"/>
                  <a:gd name="T42" fmla="*/ 303 w 451"/>
                  <a:gd name="T43" fmla="*/ 376 h 37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451"/>
                  <a:gd name="T67" fmla="*/ 0 h 376"/>
                  <a:gd name="T68" fmla="*/ 451 w 451"/>
                  <a:gd name="T69" fmla="*/ 376 h 37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451" h="376">
                    <a:moveTo>
                      <a:pt x="303" y="376"/>
                    </a:moveTo>
                    <a:cubicBezTo>
                      <a:pt x="335" y="368"/>
                      <a:pt x="367" y="360"/>
                      <a:pt x="399" y="352"/>
                    </a:cubicBezTo>
                    <a:cubicBezTo>
                      <a:pt x="411" y="348"/>
                      <a:pt x="439" y="340"/>
                      <a:pt x="439" y="340"/>
                    </a:cubicBezTo>
                    <a:cubicBezTo>
                      <a:pt x="443" y="320"/>
                      <a:pt x="447" y="304"/>
                      <a:pt x="451" y="280"/>
                    </a:cubicBezTo>
                    <a:cubicBezTo>
                      <a:pt x="447" y="232"/>
                      <a:pt x="443" y="224"/>
                      <a:pt x="395" y="216"/>
                    </a:cubicBezTo>
                    <a:cubicBezTo>
                      <a:pt x="375" y="204"/>
                      <a:pt x="391" y="204"/>
                      <a:pt x="407" y="196"/>
                    </a:cubicBezTo>
                    <a:cubicBezTo>
                      <a:pt x="431" y="164"/>
                      <a:pt x="427" y="132"/>
                      <a:pt x="407" y="96"/>
                    </a:cubicBezTo>
                    <a:cubicBezTo>
                      <a:pt x="391" y="0"/>
                      <a:pt x="351" y="32"/>
                      <a:pt x="259" y="24"/>
                    </a:cubicBezTo>
                    <a:cubicBezTo>
                      <a:pt x="239" y="32"/>
                      <a:pt x="219" y="36"/>
                      <a:pt x="199" y="48"/>
                    </a:cubicBezTo>
                    <a:cubicBezTo>
                      <a:pt x="186" y="51"/>
                      <a:pt x="182" y="47"/>
                      <a:pt x="174" y="54"/>
                    </a:cubicBezTo>
                    <a:cubicBezTo>
                      <a:pt x="156" y="64"/>
                      <a:pt x="164" y="78"/>
                      <a:pt x="152" y="90"/>
                    </a:cubicBezTo>
                    <a:cubicBezTo>
                      <a:pt x="140" y="117"/>
                      <a:pt x="116" y="124"/>
                      <a:pt x="83" y="124"/>
                    </a:cubicBezTo>
                    <a:cubicBezTo>
                      <a:pt x="79" y="140"/>
                      <a:pt x="72" y="156"/>
                      <a:pt x="60" y="165"/>
                    </a:cubicBezTo>
                    <a:cubicBezTo>
                      <a:pt x="48" y="161"/>
                      <a:pt x="30" y="171"/>
                      <a:pt x="12" y="178"/>
                    </a:cubicBezTo>
                    <a:cubicBezTo>
                      <a:pt x="0" y="178"/>
                      <a:pt x="20" y="207"/>
                      <a:pt x="24" y="219"/>
                    </a:cubicBezTo>
                    <a:cubicBezTo>
                      <a:pt x="38" y="232"/>
                      <a:pt x="59" y="244"/>
                      <a:pt x="83" y="268"/>
                    </a:cubicBezTo>
                    <a:cubicBezTo>
                      <a:pt x="99" y="284"/>
                      <a:pt x="89" y="282"/>
                      <a:pt x="105" y="298"/>
                    </a:cubicBezTo>
                    <a:cubicBezTo>
                      <a:pt x="122" y="300"/>
                      <a:pt x="126" y="303"/>
                      <a:pt x="144" y="298"/>
                    </a:cubicBezTo>
                    <a:cubicBezTo>
                      <a:pt x="148" y="278"/>
                      <a:pt x="159" y="256"/>
                      <a:pt x="179" y="248"/>
                    </a:cubicBezTo>
                    <a:cubicBezTo>
                      <a:pt x="215" y="256"/>
                      <a:pt x="191" y="300"/>
                      <a:pt x="228" y="322"/>
                    </a:cubicBezTo>
                    <a:cubicBezTo>
                      <a:pt x="242" y="338"/>
                      <a:pt x="246" y="342"/>
                      <a:pt x="258" y="351"/>
                    </a:cubicBezTo>
                    <a:cubicBezTo>
                      <a:pt x="270" y="360"/>
                      <a:pt x="291" y="351"/>
                      <a:pt x="303" y="376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 pitchFamily="2" charset="0"/>
                  <a:ea typeface="+mn-ea"/>
                </a:endParaRPr>
              </a:p>
            </p:txBody>
          </p:sp>
        </p:grpSp>
        <p:sp>
          <p:nvSpPr>
            <p:cNvPr id="117" name="Freeform 127"/>
            <p:cNvSpPr>
              <a:spLocks noChangeAspect="1"/>
            </p:cNvSpPr>
            <p:nvPr/>
          </p:nvSpPr>
          <p:spPr bwMode="auto">
            <a:xfrm>
              <a:off x="1415" y="3425"/>
              <a:ext cx="230" cy="380"/>
            </a:xfrm>
            <a:custGeom>
              <a:avLst/>
              <a:gdLst>
                <a:gd name="T0" fmla="*/ 0 w 913"/>
                <a:gd name="T1" fmla="*/ 0 h 1504"/>
                <a:gd name="T2" fmla="*/ 0 w 913"/>
                <a:gd name="T3" fmla="*/ 0 h 1504"/>
                <a:gd name="T4" fmla="*/ 0 w 913"/>
                <a:gd name="T5" fmla="*/ 0 h 1504"/>
                <a:gd name="T6" fmla="*/ 0 w 913"/>
                <a:gd name="T7" fmla="*/ 0 h 1504"/>
                <a:gd name="T8" fmla="*/ 0 w 913"/>
                <a:gd name="T9" fmla="*/ 0 h 1504"/>
                <a:gd name="T10" fmla="*/ 0 w 913"/>
                <a:gd name="T11" fmla="*/ 0 h 1504"/>
                <a:gd name="T12" fmla="*/ 0 w 913"/>
                <a:gd name="T13" fmla="*/ 0 h 1504"/>
                <a:gd name="T14" fmla="*/ 0 w 913"/>
                <a:gd name="T15" fmla="*/ 0 h 1504"/>
                <a:gd name="T16" fmla="*/ 0 w 913"/>
                <a:gd name="T17" fmla="*/ 0 h 1504"/>
                <a:gd name="T18" fmla="*/ 0 w 913"/>
                <a:gd name="T19" fmla="*/ 0 h 1504"/>
                <a:gd name="T20" fmla="*/ 0 w 913"/>
                <a:gd name="T21" fmla="*/ 0 h 1504"/>
                <a:gd name="T22" fmla="*/ 0 w 913"/>
                <a:gd name="T23" fmla="*/ 0 h 1504"/>
                <a:gd name="T24" fmla="*/ 0 w 913"/>
                <a:gd name="T25" fmla="*/ 0 h 1504"/>
                <a:gd name="T26" fmla="*/ 0 w 913"/>
                <a:gd name="T27" fmla="*/ 0 h 1504"/>
                <a:gd name="T28" fmla="*/ 0 w 913"/>
                <a:gd name="T29" fmla="*/ 0 h 1504"/>
                <a:gd name="T30" fmla="*/ 0 w 913"/>
                <a:gd name="T31" fmla="*/ 0 h 1504"/>
                <a:gd name="T32" fmla="*/ 0 w 913"/>
                <a:gd name="T33" fmla="*/ 0 h 1504"/>
                <a:gd name="T34" fmla="*/ 0 w 913"/>
                <a:gd name="T35" fmla="*/ 0 h 1504"/>
                <a:gd name="T36" fmla="*/ 0 w 913"/>
                <a:gd name="T37" fmla="*/ 0 h 1504"/>
                <a:gd name="T38" fmla="*/ 0 w 913"/>
                <a:gd name="T39" fmla="*/ 0 h 1504"/>
                <a:gd name="T40" fmla="*/ 0 w 913"/>
                <a:gd name="T41" fmla="*/ 0 h 1504"/>
                <a:gd name="T42" fmla="*/ 0 w 913"/>
                <a:gd name="T43" fmla="*/ 0 h 1504"/>
                <a:gd name="T44" fmla="*/ 0 w 913"/>
                <a:gd name="T45" fmla="*/ 0 h 1504"/>
                <a:gd name="T46" fmla="*/ 0 w 913"/>
                <a:gd name="T47" fmla="*/ 0 h 1504"/>
                <a:gd name="T48" fmla="*/ 0 w 913"/>
                <a:gd name="T49" fmla="*/ 0 h 1504"/>
                <a:gd name="T50" fmla="*/ 0 w 913"/>
                <a:gd name="T51" fmla="*/ 0 h 1504"/>
                <a:gd name="T52" fmla="*/ 0 w 913"/>
                <a:gd name="T53" fmla="*/ 0 h 1504"/>
                <a:gd name="T54" fmla="*/ 0 w 913"/>
                <a:gd name="T55" fmla="*/ 0 h 1504"/>
                <a:gd name="T56" fmla="*/ 0 w 913"/>
                <a:gd name="T57" fmla="*/ 0 h 1504"/>
                <a:gd name="T58" fmla="*/ 0 w 913"/>
                <a:gd name="T59" fmla="*/ 0 h 1504"/>
                <a:gd name="T60" fmla="*/ 0 w 913"/>
                <a:gd name="T61" fmla="*/ 0 h 1504"/>
                <a:gd name="T62" fmla="*/ 0 w 913"/>
                <a:gd name="T63" fmla="*/ 0 h 1504"/>
                <a:gd name="T64" fmla="*/ 0 w 913"/>
                <a:gd name="T65" fmla="*/ 0 h 1504"/>
                <a:gd name="T66" fmla="*/ 0 w 913"/>
                <a:gd name="T67" fmla="*/ 0 h 1504"/>
                <a:gd name="T68" fmla="*/ 0 w 913"/>
                <a:gd name="T69" fmla="*/ 0 h 1504"/>
                <a:gd name="T70" fmla="*/ 0 w 913"/>
                <a:gd name="T71" fmla="*/ 0 h 1504"/>
                <a:gd name="T72" fmla="*/ 0 w 913"/>
                <a:gd name="T73" fmla="*/ 0 h 1504"/>
                <a:gd name="T74" fmla="*/ 0 w 913"/>
                <a:gd name="T75" fmla="*/ 0 h 1504"/>
                <a:gd name="T76" fmla="*/ 0 w 913"/>
                <a:gd name="T77" fmla="*/ 0 h 1504"/>
                <a:gd name="T78" fmla="*/ 0 w 913"/>
                <a:gd name="T79" fmla="*/ 0 h 1504"/>
                <a:gd name="T80" fmla="*/ 0 w 913"/>
                <a:gd name="T81" fmla="*/ 0 h 1504"/>
                <a:gd name="T82" fmla="*/ 0 w 913"/>
                <a:gd name="T83" fmla="*/ 0 h 1504"/>
                <a:gd name="T84" fmla="*/ 0 w 913"/>
                <a:gd name="T85" fmla="*/ 0 h 1504"/>
                <a:gd name="T86" fmla="*/ 0 w 913"/>
                <a:gd name="T87" fmla="*/ 0 h 1504"/>
                <a:gd name="T88" fmla="*/ 0 w 913"/>
                <a:gd name="T89" fmla="*/ 0 h 1504"/>
                <a:gd name="T90" fmla="*/ 0 w 913"/>
                <a:gd name="T91" fmla="*/ 0 h 1504"/>
                <a:gd name="T92" fmla="*/ 0 w 913"/>
                <a:gd name="T93" fmla="*/ 0 h 1504"/>
                <a:gd name="T94" fmla="*/ 0 w 913"/>
                <a:gd name="T95" fmla="*/ 0 h 1504"/>
                <a:gd name="T96" fmla="*/ 0 w 913"/>
                <a:gd name="T97" fmla="*/ 0 h 1504"/>
                <a:gd name="T98" fmla="*/ 0 w 913"/>
                <a:gd name="T99" fmla="*/ 0 h 1504"/>
                <a:gd name="T100" fmla="*/ 0 w 913"/>
                <a:gd name="T101" fmla="*/ 0 h 1504"/>
                <a:gd name="T102" fmla="*/ 0 w 913"/>
                <a:gd name="T103" fmla="*/ 0 h 1504"/>
                <a:gd name="T104" fmla="*/ 0 w 913"/>
                <a:gd name="T105" fmla="*/ 0 h 1504"/>
                <a:gd name="T106" fmla="*/ 0 w 913"/>
                <a:gd name="T107" fmla="*/ 0 h 1504"/>
                <a:gd name="T108" fmla="*/ 0 w 913"/>
                <a:gd name="T109" fmla="*/ 0 h 150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913"/>
                <a:gd name="T166" fmla="*/ 0 h 1504"/>
                <a:gd name="T167" fmla="*/ 913 w 913"/>
                <a:gd name="T168" fmla="*/ 1504 h 1504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913" h="1504">
                  <a:moveTo>
                    <a:pt x="384" y="13"/>
                  </a:moveTo>
                  <a:cubicBezTo>
                    <a:pt x="380" y="117"/>
                    <a:pt x="368" y="312"/>
                    <a:pt x="296" y="416"/>
                  </a:cubicBezTo>
                  <a:cubicBezTo>
                    <a:pt x="280" y="468"/>
                    <a:pt x="288" y="568"/>
                    <a:pt x="224" y="588"/>
                  </a:cubicBezTo>
                  <a:cubicBezTo>
                    <a:pt x="212" y="604"/>
                    <a:pt x="196" y="616"/>
                    <a:pt x="180" y="632"/>
                  </a:cubicBezTo>
                  <a:cubicBezTo>
                    <a:pt x="172" y="652"/>
                    <a:pt x="176" y="664"/>
                    <a:pt x="156" y="672"/>
                  </a:cubicBezTo>
                  <a:cubicBezTo>
                    <a:pt x="136" y="700"/>
                    <a:pt x="136" y="684"/>
                    <a:pt x="116" y="696"/>
                  </a:cubicBezTo>
                  <a:cubicBezTo>
                    <a:pt x="112" y="712"/>
                    <a:pt x="88" y="752"/>
                    <a:pt x="72" y="756"/>
                  </a:cubicBezTo>
                  <a:cubicBezTo>
                    <a:pt x="56" y="780"/>
                    <a:pt x="36" y="808"/>
                    <a:pt x="20" y="836"/>
                  </a:cubicBezTo>
                  <a:cubicBezTo>
                    <a:pt x="12" y="848"/>
                    <a:pt x="4" y="872"/>
                    <a:pt x="4" y="872"/>
                  </a:cubicBezTo>
                  <a:cubicBezTo>
                    <a:pt x="4" y="876"/>
                    <a:pt x="4" y="880"/>
                    <a:pt x="8" y="884"/>
                  </a:cubicBezTo>
                  <a:cubicBezTo>
                    <a:pt x="12" y="888"/>
                    <a:pt x="20" y="884"/>
                    <a:pt x="24" y="888"/>
                  </a:cubicBezTo>
                  <a:cubicBezTo>
                    <a:pt x="32" y="896"/>
                    <a:pt x="36" y="924"/>
                    <a:pt x="36" y="924"/>
                  </a:cubicBezTo>
                  <a:cubicBezTo>
                    <a:pt x="44" y="996"/>
                    <a:pt x="40" y="1040"/>
                    <a:pt x="128" y="980"/>
                  </a:cubicBezTo>
                  <a:cubicBezTo>
                    <a:pt x="152" y="988"/>
                    <a:pt x="148" y="1024"/>
                    <a:pt x="128" y="1036"/>
                  </a:cubicBezTo>
                  <a:cubicBezTo>
                    <a:pt x="124" y="1040"/>
                    <a:pt x="124" y="1048"/>
                    <a:pt x="120" y="1052"/>
                  </a:cubicBezTo>
                  <a:cubicBezTo>
                    <a:pt x="116" y="1056"/>
                    <a:pt x="112" y="1056"/>
                    <a:pt x="108" y="1060"/>
                  </a:cubicBezTo>
                  <a:cubicBezTo>
                    <a:pt x="88" y="1092"/>
                    <a:pt x="84" y="1140"/>
                    <a:pt x="60" y="1176"/>
                  </a:cubicBezTo>
                  <a:cubicBezTo>
                    <a:pt x="48" y="1228"/>
                    <a:pt x="56" y="1344"/>
                    <a:pt x="8" y="1376"/>
                  </a:cubicBezTo>
                  <a:cubicBezTo>
                    <a:pt x="0" y="1396"/>
                    <a:pt x="20" y="1396"/>
                    <a:pt x="32" y="1412"/>
                  </a:cubicBezTo>
                  <a:cubicBezTo>
                    <a:pt x="76" y="1388"/>
                    <a:pt x="72" y="1408"/>
                    <a:pt x="116" y="1416"/>
                  </a:cubicBezTo>
                  <a:cubicBezTo>
                    <a:pt x="144" y="1436"/>
                    <a:pt x="180" y="1464"/>
                    <a:pt x="216" y="1476"/>
                  </a:cubicBezTo>
                  <a:cubicBezTo>
                    <a:pt x="244" y="1504"/>
                    <a:pt x="326" y="1496"/>
                    <a:pt x="358" y="1476"/>
                  </a:cubicBezTo>
                  <a:cubicBezTo>
                    <a:pt x="362" y="1452"/>
                    <a:pt x="343" y="1414"/>
                    <a:pt x="345" y="1387"/>
                  </a:cubicBezTo>
                  <a:cubicBezTo>
                    <a:pt x="355" y="1357"/>
                    <a:pt x="378" y="1304"/>
                    <a:pt x="394" y="1282"/>
                  </a:cubicBezTo>
                  <a:cubicBezTo>
                    <a:pt x="410" y="1260"/>
                    <a:pt x="432" y="1282"/>
                    <a:pt x="439" y="1255"/>
                  </a:cubicBezTo>
                  <a:cubicBezTo>
                    <a:pt x="465" y="1254"/>
                    <a:pt x="496" y="1240"/>
                    <a:pt x="507" y="1230"/>
                  </a:cubicBezTo>
                  <a:cubicBezTo>
                    <a:pt x="536" y="1196"/>
                    <a:pt x="513" y="1209"/>
                    <a:pt x="508" y="1192"/>
                  </a:cubicBezTo>
                  <a:cubicBezTo>
                    <a:pt x="503" y="1175"/>
                    <a:pt x="476" y="1151"/>
                    <a:pt x="474" y="1129"/>
                  </a:cubicBezTo>
                  <a:cubicBezTo>
                    <a:pt x="483" y="1087"/>
                    <a:pt x="480" y="1111"/>
                    <a:pt x="496" y="1062"/>
                  </a:cubicBezTo>
                  <a:cubicBezTo>
                    <a:pt x="516" y="1017"/>
                    <a:pt x="531" y="988"/>
                    <a:pt x="560" y="980"/>
                  </a:cubicBezTo>
                  <a:cubicBezTo>
                    <a:pt x="564" y="960"/>
                    <a:pt x="598" y="948"/>
                    <a:pt x="559" y="933"/>
                  </a:cubicBezTo>
                  <a:cubicBezTo>
                    <a:pt x="559" y="898"/>
                    <a:pt x="544" y="862"/>
                    <a:pt x="532" y="824"/>
                  </a:cubicBezTo>
                  <a:cubicBezTo>
                    <a:pt x="525" y="805"/>
                    <a:pt x="526" y="780"/>
                    <a:pt x="516" y="768"/>
                  </a:cubicBezTo>
                  <a:cubicBezTo>
                    <a:pt x="504" y="742"/>
                    <a:pt x="532" y="744"/>
                    <a:pt x="560" y="748"/>
                  </a:cubicBezTo>
                  <a:cubicBezTo>
                    <a:pt x="595" y="771"/>
                    <a:pt x="633" y="735"/>
                    <a:pt x="633" y="735"/>
                  </a:cubicBezTo>
                  <a:cubicBezTo>
                    <a:pt x="651" y="717"/>
                    <a:pt x="641" y="709"/>
                    <a:pt x="657" y="693"/>
                  </a:cubicBezTo>
                  <a:cubicBezTo>
                    <a:pt x="665" y="669"/>
                    <a:pt x="684" y="632"/>
                    <a:pt x="656" y="624"/>
                  </a:cubicBezTo>
                  <a:cubicBezTo>
                    <a:pt x="660" y="608"/>
                    <a:pt x="697" y="592"/>
                    <a:pt x="697" y="592"/>
                  </a:cubicBezTo>
                  <a:cubicBezTo>
                    <a:pt x="705" y="579"/>
                    <a:pt x="702" y="555"/>
                    <a:pt x="705" y="544"/>
                  </a:cubicBezTo>
                  <a:cubicBezTo>
                    <a:pt x="708" y="533"/>
                    <a:pt x="700" y="561"/>
                    <a:pt x="712" y="528"/>
                  </a:cubicBezTo>
                  <a:cubicBezTo>
                    <a:pt x="720" y="484"/>
                    <a:pt x="730" y="372"/>
                    <a:pt x="780" y="343"/>
                  </a:cubicBezTo>
                  <a:cubicBezTo>
                    <a:pt x="810" y="330"/>
                    <a:pt x="824" y="339"/>
                    <a:pt x="844" y="327"/>
                  </a:cubicBezTo>
                  <a:cubicBezTo>
                    <a:pt x="856" y="319"/>
                    <a:pt x="880" y="298"/>
                    <a:pt x="880" y="298"/>
                  </a:cubicBezTo>
                  <a:cubicBezTo>
                    <a:pt x="901" y="282"/>
                    <a:pt x="913" y="246"/>
                    <a:pt x="910" y="228"/>
                  </a:cubicBezTo>
                  <a:cubicBezTo>
                    <a:pt x="895" y="219"/>
                    <a:pt x="885" y="211"/>
                    <a:pt x="873" y="193"/>
                  </a:cubicBezTo>
                  <a:cubicBezTo>
                    <a:pt x="861" y="175"/>
                    <a:pt x="876" y="130"/>
                    <a:pt x="840" y="120"/>
                  </a:cubicBezTo>
                  <a:cubicBezTo>
                    <a:pt x="820" y="104"/>
                    <a:pt x="762" y="96"/>
                    <a:pt x="740" y="104"/>
                  </a:cubicBezTo>
                  <a:cubicBezTo>
                    <a:pt x="710" y="102"/>
                    <a:pt x="689" y="113"/>
                    <a:pt x="658" y="111"/>
                  </a:cubicBezTo>
                  <a:cubicBezTo>
                    <a:pt x="637" y="111"/>
                    <a:pt x="634" y="106"/>
                    <a:pt x="616" y="103"/>
                  </a:cubicBezTo>
                  <a:cubicBezTo>
                    <a:pt x="598" y="100"/>
                    <a:pt x="585" y="112"/>
                    <a:pt x="552" y="92"/>
                  </a:cubicBezTo>
                  <a:cubicBezTo>
                    <a:pt x="517" y="81"/>
                    <a:pt x="518" y="88"/>
                    <a:pt x="516" y="78"/>
                  </a:cubicBezTo>
                  <a:cubicBezTo>
                    <a:pt x="514" y="68"/>
                    <a:pt x="547" y="46"/>
                    <a:pt x="540" y="34"/>
                  </a:cubicBezTo>
                  <a:cubicBezTo>
                    <a:pt x="528" y="0"/>
                    <a:pt x="516" y="8"/>
                    <a:pt x="476" y="4"/>
                  </a:cubicBezTo>
                  <a:cubicBezTo>
                    <a:pt x="460" y="8"/>
                    <a:pt x="444" y="6"/>
                    <a:pt x="429" y="21"/>
                  </a:cubicBezTo>
                  <a:cubicBezTo>
                    <a:pt x="413" y="22"/>
                    <a:pt x="390" y="28"/>
                    <a:pt x="384" y="13"/>
                  </a:cubicBez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ea typeface="+mn-ea"/>
              </a:endParaRPr>
            </a:p>
          </p:txBody>
        </p:sp>
      </p:grpSp>
      <p:pic>
        <p:nvPicPr>
          <p:cNvPr id="199" name="Picture 2" descr="http://www.thesis.de/uploads/pics/Fotolia_52331405_XS.jpg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37232" y="4711867"/>
            <a:ext cx="813175" cy="6645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00" name="Gruppieren 127"/>
          <p:cNvGrpSpPr>
            <a:grpSpLocks/>
          </p:cNvGrpSpPr>
          <p:nvPr/>
        </p:nvGrpSpPr>
        <p:grpSpPr bwMode="auto">
          <a:xfrm>
            <a:off x="7924800" y="2406501"/>
            <a:ext cx="819150" cy="425450"/>
            <a:chOff x="356579" y="1739953"/>
            <a:chExt cx="819150" cy="425930"/>
          </a:xfrm>
        </p:grpSpPr>
        <p:sp>
          <p:nvSpPr>
            <p:cNvPr id="201" name="Textfeld 200"/>
            <p:cNvSpPr txBox="1">
              <a:spLocks noChangeArrowheads="1"/>
            </p:cNvSpPr>
            <p:nvPr/>
          </p:nvSpPr>
          <p:spPr bwMode="auto">
            <a:xfrm>
              <a:off x="356579" y="1739953"/>
              <a:ext cx="819150" cy="200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>
              <a:spAutoFit/>
            </a:bodyPr>
            <a:lstStyle>
              <a:lvl1pPr eaLnBrk="0" hangingPunct="0">
                <a:tabLst>
                  <a:tab pos="1778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tabLst>
                  <a:tab pos="1778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tabLst>
                  <a:tab pos="1778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tabLst>
                  <a:tab pos="1778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tabLst>
                  <a:tab pos="1778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778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778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778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778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700" dirty="0" smtClean="0">
                  <a:solidFill>
                    <a:srgbClr val="777777"/>
                  </a:solidFill>
                  <a:latin typeface="+mn-lt"/>
                </a:rPr>
                <a:t>13. March</a:t>
              </a:r>
            </a:p>
          </p:txBody>
        </p:sp>
        <p:sp>
          <p:nvSpPr>
            <p:cNvPr id="202" name="Gleichschenkliges Dreieck 201"/>
            <p:cNvSpPr>
              <a:spLocks noChangeAspect="1"/>
            </p:cNvSpPr>
            <p:nvPr/>
          </p:nvSpPr>
          <p:spPr bwMode="auto">
            <a:xfrm rot="10800000">
              <a:off x="626454" y="1949739"/>
              <a:ext cx="244475" cy="216144"/>
            </a:xfrm>
            <a:prstGeom prst="triangle">
              <a:avLst/>
            </a:prstGeom>
            <a:solidFill>
              <a:schemeClr val="tx1">
                <a:lumMod val="75000"/>
                <a:lumOff val="25000"/>
              </a:schemeClr>
            </a:solidFill>
            <a:ln w="571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algn="r" defTabSz="674688">
                <a:defRPr/>
              </a:pPr>
              <a:endParaRPr lang="en-US" sz="1300" dirty="0">
                <a:latin typeface="+mn-lt"/>
              </a:endParaRPr>
            </a:p>
          </p:txBody>
        </p:sp>
      </p:grpSp>
      <p:cxnSp>
        <p:nvCxnSpPr>
          <p:cNvPr id="203" name="Gerade Verbindung mit Pfeil 202"/>
          <p:cNvCxnSpPr>
            <a:stCxn id="202" idx="0"/>
          </p:cNvCxnSpPr>
          <p:nvPr/>
        </p:nvCxnSpPr>
        <p:spPr bwMode="auto">
          <a:xfrm flipH="1">
            <a:off x="8315140" y="2831951"/>
            <a:ext cx="1772" cy="1905036"/>
          </a:xfrm>
          <a:prstGeom prst="straightConnector1">
            <a:avLst/>
          </a:prstGeom>
          <a:solidFill>
            <a:srgbClr val="DDDDDD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triangle" w="med" len="med"/>
          </a:ln>
          <a:effectLst>
            <a:outerShdw blurRad="63500" dist="35921" dir="2700000" algn="ctr" rotWithShape="0">
              <a:schemeClr val="bg2"/>
            </a:outerShdw>
          </a:effectLst>
          <a:extLst/>
        </p:spPr>
      </p:cxnSp>
      <p:pic>
        <p:nvPicPr>
          <p:cNvPr id="1029" name="Picture 5" descr="http://thenextdigit.com/wp-content/uploads/2013/10/LG-Tablet-Laptop.jpg"/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95412" y="5418778"/>
            <a:ext cx="807571" cy="467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9" name="Gruppieren 8"/>
          <p:cNvGrpSpPr/>
          <p:nvPr/>
        </p:nvGrpSpPr>
        <p:grpSpPr>
          <a:xfrm>
            <a:off x="5652440" y="5394632"/>
            <a:ext cx="931119" cy="538856"/>
            <a:chOff x="9375118" y="4721250"/>
            <a:chExt cx="872850" cy="505101"/>
          </a:xfrm>
        </p:grpSpPr>
        <p:sp>
          <p:nvSpPr>
            <p:cNvPr id="6" name="Diagonal liegende Ecken des Rechtecks schneiden 5"/>
            <p:cNvSpPr/>
            <p:nvPr/>
          </p:nvSpPr>
          <p:spPr bwMode="auto">
            <a:xfrm rot="1381732">
              <a:off x="9516794" y="5019493"/>
              <a:ext cx="390774" cy="136498"/>
            </a:xfrm>
            <a:prstGeom prst="snip2DiagRect">
              <a:avLst>
                <a:gd name="adj1" fmla="val 50000"/>
                <a:gd name="adj2" fmla="val 0"/>
              </a:avLst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3200" b="1" i="0" u="none" strike="noStrike" cap="none" normalizeH="0" baseline="0">
                <a:ln>
                  <a:noFill/>
                </a:ln>
                <a:solidFill>
                  <a:srgbClr val="336699"/>
                </a:solidFill>
                <a:effectLst/>
                <a:latin typeface="Verdana" charset="0"/>
                <a:ea typeface="ＭＳ Ｐゴシック" charset="0"/>
                <a:cs typeface="Arial" charset="0"/>
              </a:endParaRPr>
            </a:p>
          </p:txBody>
        </p:sp>
        <p:pic>
          <p:nvPicPr>
            <p:cNvPr id="249" name="Picture 5" descr="http://thenextdigit.com/wp-content/uploads/2013/10/LG-Tablet-Laptop.jpg"/>
            <p:cNvPicPr>
              <a:picLocks noChangeAspect="1" noChangeArrowheads="1"/>
            </p:cNvPicPr>
            <p:nvPr/>
          </p:nvPicPr>
          <p:blipFill>
            <a:blip r:embed="rId4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375118" y="4721250"/>
              <a:ext cx="872850" cy="5051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cxnSp>
        <p:nvCxnSpPr>
          <p:cNvPr id="250" name="Gerade Verbindung mit Pfeil 249"/>
          <p:cNvCxnSpPr>
            <a:stCxn id="45" idx="0"/>
          </p:cNvCxnSpPr>
          <p:nvPr/>
        </p:nvCxnSpPr>
        <p:spPr bwMode="auto">
          <a:xfrm>
            <a:off x="4221162" y="2821467"/>
            <a:ext cx="0" cy="1054426"/>
          </a:xfrm>
          <a:prstGeom prst="straightConnector1">
            <a:avLst/>
          </a:prstGeom>
          <a:solidFill>
            <a:srgbClr val="DDDDDD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triangle" w="med" len="med"/>
          </a:ln>
          <a:effectLst>
            <a:outerShdw blurRad="63500" dist="35921" dir="2700000" algn="ctr" rotWithShape="0">
              <a:schemeClr val="bg2"/>
            </a:outerShdw>
          </a:effectLst>
          <a:extLst/>
        </p:spPr>
      </p:cxnSp>
      <p:cxnSp>
        <p:nvCxnSpPr>
          <p:cNvPr id="252" name="Gerade Verbindung mit Pfeil 251"/>
          <p:cNvCxnSpPr>
            <a:stCxn id="25" idx="0"/>
          </p:cNvCxnSpPr>
          <p:nvPr/>
        </p:nvCxnSpPr>
        <p:spPr bwMode="auto">
          <a:xfrm>
            <a:off x="3556628" y="2828925"/>
            <a:ext cx="0" cy="295275"/>
          </a:xfrm>
          <a:prstGeom prst="straightConnector1">
            <a:avLst/>
          </a:prstGeom>
          <a:solidFill>
            <a:srgbClr val="DDDDDD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triangle" w="med" len="med"/>
          </a:ln>
          <a:effectLst>
            <a:outerShdw blurRad="63500" dist="35921" dir="2700000" algn="ctr" rotWithShape="0">
              <a:schemeClr val="bg2"/>
            </a:outerShdw>
          </a:effectLst>
          <a:extLst/>
        </p:spPr>
      </p:cxnSp>
      <p:cxnSp>
        <p:nvCxnSpPr>
          <p:cNvPr id="256" name="Gerade Verbindung mit Pfeil 255"/>
          <p:cNvCxnSpPr>
            <a:stCxn id="19" idx="0"/>
          </p:cNvCxnSpPr>
          <p:nvPr/>
        </p:nvCxnSpPr>
        <p:spPr bwMode="auto">
          <a:xfrm>
            <a:off x="912812" y="2828925"/>
            <a:ext cx="1" cy="147637"/>
          </a:xfrm>
          <a:prstGeom prst="straightConnector1">
            <a:avLst/>
          </a:prstGeom>
          <a:solidFill>
            <a:srgbClr val="DDDDDD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triangle" w="med" len="med"/>
          </a:ln>
          <a:effectLst>
            <a:outerShdw blurRad="63500" dist="35921" dir="2700000" algn="ctr" rotWithShape="0">
              <a:schemeClr val="bg2"/>
            </a:outerShdw>
          </a:effectLst>
          <a:extLst/>
        </p:spPr>
      </p:cxnSp>
      <p:cxnSp>
        <p:nvCxnSpPr>
          <p:cNvPr id="257" name="Gerade Verbindung mit Pfeil 256"/>
          <p:cNvCxnSpPr>
            <a:stCxn id="40" idx="0"/>
          </p:cNvCxnSpPr>
          <p:nvPr/>
        </p:nvCxnSpPr>
        <p:spPr bwMode="auto">
          <a:xfrm>
            <a:off x="6603559" y="2835275"/>
            <a:ext cx="0" cy="2404424"/>
          </a:xfrm>
          <a:prstGeom prst="straightConnector1">
            <a:avLst/>
          </a:prstGeom>
          <a:solidFill>
            <a:srgbClr val="DDDDDD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triangle" w="med" len="med"/>
          </a:ln>
          <a:effectLst>
            <a:outerShdw blurRad="63500" dist="35921" dir="2700000" algn="ctr" rotWithShape="0">
              <a:schemeClr val="bg2"/>
            </a:outerShdw>
          </a:effectLst>
          <a:extLst/>
        </p:spPr>
      </p:cxnSp>
      <p:pic>
        <p:nvPicPr>
          <p:cNvPr id="204" name="Picture 2" descr="http://images.raiffeisen.com/Raicom/Images/Geno/saatbau_clenze/bilder/Info-Symbol.jpg%3Fwidth%3D600%26height%3D600"/>
          <p:cNvPicPr>
            <a:picLocks noChangeAspect="1" noChangeArrowheads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rgbClr val="FF000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99491" y="3187448"/>
            <a:ext cx="386293" cy="3611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0" name="Picture 2" descr="http://images.raiffeisen.com/Raicom/Images/Geno/saatbau_clenze/bilder/Info-Symbol.jpg%3Fwidth%3D600%26height%3D600"/>
          <p:cNvPicPr>
            <a:picLocks noChangeAspect="1" noChangeArrowheads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1209" y="3187448"/>
            <a:ext cx="386293" cy="3611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222634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 bwMode="auto">
          <a:xfrm>
            <a:off x="609600" y="1297168"/>
            <a:ext cx="8153399" cy="5256032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180000" tIns="14400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lvl="1">
              <a:spcAft>
                <a:spcPts val="600"/>
              </a:spcAft>
              <a:buClr>
                <a:schemeClr val="bg1">
                  <a:lumMod val="65000"/>
                </a:schemeClr>
              </a:buClr>
            </a:pPr>
            <a:endParaRPr lang="en-US" sz="100" b="0" dirty="0" smtClean="0"/>
          </a:p>
        </p:txBody>
      </p:sp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79846" y="1111630"/>
            <a:ext cx="3911292" cy="58116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hteck 7"/>
          <p:cNvSpPr/>
          <p:nvPr/>
        </p:nvSpPr>
        <p:spPr>
          <a:xfrm>
            <a:off x="807719" y="1127892"/>
            <a:ext cx="1935481" cy="338554"/>
          </a:xfrm>
          <a:prstGeom prst="rect">
            <a:avLst/>
          </a:prstGeom>
          <a:solidFill>
            <a:schemeClr val="bg1"/>
          </a:solidFill>
        </p:spPr>
        <p:txBody>
          <a:bodyPr wrap="square" rIns="0">
            <a:spAutoFit/>
          </a:bodyPr>
          <a:lstStyle/>
          <a:p>
            <a:pPr>
              <a:spcAft>
                <a:spcPts val="300"/>
              </a:spcAft>
              <a:buClr>
                <a:schemeClr val="bg1">
                  <a:lumMod val="65000"/>
                </a:schemeClr>
              </a:buClr>
            </a:pPr>
            <a:r>
              <a:rPr lang="en-US" sz="1600" dirty="0"/>
              <a:t>Diesel Threats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 smtClean="0"/>
              <a:t>   Current Diesel Threats </a:t>
            </a:r>
            <a:endParaRPr lang="en-US" sz="24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BD4307-8E25-4063-B042-91C9BB9E4C20}" type="slidenum">
              <a:rPr lang="de-DE" smtClean="0"/>
              <a:pPr/>
              <a:t>17</a:t>
            </a:fld>
            <a:endParaRPr lang="de-DE" dirty="0"/>
          </a:p>
        </p:txBody>
      </p:sp>
      <p:grpSp>
        <p:nvGrpSpPr>
          <p:cNvPr id="5" name="Gruppieren 4"/>
          <p:cNvGrpSpPr/>
          <p:nvPr/>
        </p:nvGrpSpPr>
        <p:grpSpPr>
          <a:xfrm>
            <a:off x="7761688" y="363792"/>
            <a:ext cx="775321" cy="649343"/>
            <a:chOff x="9811328" y="3035535"/>
            <a:chExt cx="1321363" cy="1139938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3" name="Gleichschenkliges Dreieck 2"/>
            <p:cNvSpPr/>
            <p:nvPr/>
          </p:nvSpPr>
          <p:spPr bwMode="auto">
            <a:xfrm>
              <a:off x="9811328" y="3106378"/>
              <a:ext cx="1309312" cy="1035995"/>
            </a:xfrm>
            <a:prstGeom prst="triangle">
              <a:avLst>
                <a:gd name="adj" fmla="val 49711"/>
              </a:avLst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3200" b="1" i="0" u="none" strike="noStrike" cap="none" normalizeH="0" baseline="0">
                <a:ln>
                  <a:noFill/>
                </a:ln>
                <a:solidFill>
                  <a:srgbClr val="336699"/>
                </a:solidFill>
                <a:effectLst/>
                <a:latin typeface="Verdana" charset="0"/>
                <a:ea typeface="ＭＳ Ｐゴシック" charset="0"/>
                <a:cs typeface="Arial" charset="0"/>
              </a:endParaRPr>
            </a:p>
          </p:txBody>
        </p:sp>
        <p:pic>
          <p:nvPicPr>
            <p:cNvPr id="2050" name="Picture 2" descr="File:Danger of slipping (Israel road sign).png">
              <a:hlinkClick r:id="rId3"/>
            </p:cNvPr>
            <p:cNvPicPr>
              <a:picLocks noChangeAspect="1" noChangeArrowheads="1"/>
            </p:cNvPicPr>
            <p:nvPr/>
          </p:nvPicPr>
          <p:blipFill>
            <a:blip r:embed="rId4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823379" y="3035535"/>
              <a:ext cx="1309312" cy="1139938"/>
            </a:xfrm>
            <a:prstGeom prst="rect">
              <a:avLst/>
            </a:prstGeom>
            <a:noFill/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2" name="Gruppieren 20"/>
          <p:cNvGrpSpPr>
            <a:grpSpLocks/>
          </p:cNvGrpSpPr>
          <p:nvPr/>
        </p:nvGrpSpPr>
        <p:grpSpPr bwMode="auto">
          <a:xfrm>
            <a:off x="685800" y="1508636"/>
            <a:ext cx="1921543" cy="1767968"/>
            <a:chOff x="5868144" y="1898311"/>
            <a:chExt cx="3096344" cy="2948529"/>
          </a:xfrm>
        </p:grpSpPr>
        <p:pic>
          <p:nvPicPr>
            <p:cNvPr id="33" name="Picture 7" descr="http://alternatewrites.com/wp-content/uploads/2012/06/post-it-note-with-a-pin.jpg"/>
            <p:cNvPicPr>
              <a:picLocks noChangeAspect="1" noChangeArrowheads="1"/>
            </p:cNvPicPr>
            <p:nvPr/>
          </p:nvPicPr>
          <p:blipFill rotWithShape="1">
            <a:blip r:embed="rId5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478" t="3989" r="2994" b="3295"/>
            <a:stretch/>
          </p:blipFill>
          <p:spPr bwMode="auto">
            <a:xfrm>
              <a:off x="5868144" y="1898311"/>
              <a:ext cx="3096344" cy="2948529"/>
            </a:xfrm>
            <a:prstGeom prst="rect">
              <a:avLst/>
            </a:prstGeom>
            <a:noFill/>
            <a:scene3d>
              <a:camera prst="orthographicFront">
                <a:rot lat="0" lon="1080000" rev="0"/>
              </a:camera>
              <a:lightRig rig="threePt" dir="t"/>
            </a:scene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4" name="Textfeld 15"/>
            <p:cNvSpPr txBox="1">
              <a:spLocks noChangeArrowheads="1"/>
            </p:cNvSpPr>
            <p:nvPr/>
          </p:nvSpPr>
          <p:spPr bwMode="auto">
            <a:xfrm rot="21348083">
              <a:off x="6736377" y="2606796"/>
              <a:ext cx="1087212" cy="4997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rIns="90000">
              <a:spAutoFit/>
            </a:bodyPr>
            <a:lstStyle>
              <a:lvl1pPr eaLnBrk="0" hangingPunct="0">
                <a:spcAft>
                  <a:spcPts val="600"/>
                </a:spcAft>
                <a:defRPr sz="1400" b="1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eaLnBrk="0" hangingPunct="0">
                <a:spcAft>
                  <a:spcPts val="600"/>
                </a:spcAft>
                <a:buClr>
                  <a:schemeClr val="tx2"/>
                </a:buClr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eaLnBrk="0" hangingPunct="0">
                <a:spcAft>
                  <a:spcPts val="600"/>
                </a:spcAft>
                <a:buClr>
                  <a:schemeClr val="tx2"/>
                </a:buClr>
                <a:buFont typeface="Symbol" pitchFamily="18" charset="2"/>
                <a:buChar char="-"/>
                <a:defRPr sz="1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eaLnBrk="0" hangingPunct="0">
                <a:spcAft>
                  <a:spcPts val="600"/>
                </a:spcAft>
                <a:buClr>
                  <a:schemeClr val="tx2"/>
                </a:buClr>
                <a:buFont typeface="Symbol" pitchFamily="18" charset="2"/>
                <a:buChar char="-"/>
                <a:defRPr sz="14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eaLnBrk="0" hangingPunct="0">
                <a:spcAft>
                  <a:spcPts val="600"/>
                </a:spcAft>
                <a:buClr>
                  <a:schemeClr val="tx2"/>
                </a:buClr>
                <a:buFont typeface="Arial" charset="0"/>
                <a:buChar char="»"/>
                <a:defRPr sz="14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Font typeface="Arial" charset="0"/>
                <a:buChar char="»"/>
                <a:defRPr sz="14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Font typeface="Arial" charset="0"/>
                <a:buChar char="»"/>
                <a:defRPr sz="14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Font typeface="Arial" charset="0"/>
                <a:buChar char="»"/>
                <a:defRPr sz="14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Font typeface="Arial" charset="0"/>
                <a:buChar char="»"/>
                <a:defRPr sz="14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eaLnBrk="1" hangingPunct="1"/>
              <a:r>
                <a:rPr lang="en-US" altLang="de-DE" i="1" dirty="0" smtClean="0">
                  <a:latin typeface="+mn-lt"/>
                </a:rPr>
                <a:t>NGO’s</a:t>
              </a:r>
              <a:endParaRPr lang="en-US" altLang="de-DE" i="1" dirty="0">
                <a:latin typeface="+mn-lt"/>
              </a:endParaRPr>
            </a:p>
          </p:txBody>
        </p:sp>
        <p:sp>
          <p:nvSpPr>
            <p:cNvPr id="35" name="Textfeld 17"/>
            <p:cNvSpPr txBox="1">
              <a:spLocks noChangeArrowheads="1"/>
            </p:cNvSpPr>
            <p:nvPr/>
          </p:nvSpPr>
          <p:spPr bwMode="auto">
            <a:xfrm rot="21348083">
              <a:off x="6220916" y="3058738"/>
              <a:ext cx="2399101" cy="13043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rIns="90000">
              <a:spAutoFit/>
            </a:bodyPr>
            <a:lstStyle>
              <a:lvl1pPr eaLnBrk="0" hangingPunct="0">
                <a:spcAft>
                  <a:spcPts val="600"/>
                </a:spcAft>
                <a:defRPr sz="1400" b="1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eaLnBrk="0" hangingPunct="0">
                <a:spcAft>
                  <a:spcPts val="600"/>
                </a:spcAft>
                <a:buClr>
                  <a:schemeClr val="tx2"/>
                </a:buClr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eaLnBrk="0" hangingPunct="0">
                <a:spcAft>
                  <a:spcPts val="600"/>
                </a:spcAft>
                <a:buClr>
                  <a:schemeClr val="tx2"/>
                </a:buClr>
                <a:buFont typeface="Symbol" pitchFamily="18" charset="2"/>
                <a:buChar char="-"/>
                <a:defRPr sz="1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eaLnBrk="0" hangingPunct="0">
                <a:spcAft>
                  <a:spcPts val="600"/>
                </a:spcAft>
                <a:buClr>
                  <a:schemeClr val="tx2"/>
                </a:buClr>
                <a:buFont typeface="Symbol" pitchFamily="18" charset="2"/>
                <a:buChar char="-"/>
                <a:defRPr sz="14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eaLnBrk="0" hangingPunct="0">
                <a:spcAft>
                  <a:spcPts val="600"/>
                </a:spcAft>
                <a:buClr>
                  <a:schemeClr val="tx2"/>
                </a:buClr>
                <a:buFont typeface="Arial" charset="0"/>
                <a:buChar char="»"/>
                <a:defRPr sz="14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Font typeface="Arial" charset="0"/>
                <a:buChar char="»"/>
                <a:defRPr sz="14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Font typeface="Arial" charset="0"/>
                <a:buChar char="»"/>
                <a:defRPr sz="14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Font typeface="Arial" charset="0"/>
                <a:buChar char="»"/>
                <a:defRPr sz="14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Font typeface="Arial" charset="0"/>
                <a:buChar char="»"/>
                <a:defRPr sz="14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algn="ctr" eaLnBrk="1" hangingPunct="1"/>
              <a:r>
                <a:rPr lang="en-US" altLang="de-DE" sz="1000" b="0" i="1" dirty="0" smtClean="0">
                  <a:latin typeface="+mn-lt"/>
                </a:rPr>
                <a:t>ICCT Diesel </a:t>
              </a:r>
            </a:p>
            <a:p>
              <a:pPr algn="ctr" eaLnBrk="1" hangingPunct="1"/>
              <a:r>
                <a:rPr lang="en-US" altLang="de-DE" sz="1000" b="0" i="1" dirty="0" smtClean="0">
                  <a:latin typeface="+mn-lt"/>
                </a:rPr>
                <a:t>emissions EU6 ≈</a:t>
              </a:r>
            </a:p>
            <a:p>
              <a:pPr algn="ctr" eaLnBrk="1" hangingPunct="1"/>
              <a:r>
                <a:rPr lang="en-US" altLang="de-DE" sz="1000" b="0" i="1" dirty="0" smtClean="0">
                  <a:latin typeface="+mn-lt"/>
                </a:rPr>
                <a:t>600 mg/ km NOx</a:t>
              </a:r>
              <a:endParaRPr lang="en-US" altLang="de-DE" sz="1000" b="0" i="1" dirty="0">
                <a:latin typeface="+mn-lt"/>
              </a:endParaRPr>
            </a:p>
          </p:txBody>
        </p:sp>
      </p:grpSp>
      <p:grpSp>
        <p:nvGrpSpPr>
          <p:cNvPr id="36" name="Gruppieren 20"/>
          <p:cNvGrpSpPr>
            <a:grpSpLocks/>
          </p:cNvGrpSpPr>
          <p:nvPr/>
        </p:nvGrpSpPr>
        <p:grpSpPr bwMode="auto">
          <a:xfrm>
            <a:off x="2460178" y="1732609"/>
            <a:ext cx="3505201" cy="3118991"/>
            <a:chOff x="5868142" y="1898310"/>
            <a:chExt cx="3852330" cy="3891144"/>
          </a:xfrm>
        </p:grpSpPr>
        <p:pic>
          <p:nvPicPr>
            <p:cNvPr id="37" name="Picture 7" descr="http://alternatewrites.com/wp-content/uploads/2012/06/post-it-note-with-a-pin.jpg"/>
            <p:cNvPicPr>
              <a:picLocks noChangeAspect="1" noChangeArrowheads="1"/>
            </p:cNvPicPr>
            <p:nvPr/>
          </p:nvPicPr>
          <p:blipFill rotWithShape="1">
            <a:blip r:embed="rId5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478" t="3989" r="2994" b="3295"/>
            <a:stretch/>
          </p:blipFill>
          <p:spPr bwMode="auto">
            <a:xfrm>
              <a:off x="5868142" y="1898310"/>
              <a:ext cx="3852330" cy="3891144"/>
            </a:xfrm>
            <a:prstGeom prst="rect">
              <a:avLst/>
            </a:prstGeom>
            <a:noFill/>
            <a:scene3d>
              <a:camera prst="orthographicFront">
                <a:rot lat="0" lon="1080000" rev="0"/>
              </a:camera>
              <a:lightRig rig="threePt" dir="t"/>
            </a:scene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8" name="Textfeld 15"/>
            <p:cNvSpPr txBox="1">
              <a:spLocks noChangeArrowheads="1"/>
            </p:cNvSpPr>
            <p:nvPr/>
          </p:nvSpPr>
          <p:spPr bwMode="auto">
            <a:xfrm rot="21348083">
              <a:off x="7134900" y="2787655"/>
              <a:ext cx="1120237" cy="4096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rIns="90000">
              <a:spAutoFit/>
            </a:bodyPr>
            <a:lstStyle>
              <a:lvl1pPr eaLnBrk="0" hangingPunct="0">
                <a:spcAft>
                  <a:spcPts val="600"/>
                </a:spcAft>
                <a:defRPr sz="1400" b="1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eaLnBrk="0" hangingPunct="0">
                <a:spcAft>
                  <a:spcPts val="600"/>
                </a:spcAft>
                <a:buClr>
                  <a:schemeClr val="tx2"/>
                </a:buClr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eaLnBrk="0" hangingPunct="0">
                <a:spcAft>
                  <a:spcPts val="600"/>
                </a:spcAft>
                <a:buClr>
                  <a:schemeClr val="tx2"/>
                </a:buClr>
                <a:buFont typeface="Symbol" pitchFamily="18" charset="2"/>
                <a:buChar char="-"/>
                <a:defRPr sz="1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eaLnBrk="0" hangingPunct="0">
                <a:spcAft>
                  <a:spcPts val="600"/>
                </a:spcAft>
                <a:buClr>
                  <a:schemeClr val="tx2"/>
                </a:buClr>
                <a:buFont typeface="Symbol" pitchFamily="18" charset="2"/>
                <a:buChar char="-"/>
                <a:defRPr sz="14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eaLnBrk="0" hangingPunct="0">
                <a:spcAft>
                  <a:spcPts val="600"/>
                </a:spcAft>
                <a:buClr>
                  <a:schemeClr val="tx2"/>
                </a:buClr>
                <a:buFont typeface="Arial" charset="0"/>
                <a:buChar char="»"/>
                <a:defRPr sz="14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Font typeface="Arial" charset="0"/>
                <a:buChar char="»"/>
                <a:defRPr sz="14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Font typeface="Arial" charset="0"/>
                <a:buChar char="»"/>
                <a:defRPr sz="14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Font typeface="Arial" charset="0"/>
                <a:buChar char="»"/>
                <a:defRPr sz="14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Font typeface="Arial" charset="0"/>
                <a:buChar char="»"/>
                <a:defRPr sz="14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eaLnBrk="1" hangingPunct="1"/>
              <a:r>
                <a:rPr lang="en-US" altLang="de-DE" i="1" dirty="0" smtClean="0">
                  <a:latin typeface="+mn-lt"/>
                </a:rPr>
                <a:t>EU COM</a:t>
              </a:r>
              <a:endParaRPr lang="en-US" altLang="de-DE" i="1" dirty="0">
                <a:latin typeface="+mn-lt"/>
              </a:endParaRPr>
            </a:p>
          </p:txBody>
        </p:sp>
        <p:sp>
          <p:nvSpPr>
            <p:cNvPr id="39" name="Textfeld 17"/>
            <p:cNvSpPr txBox="1">
              <a:spLocks noChangeArrowheads="1"/>
            </p:cNvSpPr>
            <p:nvPr/>
          </p:nvSpPr>
          <p:spPr bwMode="auto">
            <a:xfrm rot="21348083">
              <a:off x="6434897" y="3072536"/>
              <a:ext cx="2830350" cy="24445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36000" rIns="36000">
              <a:spAutoFit/>
            </a:bodyPr>
            <a:lstStyle>
              <a:lvl1pPr eaLnBrk="0" hangingPunct="0">
                <a:spcAft>
                  <a:spcPts val="600"/>
                </a:spcAft>
                <a:defRPr sz="1400" b="1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eaLnBrk="0" hangingPunct="0">
                <a:spcAft>
                  <a:spcPts val="600"/>
                </a:spcAft>
                <a:buClr>
                  <a:schemeClr val="tx2"/>
                </a:buClr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eaLnBrk="0" hangingPunct="0">
                <a:spcAft>
                  <a:spcPts val="600"/>
                </a:spcAft>
                <a:buClr>
                  <a:schemeClr val="tx2"/>
                </a:buClr>
                <a:buFont typeface="Symbol" pitchFamily="18" charset="2"/>
                <a:buChar char="-"/>
                <a:defRPr sz="1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eaLnBrk="0" hangingPunct="0">
                <a:spcAft>
                  <a:spcPts val="600"/>
                </a:spcAft>
                <a:buClr>
                  <a:schemeClr val="tx2"/>
                </a:buClr>
                <a:buFont typeface="Symbol" pitchFamily="18" charset="2"/>
                <a:buChar char="-"/>
                <a:defRPr sz="14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eaLnBrk="0" hangingPunct="0">
                <a:spcAft>
                  <a:spcPts val="600"/>
                </a:spcAft>
                <a:buClr>
                  <a:schemeClr val="tx2"/>
                </a:buClr>
                <a:buFont typeface="Arial" charset="0"/>
                <a:buChar char="»"/>
                <a:defRPr sz="14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Font typeface="Arial" charset="0"/>
                <a:buChar char="»"/>
                <a:defRPr sz="14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Font typeface="Arial" charset="0"/>
                <a:buChar char="»"/>
                <a:defRPr sz="14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Font typeface="Arial" charset="0"/>
                <a:buChar char="»"/>
                <a:defRPr sz="14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Font typeface="Arial" charset="0"/>
                <a:buChar char="»"/>
                <a:defRPr sz="14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marL="92075" indent="-92075" eaLnBrk="1" hangingPunct="1">
                <a:lnSpc>
                  <a:spcPts val="1700"/>
                </a:lnSpc>
                <a:spcAft>
                  <a:spcPts val="0"/>
                </a:spcAft>
                <a:buClr>
                  <a:schemeClr val="bg2"/>
                </a:buClr>
                <a:buFont typeface="Wingdings" panose="05000000000000000000" pitchFamily="2" charset="2"/>
                <a:buChar char="§"/>
              </a:pPr>
              <a:r>
                <a:rPr lang="en-US" altLang="de-DE" sz="1000" b="0" i="1" dirty="0" smtClean="0">
                  <a:latin typeface="+mn-lt"/>
                </a:rPr>
                <a:t>Interservice consultation started on basis Version A (v11) without compromises</a:t>
              </a:r>
            </a:p>
            <a:p>
              <a:pPr marL="285750" indent="-109538" eaLnBrk="1" hangingPunct="1">
                <a:lnSpc>
                  <a:spcPts val="1700"/>
                </a:lnSpc>
                <a:spcAft>
                  <a:spcPts val="0"/>
                </a:spcAft>
                <a:buClr>
                  <a:schemeClr val="bg2"/>
                </a:buClr>
                <a:buFont typeface="Wingdings" pitchFamily="2" charset="2"/>
                <a:buChar char="à"/>
              </a:pPr>
              <a:r>
                <a:rPr lang="en-US" altLang="de-DE" sz="1000" b="0" i="1" dirty="0" smtClean="0">
                  <a:latin typeface="+mn-lt"/>
                </a:rPr>
                <a:t>Step 1: 2017/2018</a:t>
              </a:r>
            </a:p>
            <a:p>
              <a:pPr marL="285750" indent="-109538" eaLnBrk="1" hangingPunct="1">
                <a:lnSpc>
                  <a:spcPts val="1700"/>
                </a:lnSpc>
                <a:spcAft>
                  <a:spcPts val="0"/>
                </a:spcAft>
                <a:buClr>
                  <a:schemeClr val="bg2"/>
                </a:buClr>
                <a:buFont typeface="Wingdings" pitchFamily="2" charset="2"/>
                <a:buChar char="à"/>
              </a:pPr>
              <a:r>
                <a:rPr lang="en-US" altLang="de-DE" sz="1000" b="0" i="1" dirty="0" smtClean="0">
                  <a:latin typeface="+mn-lt"/>
                </a:rPr>
                <a:t>CF: 1 ÷ 2</a:t>
              </a:r>
            </a:p>
            <a:p>
              <a:pPr marL="285750" indent="-109538" eaLnBrk="1" hangingPunct="1">
                <a:lnSpc>
                  <a:spcPts val="1700"/>
                </a:lnSpc>
                <a:spcAft>
                  <a:spcPts val="0"/>
                </a:spcAft>
                <a:buClr>
                  <a:schemeClr val="bg2"/>
                </a:buClr>
                <a:buFont typeface="Wingdings" pitchFamily="2" charset="2"/>
                <a:buChar char="à"/>
              </a:pPr>
              <a:r>
                <a:rPr lang="en-US" altLang="de-DE" sz="1000" b="0" i="1" dirty="0" smtClean="0">
                  <a:latin typeface="+mn-lt"/>
                </a:rPr>
                <a:t>No Dynamic BC‘s</a:t>
              </a:r>
            </a:p>
            <a:p>
              <a:pPr marL="92075" indent="-92075" eaLnBrk="1" hangingPunct="1">
                <a:lnSpc>
                  <a:spcPts val="1700"/>
                </a:lnSpc>
                <a:spcAft>
                  <a:spcPts val="0"/>
                </a:spcAft>
                <a:buClr>
                  <a:schemeClr val="bg2"/>
                </a:buClr>
                <a:buFont typeface="Wingdings" panose="05000000000000000000" pitchFamily="2" charset="2"/>
                <a:buChar char="§"/>
              </a:pPr>
              <a:r>
                <a:rPr lang="en-US" altLang="de-DE" sz="1000" b="0" i="1" dirty="0" smtClean="0">
                  <a:latin typeface="+mn-lt"/>
                </a:rPr>
                <a:t>Hardliner commissionaire DG ENV and…?!</a:t>
              </a:r>
              <a:endParaRPr lang="en-US" altLang="de-DE" sz="1000" b="0" i="1" dirty="0">
                <a:latin typeface="+mn-lt"/>
              </a:endParaRPr>
            </a:p>
          </p:txBody>
        </p:sp>
      </p:grpSp>
      <p:grpSp>
        <p:nvGrpSpPr>
          <p:cNvPr id="47" name="Gruppieren 20"/>
          <p:cNvGrpSpPr>
            <a:grpSpLocks/>
          </p:cNvGrpSpPr>
          <p:nvPr/>
        </p:nvGrpSpPr>
        <p:grpSpPr bwMode="auto">
          <a:xfrm>
            <a:off x="354304" y="3116978"/>
            <a:ext cx="2065899" cy="1835677"/>
            <a:chOff x="5868144" y="1898311"/>
            <a:chExt cx="3351266" cy="2948529"/>
          </a:xfrm>
        </p:grpSpPr>
        <p:pic>
          <p:nvPicPr>
            <p:cNvPr id="48" name="Picture 7" descr="http://alternatewrites.com/wp-content/uploads/2012/06/post-it-note-with-a-pin.jpg"/>
            <p:cNvPicPr>
              <a:picLocks noChangeAspect="1" noChangeArrowheads="1"/>
            </p:cNvPicPr>
            <p:nvPr/>
          </p:nvPicPr>
          <p:blipFill rotWithShape="1">
            <a:blip r:embed="rId5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478" t="3989" r="2994" b="3295"/>
            <a:stretch/>
          </p:blipFill>
          <p:spPr bwMode="auto">
            <a:xfrm>
              <a:off x="5868144" y="1898311"/>
              <a:ext cx="3351266" cy="2948529"/>
            </a:xfrm>
            <a:prstGeom prst="rect">
              <a:avLst/>
            </a:prstGeom>
            <a:noFill/>
            <a:scene3d>
              <a:camera prst="orthographicFront">
                <a:rot lat="0" lon="1080000" rev="0"/>
              </a:camera>
              <a:lightRig rig="threePt" dir="t"/>
            </a:scene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9" name="Textfeld 15"/>
            <p:cNvSpPr txBox="1">
              <a:spLocks noChangeArrowheads="1"/>
            </p:cNvSpPr>
            <p:nvPr/>
          </p:nvSpPr>
          <p:spPr bwMode="auto">
            <a:xfrm rot="21348083">
              <a:off x="6605692" y="2590624"/>
              <a:ext cx="1872079" cy="5671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rIns="90000">
              <a:spAutoFit/>
            </a:bodyPr>
            <a:lstStyle>
              <a:lvl1pPr eaLnBrk="0" hangingPunct="0">
                <a:spcAft>
                  <a:spcPts val="600"/>
                </a:spcAft>
                <a:defRPr sz="1400" b="1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eaLnBrk="0" hangingPunct="0">
                <a:spcAft>
                  <a:spcPts val="600"/>
                </a:spcAft>
                <a:buClr>
                  <a:schemeClr val="tx2"/>
                </a:buClr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eaLnBrk="0" hangingPunct="0">
                <a:spcAft>
                  <a:spcPts val="600"/>
                </a:spcAft>
                <a:buClr>
                  <a:schemeClr val="tx2"/>
                </a:buClr>
                <a:buFont typeface="Symbol" pitchFamily="18" charset="2"/>
                <a:buChar char="-"/>
                <a:defRPr sz="1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eaLnBrk="0" hangingPunct="0">
                <a:spcAft>
                  <a:spcPts val="600"/>
                </a:spcAft>
                <a:buClr>
                  <a:schemeClr val="tx2"/>
                </a:buClr>
                <a:buFont typeface="Symbol" pitchFamily="18" charset="2"/>
                <a:buChar char="-"/>
                <a:defRPr sz="14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eaLnBrk="0" hangingPunct="0">
                <a:spcAft>
                  <a:spcPts val="600"/>
                </a:spcAft>
                <a:buClr>
                  <a:schemeClr val="tx2"/>
                </a:buClr>
                <a:buFont typeface="Arial" charset="0"/>
                <a:buChar char="»"/>
                <a:defRPr sz="14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Font typeface="Arial" charset="0"/>
                <a:buChar char="»"/>
                <a:defRPr sz="14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Font typeface="Arial" charset="0"/>
                <a:buChar char="»"/>
                <a:defRPr sz="14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Font typeface="Arial" charset="0"/>
                <a:buChar char="»"/>
                <a:defRPr sz="14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Font typeface="Arial" charset="0"/>
                <a:buChar char="»"/>
                <a:defRPr sz="14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eaLnBrk="1" hangingPunct="1"/>
              <a:r>
                <a:rPr lang="en-US" altLang="de-DE" i="1" dirty="0" smtClean="0">
                  <a:latin typeface="+mn-lt"/>
                </a:rPr>
                <a:t>DG ENV </a:t>
              </a:r>
              <a:endParaRPr lang="en-US" altLang="de-DE" i="1" dirty="0">
                <a:latin typeface="+mn-lt"/>
              </a:endParaRPr>
            </a:p>
          </p:txBody>
        </p:sp>
        <p:sp>
          <p:nvSpPr>
            <p:cNvPr id="50" name="Textfeld 17"/>
            <p:cNvSpPr txBox="1">
              <a:spLocks noChangeArrowheads="1"/>
            </p:cNvSpPr>
            <p:nvPr/>
          </p:nvSpPr>
          <p:spPr bwMode="auto">
            <a:xfrm rot="21348083">
              <a:off x="6200623" y="3092555"/>
              <a:ext cx="2813610" cy="13043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rIns="90000">
              <a:spAutoFit/>
            </a:bodyPr>
            <a:lstStyle>
              <a:lvl1pPr eaLnBrk="0" hangingPunct="0">
                <a:spcAft>
                  <a:spcPts val="600"/>
                </a:spcAft>
                <a:defRPr sz="1400" b="1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eaLnBrk="0" hangingPunct="0">
                <a:spcAft>
                  <a:spcPts val="600"/>
                </a:spcAft>
                <a:buClr>
                  <a:schemeClr val="tx2"/>
                </a:buClr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eaLnBrk="0" hangingPunct="0">
                <a:spcAft>
                  <a:spcPts val="600"/>
                </a:spcAft>
                <a:buClr>
                  <a:schemeClr val="tx2"/>
                </a:buClr>
                <a:buFont typeface="Symbol" pitchFamily="18" charset="2"/>
                <a:buChar char="-"/>
                <a:defRPr sz="1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eaLnBrk="0" hangingPunct="0">
                <a:spcAft>
                  <a:spcPts val="600"/>
                </a:spcAft>
                <a:buClr>
                  <a:schemeClr val="tx2"/>
                </a:buClr>
                <a:buFont typeface="Symbol" pitchFamily="18" charset="2"/>
                <a:buChar char="-"/>
                <a:defRPr sz="14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eaLnBrk="0" hangingPunct="0">
                <a:spcAft>
                  <a:spcPts val="600"/>
                </a:spcAft>
                <a:buClr>
                  <a:schemeClr val="tx2"/>
                </a:buClr>
                <a:buFont typeface="Arial" charset="0"/>
                <a:buChar char="»"/>
                <a:defRPr sz="14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Font typeface="Arial" charset="0"/>
                <a:buChar char="»"/>
                <a:defRPr sz="14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Font typeface="Arial" charset="0"/>
                <a:buChar char="»"/>
                <a:defRPr sz="14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Font typeface="Arial" charset="0"/>
                <a:buChar char="»"/>
                <a:defRPr sz="14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Font typeface="Arial" charset="0"/>
                <a:buChar char="»"/>
                <a:defRPr sz="14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algn="ctr" eaLnBrk="1" hangingPunct="1"/>
              <a:r>
                <a:rPr lang="en-US" altLang="de-DE" sz="1000" b="0" i="1" dirty="0" smtClean="0">
                  <a:latin typeface="+mn-lt"/>
                </a:rPr>
                <a:t>Project EULES:</a:t>
              </a:r>
            </a:p>
            <a:p>
              <a:pPr algn="ctr" eaLnBrk="1" hangingPunct="1"/>
              <a:r>
                <a:rPr lang="en-US" altLang="de-DE" sz="1000" b="0" i="1" dirty="0" smtClean="0">
                  <a:latin typeface="+mn-lt"/>
                </a:rPr>
                <a:t>CF = 0,9*EU6 (NOx)</a:t>
              </a:r>
            </a:p>
            <a:p>
              <a:pPr algn="ctr" eaLnBrk="1" hangingPunct="1"/>
              <a:r>
                <a:rPr lang="en-US" altLang="de-DE" sz="1000" b="0" i="1" dirty="0">
                  <a:latin typeface="+mn-lt"/>
                </a:rPr>
                <a:t>r</a:t>
              </a:r>
              <a:r>
                <a:rPr lang="en-US" altLang="de-DE" sz="1000" b="0" i="1" dirty="0" smtClean="0">
                  <a:latin typeface="+mn-lt"/>
                </a:rPr>
                <a:t>eal world driving </a:t>
              </a:r>
              <a:endParaRPr lang="en-US" altLang="de-DE" sz="1000" b="0" i="1" dirty="0">
                <a:latin typeface="+mn-lt"/>
              </a:endParaRPr>
            </a:p>
          </p:txBody>
        </p:sp>
      </p:grpSp>
      <p:grpSp>
        <p:nvGrpSpPr>
          <p:cNvPr id="52" name="Gruppieren 20"/>
          <p:cNvGrpSpPr>
            <a:grpSpLocks/>
          </p:cNvGrpSpPr>
          <p:nvPr/>
        </p:nvGrpSpPr>
        <p:grpSpPr bwMode="auto">
          <a:xfrm>
            <a:off x="3002988" y="4861378"/>
            <a:ext cx="2178612" cy="1691822"/>
            <a:chOff x="5868144" y="1898311"/>
            <a:chExt cx="4023940" cy="3117352"/>
          </a:xfrm>
        </p:grpSpPr>
        <p:pic>
          <p:nvPicPr>
            <p:cNvPr id="53" name="Picture 7" descr="http://alternatewrites.com/wp-content/uploads/2012/06/post-it-note-with-a-pin.jpg"/>
            <p:cNvPicPr>
              <a:picLocks noChangeAspect="1" noChangeArrowheads="1"/>
            </p:cNvPicPr>
            <p:nvPr/>
          </p:nvPicPr>
          <p:blipFill rotWithShape="1">
            <a:blip r:embed="rId5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478" t="3989" r="2994" b="3295"/>
            <a:stretch/>
          </p:blipFill>
          <p:spPr bwMode="auto">
            <a:xfrm>
              <a:off x="5868144" y="1898311"/>
              <a:ext cx="4023940" cy="3117352"/>
            </a:xfrm>
            <a:prstGeom prst="rect">
              <a:avLst/>
            </a:prstGeom>
            <a:noFill/>
            <a:scene3d>
              <a:camera prst="orthographicFront">
                <a:rot lat="0" lon="1080000" rev="0"/>
              </a:camera>
              <a:lightRig rig="threePt" dir="t"/>
            </a:scene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4" name="Textfeld 15"/>
            <p:cNvSpPr txBox="1">
              <a:spLocks noChangeArrowheads="1"/>
            </p:cNvSpPr>
            <p:nvPr/>
          </p:nvSpPr>
          <p:spPr bwMode="auto">
            <a:xfrm rot="21348083">
              <a:off x="6208426" y="2591812"/>
              <a:ext cx="3337665" cy="8790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rIns="90000">
              <a:spAutoFit/>
            </a:bodyPr>
            <a:lstStyle>
              <a:lvl1pPr eaLnBrk="0" hangingPunct="0">
                <a:spcAft>
                  <a:spcPts val="600"/>
                </a:spcAft>
                <a:defRPr sz="1400" b="1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eaLnBrk="0" hangingPunct="0">
                <a:spcAft>
                  <a:spcPts val="600"/>
                </a:spcAft>
                <a:buClr>
                  <a:schemeClr val="tx2"/>
                </a:buClr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eaLnBrk="0" hangingPunct="0">
                <a:spcAft>
                  <a:spcPts val="600"/>
                </a:spcAft>
                <a:buClr>
                  <a:schemeClr val="tx2"/>
                </a:buClr>
                <a:buFont typeface="Symbol" pitchFamily="18" charset="2"/>
                <a:buChar char="-"/>
                <a:defRPr sz="1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eaLnBrk="0" hangingPunct="0">
                <a:spcAft>
                  <a:spcPts val="600"/>
                </a:spcAft>
                <a:buClr>
                  <a:schemeClr val="tx2"/>
                </a:buClr>
                <a:buFont typeface="Symbol" pitchFamily="18" charset="2"/>
                <a:buChar char="-"/>
                <a:defRPr sz="14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eaLnBrk="0" hangingPunct="0">
                <a:spcAft>
                  <a:spcPts val="600"/>
                </a:spcAft>
                <a:buClr>
                  <a:schemeClr val="tx2"/>
                </a:buClr>
                <a:buFont typeface="Arial" charset="0"/>
                <a:buChar char="»"/>
                <a:defRPr sz="14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Font typeface="Arial" charset="0"/>
                <a:buChar char="»"/>
                <a:defRPr sz="14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Font typeface="Arial" charset="0"/>
                <a:buChar char="»"/>
                <a:defRPr sz="14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Font typeface="Arial" charset="0"/>
                <a:buChar char="»"/>
                <a:defRPr sz="14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Font typeface="Arial" charset="0"/>
                <a:buChar char="»"/>
                <a:defRPr sz="14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eaLnBrk="1" hangingPunct="1">
                <a:lnSpc>
                  <a:spcPts val="1500"/>
                </a:lnSpc>
                <a:spcAft>
                  <a:spcPts val="0"/>
                </a:spcAft>
              </a:pPr>
              <a:r>
                <a:rPr lang="en-US" altLang="de-DE" i="1" dirty="0" smtClean="0">
                  <a:latin typeface="+mn-lt"/>
                </a:rPr>
                <a:t>London*/ Paris </a:t>
              </a:r>
            </a:p>
            <a:p>
              <a:pPr eaLnBrk="1" hangingPunct="1">
                <a:lnSpc>
                  <a:spcPts val="1500"/>
                </a:lnSpc>
                <a:spcAft>
                  <a:spcPts val="0"/>
                </a:spcAft>
              </a:pPr>
              <a:r>
                <a:rPr lang="de-DE" altLang="de-DE" i="1" dirty="0" smtClean="0">
                  <a:latin typeface="+mn-lt"/>
                </a:rPr>
                <a:t>Investigation</a:t>
              </a:r>
              <a:endParaRPr lang="en-US" altLang="de-DE" i="1" dirty="0">
                <a:latin typeface="+mn-lt"/>
              </a:endParaRPr>
            </a:p>
          </p:txBody>
        </p:sp>
        <p:sp>
          <p:nvSpPr>
            <p:cNvPr id="55" name="Textfeld 17"/>
            <p:cNvSpPr txBox="1">
              <a:spLocks noChangeArrowheads="1"/>
            </p:cNvSpPr>
            <p:nvPr/>
          </p:nvSpPr>
          <p:spPr bwMode="auto">
            <a:xfrm rot="21348083">
              <a:off x="6746330" y="3477200"/>
              <a:ext cx="2194803" cy="8790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rIns="90000">
              <a:spAutoFit/>
            </a:bodyPr>
            <a:lstStyle>
              <a:lvl1pPr eaLnBrk="0" hangingPunct="0">
                <a:spcAft>
                  <a:spcPts val="600"/>
                </a:spcAft>
                <a:defRPr sz="1400" b="1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eaLnBrk="0" hangingPunct="0">
                <a:spcAft>
                  <a:spcPts val="600"/>
                </a:spcAft>
                <a:buClr>
                  <a:schemeClr val="tx2"/>
                </a:buClr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eaLnBrk="0" hangingPunct="0">
                <a:spcAft>
                  <a:spcPts val="600"/>
                </a:spcAft>
                <a:buClr>
                  <a:schemeClr val="tx2"/>
                </a:buClr>
                <a:buFont typeface="Symbol" pitchFamily="18" charset="2"/>
                <a:buChar char="-"/>
                <a:defRPr sz="1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eaLnBrk="0" hangingPunct="0">
                <a:spcAft>
                  <a:spcPts val="600"/>
                </a:spcAft>
                <a:buClr>
                  <a:schemeClr val="tx2"/>
                </a:buClr>
                <a:buFont typeface="Symbol" pitchFamily="18" charset="2"/>
                <a:buChar char="-"/>
                <a:defRPr sz="14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eaLnBrk="0" hangingPunct="0">
                <a:spcAft>
                  <a:spcPts val="600"/>
                </a:spcAft>
                <a:buClr>
                  <a:schemeClr val="tx2"/>
                </a:buClr>
                <a:buFont typeface="Arial" charset="0"/>
                <a:buChar char="»"/>
                <a:defRPr sz="14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Font typeface="Arial" charset="0"/>
                <a:buChar char="»"/>
                <a:defRPr sz="14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Font typeface="Arial" charset="0"/>
                <a:buChar char="»"/>
                <a:defRPr sz="14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Font typeface="Arial" charset="0"/>
                <a:buChar char="»"/>
                <a:defRPr sz="14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Font typeface="Arial" charset="0"/>
                <a:buChar char="»"/>
                <a:defRPr sz="14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algn="ctr" eaLnBrk="1" hangingPunct="1"/>
              <a:r>
                <a:rPr lang="en-US" altLang="de-DE" sz="1000" b="0" i="1" dirty="0" smtClean="0">
                  <a:latin typeface="+mn-lt"/>
                </a:rPr>
                <a:t>Banning Diesel </a:t>
              </a:r>
            </a:p>
            <a:p>
              <a:pPr algn="ctr" eaLnBrk="1" hangingPunct="1"/>
              <a:r>
                <a:rPr lang="en-US" altLang="de-DE" sz="1000" b="0" i="1" dirty="0" smtClean="0">
                  <a:latin typeface="+mn-lt"/>
                </a:rPr>
                <a:t>from inner city</a:t>
              </a:r>
              <a:endParaRPr lang="en-US" altLang="de-DE" sz="1000" b="0" i="1" dirty="0">
                <a:latin typeface="+mn-lt"/>
              </a:endParaRPr>
            </a:p>
          </p:txBody>
        </p:sp>
      </p:grpSp>
      <p:sp>
        <p:nvSpPr>
          <p:cNvPr id="56" name="Textfeld 15"/>
          <p:cNvSpPr txBox="1">
            <a:spLocks noChangeArrowheads="1"/>
          </p:cNvSpPr>
          <p:nvPr/>
        </p:nvSpPr>
        <p:spPr bwMode="auto">
          <a:xfrm>
            <a:off x="5900058" y="1513114"/>
            <a:ext cx="3009900" cy="954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Ins="90000">
            <a:spAutoFit/>
          </a:bodyPr>
          <a:lstStyle>
            <a:lvl1pPr eaLnBrk="0" hangingPunct="0">
              <a:spcAft>
                <a:spcPts val="600"/>
              </a:spcAft>
              <a:defRPr sz="1400" b="1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Aft>
                <a:spcPts val="600"/>
              </a:spcAft>
              <a:buClr>
                <a:schemeClr val="tx2"/>
              </a:buClr>
              <a:buFont typeface="Symbol" pitchFamily="18" charset="2"/>
              <a:buChar char="-"/>
              <a:defRPr sz="1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Aft>
                <a:spcPts val="600"/>
              </a:spcAft>
              <a:buClr>
                <a:schemeClr val="tx2"/>
              </a:buClr>
              <a:buFont typeface="Symbol" pitchFamily="18" charset="2"/>
              <a:buChar char="-"/>
              <a:defRPr sz="14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Aft>
                <a:spcPts val="600"/>
              </a:spcAft>
              <a:buClr>
                <a:schemeClr val="tx2"/>
              </a:buClr>
              <a:buFont typeface="Arial" charset="0"/>
              <a:buChar char="»"/>
              <a:defRPr sz="14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Font typeface="Arial" charset="0"/>
              <a:buChar char="»"/>
              <a:defRPr sz="14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Font typeface="Arial" charset="0"/>
              <a:buChar char="»"/>
              <a:defRPr sz="14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Font typeface="Arial" charset="0"/>
              <a:buChar char="»"/>
              <a:defRPr sz="14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Font typeface="Arial" charset="0"/>
              <a:buChar char="»"/>
              <a:defRPr sz="1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spcAft>
                <a:spcPts val="0"/>
              </a:spcAft>
            </a:pPr>
            <a:r>
              <a:rPr lang="en-US" altLang="de-DE" i="1" dirty="0">
                <a:latin typeface="+mn-lt"/>
              </a:rPr>
              <a:t>36th INTERNATIONAL </a:t>
            </a:r>
            <a:endParaRPr lang="en-US" altLang="de-DE" i="1" dirty="0" smtClean="0">
              <a:latin typeface="+mn-lt"/>
            </a:endParaRPr>
          </a:p>
          <a:p>
            <a:pPr algn="ctr" eaLnBrk="1" hangingPunct="1">
              <a:spcAft>
                <a:spcPts val="0"/>
              </a:spcAft>
            </a:pPr>
            <a:endParaRPr lang="en-US" altLang="de-DE" i="1" dirty="0" smtClean="0">
              <a:latin typeface="+mn-lt"/>
            </a:endParaRPr>
          </a:p>
          <a:p>
            <a:pPr algn="ctr" eaLnBrk="1" hangingPunct="1">
              <a:spcAft>
                <a:spcPts val="0"/>
              </a:spcAft>
            </a:pPr>
            <a:r>
              <a:rPr lang="en-US" altLang="de-DE" i="1" dirty="0" smtClean="0">
                <a:latin typeface="+mn-lt"/>
              </a:rPr>
              <a:t>VIENNA MOTOR SYMPOSIUM (05/2015)</a:t>
            </a:r>
            <a:endParaRPr lang="en-US" altLang="de-DE" i="1" dirty="0">
              <a:latin typeface="+mn-lt"/>
            </a:endParaRPr>
          </a:p>
        </p:txBody>
      </p:sp>
      <p:sp>
        <p:nvSpPr>
          <p:cNvPr id="57" name="Textfeld 17"/>
          <p:cNvSpPr txBox="1">
            <a:spLocks noChangeArrowheads="1"/>
          </p:cNvSpPr>
          <p:nvPr/>
        </p:nvSpPr>
        <p:spPr bwMode="auto">
          <a:xfrm>
            <a:off x="6006748" y="2366554"/>
            <a:ext cx="2903210" cy="40164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36000" rIns="36000">
            <a:spAutoFit/>
          </a:bodyPr>
          <a:lstStyle>
            <a:lvl1pPr eaLnBrk="0" hangingPunct="0">
              <a:spcAft>
                <a:spcPts val="600"/>
              </a:spcAft>
              <a:defRPr sz="1400" b="1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Aft>
                <a:spcPts val="600"/>
              </a:spcAft>
              <a:buClr>
                <a:schemeClr val="tx2"/>
              </a:buClr>
              <a:buFont typeface="Symbol" pitchFamily="18" charset="2"/>
              <a:buChar char="-"/>
              <a:defRPr sz="1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Aft>
                <a:spcPts val="600"/>
              </a:spcAft>
              <a:buClr>
                <a:schemeClr val="tx2"/>
              </a:buClr>
              <a:buFont typeface="Symbol" pitchFamily="18" charset="2"/>
              <a:buChar char="-"/>
              <a:defRPr sz="14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Aft>
                <a:spcPts val="600"/>
              </a:spcAft>
              <a:buClr>
                <a:schemeClr val="tx2"/>
              </a:buClr>
              <a:buFont typeface="Arial" charset="0"/>
              <a:buChar char="»"/>
              <a:defRPr sz="14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Font typeface="Arial" charset="0"/>
              <a:buChar char="»"/>
              <a:defRPr sz="14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Font typeface="Arial" charset="0"/>
              <a:buChar char="»"/>
              <a:defRPr sz="14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Font typeface="Arial" charset="0"/>
              <a:buChar char="»"/>
              <a:defRPr sz="14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Font typeface="Arial" charset="0"/>
              <a:buChar char="»"/>
              <a:defRPr sz="1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92075" indent="-92075" eaLnBrk="1" hangingPunct="1">
              <a:lnSpc>
                <a:spcPts val="1700"/>
              </a:lnSpc>
              <a:spcAft>
                <a:spcPts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altLang="de-DE" sz="900" b="0" dirty="0">
                <a:latin typeface="+mn-lt"/>
              </a:rPr>
              <a:t>IET - Institute for Energy and Transport, </a:t>
            </a:r>
            <a:r>
              <a:rPr lang="en-US" altLang="de-DE" sz="900" b="0" dirty="0" smtClean="0">
                <a:latin typeface="+mn-lt"/>
              </a:rPr>
              <a:t>Ispra</a:t>
            </a:r>
            <a:r>
              <a:rPr lang="en-US" altLang="de-DE" sz="900" b="0" dirty="0">
                <a:latin typeface="+mn-lt"/>
              </a:rPr>
              <a:t>: </a:t>
            </a:r>
            <a:r>
              <a:rPr lang="en-US" altLang="de-DE" sz="900" i="1" dirty="0">
                <a:latin typeface="+mn-lt"/>
              </a:rPr>
              <a:t>Evaluating Vehicles Real-Driving Emissions Performance: A Challenge for the Emissions Control </a:t>
            </a:r>
            <a:r>
              <a:rPr lang="en-US" altLang="de-DE" sz="900" i="1" dirty="0" smtClean="0">
                <a:latin typeface="+mn-lt"/>
              </a:rPr>
              <a:t>Legislation</a:t>
            </a:r>
          </a:p>
          <a:p>
            <a:pPr marL="92075" indent="-92075" eaLnBrk="1" hangingPunct="1">
              <a:lnSpc>
                <a:spcPts val="1700"/>
              </a:lnSpc>
              <a:spcAft>
                <a:spcPts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de-DE" altLang="de-DE" sz="900" i="1" dirty="0">
                <a:latin typeface="+mn-lt"/>
              </a:rPr>
              <a:t> </a:t>
            </a:r>
            <a:r>
              <a:rPr lang="en-US" sz="900" b="0" dirty="0">
                <a:latin typeface="+mn-lt"/>
              </a:rPr>
              <a:t>APL Landau </a:t>
            </a:r>
            <a:r>
              <a:rPr lang="en-US" sz="900" b="0" dirty="0" smtClean="0">
                <a:latin typeface="+mn-lt"/>
              </a:rPr>
              <a:t>&amp; IAVF Karlsruhe, MOT Karlsruhe:</a:t>
            </a:r>
            <a:r>
              <a:rPr lang="en-US" sz="900" b="0" dirty="0">
                <a:latin typeface="+mn-lt"/>
              </a:rPr>
              <a:t/>
            </a:r>
            <a:br>
              <a:rPr lang="en-US" sz="900" b="0" dirty="0">
                <a:latin typeface="+mn-lt"/>
              </a:rPr>
            </a:br>
            <a:r>
              <a:rPr lang="en-US" sz="900" i="1" dirty="0">
                <a:latin typeface="+mn-lt"/>
              </a:rPr>
              <a:t>Methods for the Development of a RDE-Capable </a:t>
            </a:r>
            <a:r>
              <a:rPr lang="en-US" sz="900" i="1" dirty="0" smtClean="0">
                <a:latin typeface="+mn-lt"/>
              </a:rPr>
              <a:t>Powertrain</a:t>
            </a:r>
          </a:p>
          <a:p>
            <a:pPr marL="92075" indent="-92075" eaLnBrk="1" hangingPunct="1">
              <a:lnSpc>
                <a:spcPts val="1700"/>
              </a:lnSpc>
              <a:spcAft>
                <a:spcPts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de-DE" altLang="de-DE" sz="900" i="1" dirty="0">
                <a:latin typeface="+mn-lt"/>
              </a:rPr>
              <a:t> </a:t>
            </a:r>
            <a:r>
              <a:rPr lang="en-US" sz="900" b="0" dirty="0">
                <a:latin typeface="+mn-lt"/>
              </a:rPr>
              <a:t>AVL </a:t>
            </a:r>
            <a:r>
              <a:rPr lang="en-US" sz="900" b="0" dirty="0" smtClean="0">
                <a:latin typeface="+mn-lt"/>
              </a:rPr>
              <a:t>List, Graz</a:t>
            </a:r>
            <a:r>
              <a:rPr lang="en-US" sz="900" b="0" i="1" dirty="0" smtClean="0">
                <a:latin typeface="+mn-lt"/>
              </a:rPr>
              <a:t>: </a:t>
            </a:r>
            <a:r>
              <a:rPr lang="en-US" sz="900" i="1" dirty="0" smtClean="0">
                <a:latin typeface="+mn-lt"/>
              </a:rPr>
              <a:t>RDE </a:t>
            </a:r>
            <a:r>
              <a:rPr lang="en-US" sz="900" i="1" dirty="0">
                <a:latin typeface="+mn-lt"/>
              </a:rPr>
              <a:t>– Challenges and </a:t>
            </a:r>
            <a:r>
              <a:rPr lang="en-US" sz="900" i="1" dirty="0" smtClean="0">
                <a:latin typeface="+mn-lt"/>
              </a:rPr>
              <a:t>Solutions</a:t>
            </a:r>
          </a:p>
          <a:p>
            <a:pPr marL="92075" indent="-92075" eaLnBrk="1" hangingPunct="1">
              <a:lnSpc>
                <a:spcPts val="1700"/>
              </a:lnSpc>
              <a:spcAft>
                <a:spcPts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900" b="0" dirty="0">
                <a:latin typeface="+mn-lt"/>
              </a:rPr>
              <a:t>FEV &amp; AECC (Association for Emissions Control by Catalyst), Brussels: </a:t>
            </a:r>
            <a:r>
              <a:rPr lang="en-US" sz="900" i="1" dirty="0">
                <a:latin typeface="+mn-lt"/>
              </a:rPr>
              <a:t>Potentials for EU6 Passenger Cars with SCR to Meet RDE </a:t>
            </a:r>
            <a:r>
              <a:rPr lang="en-US" sz="900" i="1" dirty="0" smtClean="0">
                <a:latin typeface="+mn-lt"/>
              </a:rPr>
              <a:t>Requirements</a:t>
            </a:r>
          </a:p>
          <a:p>
            <a:pPr marL="92075" indent="-92075" eaLnBrk="1" hangingPunct="1">
              <a:lnSpc>
                <a:spcPts val="1700"/>
              </a:lnSpc>
              <a:spcAft>
                <a:spcPts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900" b="0" dirty="0">
                <a:latin typeface="+mn-lt"/>
              </a:rPr>
              <a:t>Poznan University of </a:t>
            </a:r>
            <a:r>
              <a:rPr lang="en-US" sz="900" b="0" dirty="0" smtClean="0">
                <a:latin typeface="+mn-lt"/>
              </a:rPr>
              <a:t>Technology:</a:t>
            </a:r>
            <a:r>
              <a:rPr lang="en-US" sz="900" b="0" i="1" dirty="0" smtClean="0">
                <a:latin typeface="+mn-lt"/>
              </a:rPr>
              <a:t> </a:t>
            </a:r>
            <a:r>
              <a:rPr lang="en-US" sz="900" i="1" dirty="0" smtClean="0">
                <a:latin typeface="+mn-lt"/>
              </a:rPr>
              <a:t>LDV </a:t>
            </a:r>
            <a:r>
              <a:rPr lang="en-US" sz="900" i="1" dirty="0">
                <a:latin typeface="+mn-lt"/>
              </a:rPr>
              <a:t>and HDV Vehicle Exhaust Emission Indexes in PEMS-Based RDE </a:t>
            </a:r>
            <a:r>
              <a:rPr lang="en-US" sz="900" i="1" dirty="0" smtClean="0">
                <a:latin typeface="+mn-lt"/>
              </a:rPr>
              <a:t>Tests</a:t>
            </a:r>
          </a:p>
          <a:p>
            <a:pPr marL="92075" indent="-92075" eaLnBrk="1" hangingPunct="1">
              <a:lnSpc>
                <a:spcPts val="1700"/>
              </a:lnSpc>
              <a:spcAft>
                <a:spcPts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900" b="0" dirty="0" smtClean="0">
                <a:latin typeface="+mn-lt"/>
              </a:rPr>
              <a:t>Emitec, Lohmar: </a:t>
            </a:r>
            <a:r>
              <a:rPr lang="en-US" sz="900" dirty="0" smtClean="0"/>
              <a:t>"</a:t>
            </a:r>
            <a:r>
              <a:rPr lang="en-US" sz="900" i="1" dirty="0">
                <a:latin typeface="+mn-lt"/>
              </a:rPr>
              <a:t>NOx-free Exhaust Gas"; The Key Issue Is the AdBlue </a:t>
            </a:r>
            <a:r>
              <a:rPr lang="en-US" sz="900" i="1" dirty="0" smtClean="0">
                <a:latin typeface="+mn-lt"/>
              </a:rPr>
              <a:t>Dosing</a:t>
            </a:r>
            <a:endParaRPr lang="en-US" altLang="de-DE" sz="900" b="0" i="1" dirty="0">
              <a:latin typeface="+mn-lt"/>
            </a:endParaRPr>
          </a:p>
        </p:txBody>
      </p:sp>
      <p:sp>
        <p:nvSpPr>
          <p:cNvPr id="19" name="Rechteck 18"/>
          <p:cNvSpPr/>
          <p:nvPr/>
        </p:nvSpPr>
        <p:spPr>
          <a:xfrm rot="21401355">
            <a:off x="3721642" y="6193110"/>
            <a:ext cx="1207382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de-DE" sz="700" b="0" i="1" dirty="0" smtClean="0">
                <a:solidFill>
                  <a:schemeClr val="bg2">
                    <a:lumMod val="50000"/>
                  </a:schemeClr>
                </a:solidFill>
                <a:latin typeface="Verdana"/>
              </a:rPr>
              <a:t>*only valid for EURO6</a:t>
            </a:r>
            <a:endParaRPr lang="en-US" sz="700" b="0" dirty="0">
              <a:solidFill>
                <a:schemeClr val="bg2">
                  <a:lumMod val="50000"/>
                </a:schemeClr>
              </a:solidFill>
            </a:endParaRPr>
          </a:p>
        </p:txBody>
      </p:sp>
      <p:grpSp>
        <p:nvGrpSpPr>
          <p:cNvPr id="29" name="Gruppieren 20"/>
          <p:cNvGrpSpPr>
            <a:grpSpLocks/>
          </p:cNvGrpSpPr>
          <p:nvPr/>
        </p:nvGrpSpPr>
        <p:grpSpPr bwMode="auto">
          <a:xfrm>
            <a:off x="677301" y="4851600"/>
            <a:ext cx="2065899" cy="1835677"/>
            <a:chOff x="5868144" y="1898311"/>
            <a:chExt cx="3351266" cy="2948529"/>
          </a:xfrm>
        </p:grpSpPr>
        <p:pic>
          <p:nvPicPr>
            <p:cNvPr id="30" name="Picture 7" descr="http://alternatewrites.com/wp-content/uploads/2012/06/post-it-note-with-a-pin.jpg"/>
            <p:cNvPicPr>
              <a:picLocks noChangeAspect="1" noChangeArrowheads="1"/>
            </p:cNvPicPr>
            <p:nvPr/>
          </p:nvPicPr>
          <p:blipFill rotWithShape="1">
            <a:blip r:embed="rId5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478" t="3989" r="2994" b="3295"/>
            <a:stretch/>
          </p:blipFill>
          <p:spPr bwMode="auto">
            <a:xfrm>
              <a:off x="5868144" y="1898311"/>
              <a:ext cx="3351266" cy="2948529"/>
            </a:xfrm>
            <a:prstGeom prst="rect">
              <a:avLst/>
            </a:prstGeom>
            <a:noFill/>
            <a:scene3d>
              <a:camera prst="orthographicFront">
                <a:rot lat="0" lon="1080000" rev="0"/>
              </a:camera>
              <a:lightRig rig="threePt" dir="t"/>
            </a:scene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1" name="Textfeld 15"/>
            <p:cNvSpPr txBox="1">
              <a:spLocks noChangeArrowheads="1"/>
            </p:cNvSpPr>
            <p:nvPr/>
          </p:nvSpPr>
          <p:spPr bwMode="auto">
            <a:xfrm rot="21348083">
              <a:off x="7051181" y="2626997"/>
              <a:ext cx="981099" cy="4943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rIns="90000">
              <a:spAutoFit/>
            </a:bodyPr>
            <a:lstStyle>
              <a:lvl1pPr eaLnBrk="0" hangingPunct="0">
                <a:spcAft>
                  <a:spcPts val="600"/>
                </a:spcAft>
                <a:defRPr sz="1400" b="1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eaLnBrk="0" hangingPunct="0">
                <a:spcAft>
                  <a:spcPts val="600"/>
                </a:spcAft>
                <a:buClr>
                  <a:schemeClr val="tx2"/>
                </a:buClr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eaLnBrk="0" hangingPunct="0">
                <a:spcAft>
                  <a:spcPts val="600"/>
                </a:spcAft>
                <a:buClr>
                  <a:schemeClr val="tx2"/>
                </a:buClr>
                <a:buFont typeface="Symbol" pitchFamily="18" charset="2"/>
                <a:buChar char="-"/>
                <a:defRPr sz="1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eaLnBrk="0" hangingPunct="0">
                <a:spcAft>
                  <a:spcPts val="600"/>
                </a:spcAft>
                <a:buClr>
                  <a:schemeClr val="tx2"/>
                </a:buClr>
                <a:buFont typeface="Symbol" pitchFamily="18" charset="2"/>
                <a:buChar char="-"/>
                <a:defRPr sz="14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eaLnBrk="0" hangingPunct="0">
                <a:spcAft>
                  <a:spcPts val="600"/>
                </a:spcAft>
                <a:buClr>
                  <a:schemeClr val="tx2"/>
                </a:buClr>
                <a:buFont typeface="Arial" charset="0"/>
                <a:buChar char="»"/>
                <a:defRPr sz="14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Font typeface="Arial" charset="0"/>
                <a:buChar char="»"/>
                <a:defRPr sz="14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Font typeface="Arial" charset="0"/>
                <a:buChar char="»"/>
                <a:defRPr sz="14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Font typeface="Arial" charset="0"/>
                <a:buChar char="»"/>
                <a:defRPr sz="14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Font typeface="Arial" charset="0"/>
                <a:buChar char="»"/>
                <a:defRPr sz="14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eaLnBrk="1" hangingPunct="1"/>
              <a:r>
                <a:rPr lang="en-US" altLang="de-DE" i="1" dirty="0" smtClean="0">
                  <a:latin typeface="+mn-lt"/>
                </a:rPr>
                <a:t>UBA</a:t>
              </a:r>
              <a:endParaRPr lang="en-US" altLang="de-DE" i="1" dirty="0">
                <a:latin typeface="+mn-lt"/>
              </a:endParaRPr>
            </a:p>
          </p:txBody>
        </p:sp>
        <p:sp>
          <p:nvSpPr>
            <p:cNvPr id="40" name="Textfeld 17"/>
            <p:cNvSpPr txBox="1">
              <a:spLocks noChangeArrowheads="1"/>
            </p:cNvSpPr>
            <p:nvPr/>
          </p:nvSpPr>
          <p:spPr bwMode="auto">
            <a:xfrm rot="21348083">
              <a:off x="6271767" y="3176216"/>
              <a:ext cx="2671335" cy="11370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rIns="90000">
              <a:spAutoFit/>
            </a:bodyPr>
            <a:lstStyle>
              <a:lvl1pPr eaLnBrk="0" hangingPunct="0">
                <a:spcAft>
                  <a:spcPts val="600"/>
                </a:spcAft>
                <a:defRPr sz="1400" b="1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eaLnBrk="0" hangingPunct="0">
                <a:spcAft>
                  <a:spcPts val="600"/>
                </a:spcAft>
                <a:buClr>
                  <a:schemeClr val="tx2"/>
                </a:buClr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eaLnBrk="0" hangingPunct="0">
                <a:spcAft>
                  <a:spcPts val="600"/>
                </a:spcAft>
                <a:buClr>
                  <a:schemeClr val="tx2"/>
                </a:buClr>
                <a:buFont typeface="Symbol" pitchFamily="18" charset="2"/>
                <a:buChar char="-"/>
                <a:defRPr sz="1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eaLnBrk="0" hangingPunct="0">
                <a:spcAft>
                  <a:spcPts val="600"/>
                </a:spcAft>
                <a:buClr>
                  <a:schemeClr val="tx2"/>
                </a:buClr>
                <a:buFont typeface="Symbol" pitchFamily="18" charset="2"/>
                <a:buChar char="-"/>
                <a:defRPr sz="14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eaLnBrk="0" hangingPunct="0">
                <a:spcAft>
                  <a:spcPts val="600"/>
                </a:spcAft>
                <a:buClr>
                  <a:schemeClr val="tx2"/>
                </a:buClr>
                <a:buFont typeface="Arial" charset="0"/>
                <a:buChar char="»"/>
                <a:defRPr sz="14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Font typeface="Arial" charset="0"/>
                <a:buChar char="»"/>
                <a:defRPr sz="14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Font typeface="Arial" charset="0"/>
                <a:buChar char="»"/>
                <a:defRPr sz="14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Font typeface="Arial" charset="0"/>
                <a:buChar char="»"/>
                <a:defRPr sz="14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Font typeface="Arial" charset="0"/>
                <a:buChar char="»"/>
                <a:defRPr sz="14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algn="ctr" eaLnBrk="1" hangingPunct="1"/>
              <a:r>
                <a:rPr lang="en-US" altLang="de-DE" sz="1000" b="0" i="1" dirty="0" smtClean="0">
                  <a:latin typeface="+mn-lt"/>
                </a:rPr>
                <a:t>City </a:t>
              </a:r>
              <a:r>
                <a:rPr lang="en-US" altLang="de-DE" sz="1000" b="0" i="1" dirty="0" err="1" smtClean="0">
                  <a:latin typeface="+mn-lt"/>
                </a:rPr>
                <a:t>Nox</a:t>
              </a:r>
              <a:r>
                <a:rPr lang="en-US" altLang="de-DE" sz="1000" b="0" i="1" dirty="0" smtClean="0">
                  <a:latin typeface="+mn-lt"/>
                </a:rPr>
                <a:t> values of 300</a:t>
              </a:r>
            </a:p>
            <a:p>
              <a:pPr marL="171450" indent="-171450" algn="ctr" eaLnBrk="1" hangingPunct="1">
                <a:buFontTx/>
                <a:buChar char="-"/>
              </a:pPr>
              <a:r>
                <a:rPr lang="en-US" altLang="de-DE" sz="1000" b="0" i="1" dirty="0" smtClean="0">
                  <a:latin typeface="+mn-lt"/>
                </a:rPr>
                <a:t>600 mg/km </a:t>
              </a:r>
            </a:p>
            <a:p>
              <a:pPr marL="171450" indent="-171450" algn="ctr" eaLnBrk="1" hangingPunct="1">
                <a:buFontTx/>
                <a:buChar char="-"/>
              </a:pPr>
              <a:r>
                <a:rPr lang="en-US" altLang="de-DE" sz="1000" b="0" i="1" dirty="0" smtClean="0">
                  <a:latin typeface="+mn-lt"/>
                </a:rPr>
                <a:t>By 15km/h average</a:t>
              </a:r>
              <a:endParaRPr lang="en-US" altLang="de-DE" sz="1000" b="0" i="1" dirty="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518046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/>
        </p:nvSpPr>
        <p:spPr bwMode="auto">
          <a:xfrm>
            <a:off x="609600" y="1297168"/>
            <a:ext cx="8153399" cy="5484632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180000" tIns="144000" rIns="91440" bIns="45720" numCol="1" rtlCol="0" anchor="t" anchorCtr="0" compatLnSpc="1">
            <a:prstTxWarp prst="textNoShape">
              <a:avLst/>
            </a:prstTxWarp>
          </a:bodyPr>
          <a:lstStyle/>
          <a:p>
            <a:pPr marL="285750" lvl="1" indent="-285750"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Wingdings" panose="05000000000000000000" pitchFamily="2" charset="2"/>
              <a:buChar char="§"/>
            </a:pPr>
            <a:endParaRPr lang="en-US" sz="100" b="0" dirty="0" smtClean="0"/>
          </a:p>
          <a:p>
            <a:pPr marL="285750" lvl="1" indent="-285750"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b="0" dirty="0"/>
              <a:t>Feedback of </a:t>
            </a:r>
            <a:r>
              <a:rPr lang="en-US" sz="1400" dirty="0" smtClean="0"/>
              <a:t>10</a:t>
            </a:r>
            <a:r>
              <a:rPr lang="en-US" sz="1400" b="0" dirty="0" smtClean="0"/>
              <a:t> </a:t>
            </a:r>
            <a:r>
              <a:rPr lang="en-US" sz="1400" b="0" dirty="0"/>
              <a:t>Manufacturer</a:t>
            </a:r>
          </a:p>
          <a:p>
            <a:pPr marL="742950" lvl="1" indent="-285750">
              <a:spcAft>
                <a:spcPts val="600"/>
              </a:spcAft>
              <a:buClr>
                <a:schemeClr val="bg1">
                  <a:lumMod val="65000"/>
                </a:schemeClr>
              </a:buClr>
              <a:buFontTx/>
              <a:buChar char="-"/>
            </a:pPr>
            <a:endParaRPr lang="en-US" sz="1400" b="0" dirty="0"/>
          </a:p>
        </p:txBody>
      </p:sp>
      <p:sp>
        <p:nvSpPr>
          <p:cNvPr id="73" name="Rechteck 72"/>
          <p:cNvSpPr/>
          <p:nvPr/>
        </p:nvSpPr>
        <p:spPr bwMode="auto">
          <a:xfrm>
            <a:off x="356268" y="1542650"/>
            <a:ext cx="8577731" cy="503869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3200" b="1" i="0" u="none" strike="noStrike" cap="none" normalizeH="0" baseline="0">
              <a:ln>
                <a:noFill/>
              </a:ln>
              <a:solidFill>
                <a:srgbClr val="336699"/>
              </a:solidFill>
              <a:effectLst/>
              <a:latin typeface="Verdana" charset="0"/>
              <a:ea typeface="ＭＳ Ｐゴシック" charset="0"/>
              <a:cs typeface="Arial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lIns="0" rIns="0"/>
          <a:lstStyle/>
          <a:p>
            <a:r>
              <a:rPr lang="en-US" sz="2400" dirty="0" smtClean="0"/>
              <a:t>Thinkable rating of ACEA RDE compromise in </a:t>
            </a:r>
            <a:br>
              <a:rPr lang="en-US" sz="2400" dirty="0" smtClean="0"/>
            </a:br>
            <a:r>
              <a:rPr lang="en-US" sz="2400" dirty="0" smtClean="0"/>
              <a:t>the view of EU COM &amp; MS</a:t>
            </a:r>
            <a:endParaRPr lang="en-US" sz="2400" dirty="0"/>
          </a:p>
        </p:txBody>
      </p:sp>
      <p:sp>
        <p:nvSpPr>
          <p:cNvPr id="9" name="Rechteck 8"/>
          <p:cNvSpPr/>
          <p:nvPr/>
        </p:nvSpPr>
        <p:spPr>
          <a:xfrm>
            <a:off x="807719" y="1127892"/>
            <a:ext cx="6278881" cy="338554"/>
          </a:xfrm>
          <a:prstGeom prst="rect">
            <a:avLst/>
          </a:prstGeom>
          <a:solidFill>
            <a:schemeClr val="bg1"/>
          </a:solidFill>
        </p:spPr>
        <p:txBody>
          <a:bodyPr wrap="square" rIns="0">
            <a:spAutoFit/>
          </a:bodyPr>
          <a:lstStyle/>
          <a:p>
            <a:pPr>
              <a:spcAft>
                <a:spcPts val="300"/>
              </a:spcAft>
              <a:buClr>
                <a:schemeClr val="bg1">
                  <a:lumMod val="65000"/>
                </a:schemeClr>
              </a:buClr>
            </a:pPr>
            <a:r>
              <a:rPr lang="en-US" sz="1600" dirty="0" smtClean="0"/>
              <a:t>ACEA-Walk-In-Position </a:t>
            </a:r>
            <a:r>
              <a:rPr lang="en-US" sz="1600" dirty="0"/>
              <a:t>vs. </a:t>
            </a:r>
            <a:r>
              <a:rPr lang="en-US" sz="1600" dirty="0" smtClean="0"/>
              <a:t>EU-COM-Position - Results</a:t>
            </a:r>
            <a:endParaRPr lang="en-US" sz="1600" b="0" dirty="0"/>
          </a:p>
        </p:txBody>
      </p:sp>
      <p:sp>
        <p:nvSpPr>
          <p:cNvPr id="8" name="Rechteck 7"/>
          <p:cNvSpPr/>
          <p:nvPr/>
        </p:nvSpPr>
        <p:spPr>
          <a:xfrm>
            <a:off x="611032" y="1400343"/>
            <a:ext cx="3098036" cy="335011"/>
          </a:xfrm>
          <a:prstGeom prst="rect">
            <a:avLst/>
          </a:prstGeom>
          <a:solidFill>
            <a:schemeClr val="bg1"/>
          </a:solidFill>
        </p:spPr>
        <p:txBody>
          <a:bodyPr wrap="square" anchor="b">
            <a:noAutofit/>
          </a:bodyPr>
          <a:lstStyle/>
          <a:p>
            <a:pPr marL="285750" lvl="1" indent="-285750">
              <a:spcAft>
                <a:spcPts val="600"/>
              </a:spcAft>
              <a:buClr>
                <a:srgbClr val="FFFFFF">
                  <a:lumMod val="65000"/>
                </a:srgbClr>
              </a:buClr>
              <a:buFont typeface="Wingdings" panose="05000000000000000000" pitchFamily="2" charset="2"/>
              <a:buChar char="§"/>
            </a:pPr>
            <a:endParaRPr lang="en-US" sz="100" b="0" dirty="0"/>
          </a:p>
          <a:p>
            <a:pPr marL="285750" lvl="1" indent="-285750">
              <a:spcAft>
                <a:spcPts val="600"/>
              </a:spcAft>
              <a:buClr>
                <a:srgbClr val="FFFFFF">
                  <a:lumMod val="65000"/>
                </a:srgbClr>
              </a:buClr>
              <a:buFont typeface="Wingdings" panose="05000000000000000000" pitchFamily="2" charset="2"/>
              <a:buChar char="§"/>
            </a:pPr>
            <a:r>
              <a:rPr lang="en-US" sz="1400" b="0" dirty="0"/>
              <a:t>Levels of </a:t>
            </a:r>
            <a:r>
              <a:rPr lang="en-US" sz="1400" b="0" dirty="0" smtClean="0"/>
              <a:t>Negotiation:</a:t>
            </a:r>
            <a:endParaRPr lang="en-US" sz="1400" b="0" dirty="0"/>
          </a:p>
        </p:txBody>
      </p:sp>
      <p:graphicFrame>
        <p:nvGraphicFramePr>
          <p:cNvPr id="95" name="Tabelle 9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87240089"/>
              </p:ext>
            </p:extLst>
          </p:nvPr>
        </p:nvGraphicFramePr>
        <p:xfrm>
          <a:off x="356268" y="1763063"/>
          <a:ext cx="8623300" cy="4671657"/>
        </p:xfrm>
        <a:graphic>
          <a:graphicData uri="http://schemas.openxmlformats.org/drawingml/2006/table">
            <a:tbl>
              <a:tblPr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tblPr>
              <a:tblGrid>
                <a:gridCol w="990600"/>
                <a:gridCol w="1219200"/>
                <a:gridCol w="1219200"/>
                <a:gridCol w="1171575"/>
                <a:gridCol w="1343025"/>
                <a:gridCol w="1320132"/>
                <a:gridCol w="1359568"/>
              </a:tblGrid>
              <a:tr h="446737"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Parameter </a:t>
                      </a:r>
                    </a:p>
                  </a:txBody>
                  <a:tcPr marL="18632" marR="0" marT="18632" marB="0">
                    <a:lnL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1" i="0" u="none" strike="noStrike" dirty="0" smtClean="0">
                          <a:solidFill>
                            <a:srgbClr val="1F497D"/>
                          </a:solidFill>
                          <a:effectLst/>
                          <a:latin typeface="Arial"/>
                        </a:rPr>
                        <a:t>ACEA draft</a:t>
                      </a:r>
                    </a:p>
                    <a:p>
                      <a:pPr algn="l" fontAlgn="t"/>
                      <a:r>
                        <a:rPr lang="en-US" sz="1200" b="1" i="0" u="none" strike="noStrike" dirty="0" smtClean="0">
                          <a:solidFill>
                            <a:srgbClr val="1F497D"/>
                          </a:solidFill>
                          <a:effectLst/>
                          <a:latin typeface="Arial"/>
                        </a:rPr>
                        <a:t>Walk-In Position</a:t>
                      </a:r>
                      <a:endParaRPr lang="en-US" sz="1200" b="1" i="0" u="none" strike="noStrike" dirty="0">
                        <a:solidFill>
                          <a:srgbClr val="1F497D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U-COM</a:t>
                      </a:r>
                    </a:p>
                    <a:p>
                      <a:pPr algn="l" fontAlgn="t"/>
                      <a:r>
                        <a:rPr 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Position 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U-COM</a:t>
                      </a:r>
                    </a:p>
                    <a:p>
                      <a:pPr algn="l" fontAlgn="t"/>
                      <a:r>
                        <a:rPr 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ompromise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4E0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CEA </a:t>
                      </a:r>
                      <a:endParaRPr lang="en-US" sz="1200" b="1" i="0" u="none" strike="noStrike" dirty="0" smtClean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  <a:p>
                      <a:pPr algn="l" fontAlgn="t"/>
                      <a:r>
                        <a:rPr 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ompromise C1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CEA </a:t>
                      </a:r>
                      <a:endParaRPr lang="en-US" sz="1200" b="1" i="0" u="none" strike="noStrike" dirty="0" smtClean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  <a:p>
                      <a:pPr algn="l" fontAlgn="t"/>
                      <a:r>
                        <a:rPr 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ompromise 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2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CEA </a:t>
                      </a:r>
                      <a:endParaRPr lang="en-US" sz="1200" b="1" i="0" u="none" strike="noStrike" dirty="0" smtClean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  <a:p>
                      <a:pPr algn="l" fontAlgn="t"/>
                      <a:r>
                        <a:rPr 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ompromise C3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99"/>
                    </a:solidFill>
                  </a:tcPr>
                </a:tc>
              </a:tr>
              <a:tr h="286590"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mbient temperature</a:t>
                      </a:r>
                      <a:br>
                        <a:rPr lang="en-US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</a:br>
                      <a:r>
                        <a:rPr lang="en-US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(Moderate/ Extended) </a:t>
                      </a:r>
                    </a:p>
                  </a:txBody>
                  <a:tcPr marL="18632" marR="0" marT="18632" marB="0">
                    <a:lnL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tep 1: </a:t>
                      </a:r>
                      <a:endParaRPr lang="en-US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+</a:t>
                      </a: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C/ +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C…30C 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od</a:t>
                      </a: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./ext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.</a:t>
                      </a:r>
                    </a:p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tep2</a:t>
                      </a: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: </a:t>
                      </a:r>
                      <a:endParaRPr lang="en-US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+</a:t>
                      </a: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C/ +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C…30C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od</a:t>
                      </a: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./ext.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tep 1: </a:t>
                      </a:r>
                    </a:p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+3C/ -2C…30/35C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M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od./Ext.</a:t>
                      </a:r>
                    </a:p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tep2: </a:t>
                      </a:r>
                    </a:p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+0C/ -7C…30/35C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M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od./Ext. 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18632" marR="0" marT="1863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4E0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tep 1: </a:t>
                      </a:r>
                    </a:p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+3C/ </a:t>
                      </a:r>
                      <a: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2C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…30C 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od./Ext.</a:t>
                      </a:r>
                    </a:p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tep2: </a:t>
                      </a:r>
                    </a:p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+0C/ -7C…30C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M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od./Ext. 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tep 1: </a:t>
                      </a:r>
                    </a:p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+3C/ +0C…30C 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od./Ext.</a:t>
                      </a:r>
                    </a:p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tep2: </a:t>
                      </a:r>
                    </a:p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+0C/ -7C…30C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M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od./Ext.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tep 1: </a:t>
                      </a:r>
                    </a:p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+3C/ +0C…30C 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od./Ext.</a:t>
                      </a:r>
                    </a:p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tep2: </a:t>
                      </a:r>
                    </a:p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+0C/ -3C…30C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M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od./Ext.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</a:p>
                    <a:p>
                      <a:pPr algn="l" fontAlgn="t"/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  <a:r>
                        <a:rPr lang="en-US" sz="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[</a:t>
                      </a:r>
                      <a:r>
                        <a:rPr lang="en-US" sz="7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-</a:t>
                      </a:r>
                      <a:r>
                        <a:rPr lang="en-US" sz="7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7 with add. </a:t>
                      </a:r>
                      <a:r>
                        <a:rPr lang="en-US" sz="7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CF]</a:t>
                      </a:r>
                      <a:endParaRPr lang="en-US" sz="700" b="1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99"/>
                    </a:solidFill>
                  </a:tcPr>
                </a:tc>
              </a:tr>
              <a:tr h="217940">
                <a:tc>
                  <a:txBody>
                    <a:bodyPr/>
                    <a:lstStyle/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Vmax</a:t>
                      </a:r>
                      <a: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/>
                      </a:r>
                      <a:b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</a:br>
                      <a: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(Moderate/Extended) </a:t>
                      </a:r>
                    </a:p>
                  </a:txBody>
                  <a:tcPr marL="18632" marR="0" marT="18632" marB="0">
                    <a:lnL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30 km/h / </a:t>
                      </a:r>
                      <a:b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</a:b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30 km/h + 15 km/h for 3% of time 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45 km/h + 15 km/h </a:t>
                      </a:r>
                      <a:r>
                        <a:rPr lang="en-US" sz="7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für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3 %  of time </a:t>
                      </a:r>
                    </a:p>
                    <a:p>
                      <a:pPr algn="l" fontAlgn="t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4E0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45 km/h + 15 km/h </a:t>
                      </a:r>
                      <a:r>
                        <a:rPr lang="en-US" sz="7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für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3 % of time </a:t>
                      </a:r>
                    </a:p>
                    <a:p>
                      <a:pPr algn="l" fontAlgn="t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45 km/h + 15 km/h </a:t>
                      </a:r>
                      <a:r>
                        <a:rPr lang="en-US" sz="7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für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3 % of time </a:t>
                      </a:r>
                    </a:p>
                    <a:p>
                      <a:pPr algn="l" fontAlgn="t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30 km/h / </a:t>
                      </a:r>
                      <a:b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</a:b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45 km/h + 15 km/h for 3% of highway distance 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99"/>
                    </a:solidFill>
                  </a:tcPr>
                </a:tc>
              </a:tr>
              <a:tr h="149290">
                <a:tc rowSpan="2">
                  <a:txBody>
                    <a:bodyPr/>
                    <a:lstStyle/>
                    <a:p>
                      <a:pPr algn="l" fontAlgn="t"/>
                      <a: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Weight</a:t>
                      </a:r>
                      <a:b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</a:br>
                      <a: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(Moderate/Extended)</a:t>
                      </a:r>
                      <a:endParaRPr 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unladen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weight  + 200 kg</a:t>
                      </a:r>
                    </a:p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ax.: 2840kg 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0 % total mass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18632" marR="0" marT="1863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4E0F4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1: 90 % total mass</a:t>
                      </a:r>
                    </a:p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ax.: 2840kg </a:t>
                      </a:r>
                    </a:p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</a:p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1: + 50% payload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1: 90 % total mass </a:t>
                      </a:r>
                    </a:p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ax.: 2840kg </a:t>
                      </a:r>
                    </a:p>
                    <a:p>
                      <a:pPr algn="l" fontAlgn="t"/>
                      <a:endParaRPr lang="en-US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1: + 50% payload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unladen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weight  + 200 kg </a:t>
                      </a:r>
                    </a:p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ax.: 2840kg 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99"/>
                    </a:solidFill>
                  </a:tcPr>
                </a:tc>
              </a:tr>
              <a:tr h="137300">
                <a:tc vMerge="1">
                  <a:txBody>
                    <a:bodyPr/>
                    <a:lstStyle/>
                    <a:p>
                      <a:pPr algn="l" fontAlgn="t"/>
                      <a:endParaRPr 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0 % total mass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t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t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t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0 % total mass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99"/>
                    </a:solidFill>
                  </a:tcPr>
                </a:tc>
              </a:tr>
              <a:tr h="149290"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in. ø-speed</a:t>
                      </a:r>
                      <a:b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</a:br>
                      <a:r>
                        <a:rPr lang="en-US" sz="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(City/ overland/ highway)</a:t>
                      </a:r>
                      <a:endParaRPr lang="en-US" sz="6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0 km/h / - / 90 km/h 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5 km/h / - / 90 km/h 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18632" marR="0" marT="1863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4E0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15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km/h / - / 90 km/h 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0 km/h / - / 90 km/h 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0 km/h / - / 90 km/h 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99"/>
                    </a:solidFill>
                  </a:tcPr>
                </a:tc>
              </a:tr>
              <a:tr h="286590">
                <a:tc rowSpan="2">
                  <a:txBody>
                    <a:bodyPr/>
                    <a:lstStyle/>
                    <a:p>
                      <a:pPr algn="l" fontAlgn="t"/>
                      <a: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iming</a:t>
                      </a:r>
                      <a:endParaRPr 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tep 1: NT2017 / -</a:t>
                      </a:r>
                    </a:p>
                    <a:p>
                      <a:pPr algn="l" fontAlgn="t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/>
                      </a:r>
                      <a:b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</a:b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tep 1: NT2017 / AT2018</a:t>
                      </a:r>
                      <a:b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</a:b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/>
                      </a:r>
                      <a:b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</a:b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1: </a:t>
                      </a:r>
                      <a:r>
                        <a:rPr lang="en-US" sz="7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.b.d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.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tep 1: 9/2017NT / 9/2018 AT   ,N1 + 1year</a:t>
                      </a:r>
                      <a:b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</a:b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  <a:endParaRPr lang="en-US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  <a:p>
                      <a:pPr algn="ctr" fontAlgn="b"/>
                      <a:endParaRPr lang="en-US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  <a:p>
                      <a:pPr algn="ctr" fontAlgn="b"/>
                      <a:endParaRPr lang="en-US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  <a:p>
                      <a:pPr algn="ctr" fontAlgn="b"/>
                      <a:endParaRPr lang="en-US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  <a:p>
                      <a:pPr algn="ctr" fontAlgn="b"/>
                      <a:endParaRPr lang="en-US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tep 2: 2020 / 2021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  |   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1 + 1year</a:t>
                      </a:r>
                    </a:p>
                    <a:p>
                      <a:pPr algn="ctr" fontAlgn="b"/>
                      <a:endParaRPr lang="en-US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18632" marR="0" marT="1863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4E0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tep 1: 9/2017NT / 9/2019 AT   ,N1 + 1year</a:t>
                      </a:r>
                      <a:b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</a:b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&amp; (Flexibility by pre-fulfilling of RDE Reg.)</a:t>
                      </a:r>
                    </a:p>
                    <a:p>
                      <a:pPr algn="l" fontAlgn="t"/>
                      <a: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x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luding Gasoline DI</a:t>
                      </a:r>
                    </a:p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&amp; Hybrid</a:t>
                      </a:r>
                    </a:p>
                    <a:p>
                      <a:pPr algn="l" fontAlgn="t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tep 1: 9/2017NT / 9/2019 AT   ,N1 + 1year</a:t>
                      </a:r>
                      <a:b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</a:b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&amp; (Flexibility by pre-fulfilling of RDE Reg.)</a:t>
                      </a:r>
                    </a:p>
                    <a:p>
                      <a:pPr algn="l" fontAlgn="t"/>
                      <a: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x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luding Gasoline DI</a:t>
                      </a:r>
                    </a:p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&amp; Hybrid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tep 1: 9/2017NT / 9/2019 AT   ,N1 + 1year</a:t>
                      </a:r>
                      <a:b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</a:b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&amp; (Flexibility by pre-fulfilling of RDE Reg.)</a:t>
                      </a:r>
                    </a:p>
                    <a:p>
                      <a:pPr algn="l" fontAlgn="t"/>
                      <a: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x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luding Gasoline DI</a:t>
                      </a:r>
                    </a:p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&amp; Hybrid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99"/>
                    </a:solidFill>
                  </a:tcPr>
                </a:tc>
              </a:tr>
              <a:tr h="217940">
                <a:tc vMerge="1">
                  <a:txBody>
                    <a:bodyPr/>
                    <a:lstStyle/>
                    <a:p>
                      <a:pPr algn="l" fontAlgn="t"/>
                      <a:endParaRPr 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tep 2: 5 years after  OJ (NT2020 / AT2021)</a:t>
                      </a:r>
                      <a:b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</a:br>
                      <a:endParaRPr lang="en-US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1 + 1year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t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tep 2: 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sym typeface="Wingdings" panose="05000000000000000000" pitchFamily="2" charset="2"/>
                        </a:rPr>
                        <a:t>5 years after published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sym typeface="Wingdings" panose="05000000000000000000" pitchFamily="2" charset="2"/>
                        </a:rPr>
                        <a:t> 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sym typeface="Wingdings" panose="05000000000000000000" pitchFamily="2" charset="2"/>
                        </a:rPr>
                        <a:t>in official journal 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/>
                      </a:r>
                      <a:b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</a:b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1 + 1year</a:t>
                      </a:r>
                    </a:p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In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luding Gasoline DI &amp; </a:t>
                      </a:r>
                    </a:p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Hybrid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tep 2: 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sym typeface="Wingdings" panose="05000000000000000000" pitchFamily="2" charset="2"/>
                        </a:rPr>
                        <a:t>5 years after published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sym typeface="Wingdings" panose="05000000000000000000" pitchFamily="2" charset="2"/>
                        </a:rPr>
                        <a:t> 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sym typeface="Wingdings" panose="05000000000000000000" pitchFamily="2" charset="2"/>
                        </a:rPr>
                        <a:t>in official journal 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/>
                      </a:r>
                      <a:b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</a:b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1 + 1year</a:t>
                      </a:r>
                    </a:p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In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luding Gasoline DI &amp; </a:t>
                      </a:r>
                    </a:p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Hybrid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tep 2: 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sym typeface="Wingdings" panose="05000000000000000000" pitchFamily="2" charset="2"/>
                        </a:rPr>
                        <a:t>5 years after published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sym typeface="Wingdings" panose="05000000000000000000" pitchFamily="2" charset="2"/>
                        </a:rPr>
                        <a:t> 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sym typeface="Wingdings" panose="05000000000000000000" pitchFamily="2" charset="2"/>
                        </a:rPr>
                        <a:t>in official journal 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/>
                      </a:r>
                      <a:b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</a:b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1 + 1year</a:t>
                      </a:r>
                    </a:p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In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luding Gasoline DI &amp; </a:t>
                      </a:r>
                    </a:p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Hybrid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99"/>
                    </a:solidFill>
                  </a:tcPr>
                </a:tc>
              </a:tr>
              <a:tr h="149290">
                <a:tc rowSpan="2">
                  <a:txBody>
                    <a:bodyPr/>
                    <a:lstStyle/>
                    <a:p>
                      <a:pPr algn="l" fontAlgn="t"/>
                      <a:r>
                        <a:rPr lang="en-US" sz="7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CF’s</a:t>
                      </a:r>
                      <a:endParaRPr lang="en-US" sz="700" b="1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2-step approach </a:t>
                      </a:r>
                      <a:br>
                        <a:rPr lang="en-US" sz="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</a:br>
                      <a:r>
                        <a:rPr lang="en-US" sz="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Step 1: 3,5 / 5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1-step &lt; 2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2-step approach </a:t>
                      </a:r>
                      <a:br>
                        <a:rPr lang="en-US" sz="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</a:br>
                      <a:r>
                        <a:rPr lang="en-US" sz="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    Step 1: 2,5 / ?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4E0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2-step approach </a:t>
                      </a:r>
                      <a:br>
                        <a:rPr lang="en-US" sz="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</a:br>
                      <a:r>
                        <a:rPr lang="en-US" sz="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Step 1: 3,5 / 5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2-step approach </a:t>
                      </a:r>
                      <a:br>
                        <a:rPr lang="en-US" sz="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</a:br>
                      <a:r>
                        <a:rPr lang="en-US" sz="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Step 1: 3,5 / 5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2-step approach </a:t>
                      </a:r>
                      <a:br>
                        <a:rPr lang="en-US" sz="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</a:br>
                      <a:r>
                        <a:rPr lang="en-US" sz="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Step 1: 3,5 / 5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99"/>
                    </a:solidFill>
                  </a:tcPr>
                </a:tc>
              </a:tr>
              <a:tr h="80640">
                <a:tc vMerge="1">
                  <a:txBody>
                    <a:bodyPr/>
                    <a:lstStyle/>
                    <a:p>
                      <a:pPr algn="l" fontAlgn="t"/>
                      <a:endParaRPr 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Step 2: 2 / 3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t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    Step 2: 1,5 / ?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4E0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Step 2: 2 / 3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Step 2: 2 / 3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Step 2: 2 / 3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99"/>
                    </a:solidFill>
                  </a:tcPr>
                </a:tc>
              </a:tr>
              <a:tr h="217940"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Grade</a:t>
                      </a:r>
                      <a:br>
                        <a:rPr lang="en-US" sz="7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</a:br>
                      <a:r>
                        <a:rPr lang="en-US" sz="7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(Moderate/Extended) </a:t>
                      </a:r>
                    </a:p>
                  </a:txBody>
                  <a:tcPr marL="18632" marR="0" marT="18632" marB="0">
                    <a:lnL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2,0 % / 3,5 % (P95%) </a:t>
                      </a:r>
                      <a:br>
                        <a:rPr lang="en-US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</a:br>
                      <a:r>
                        <a:rPr lang="en-US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cum</a:t>
                      </a:r>
                      <a:r>
                        <a:rPr lang="en-US" sz="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. </a:t>
                      </a:r>
                      <a:r>
                        <a:rPr lang="en-US" sz="7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altit</a:t>
                      </a:r>
                      <a:r>
                        <a:rPr lang="en-US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. 650m/100km; 1000m/100km 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no restriction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Agreed</a:t>
                      </a:r>
                      <a:r>
                        <a:rPr lang="en-US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 </a:t>
                      </a:r>
                      <a:r>
                        <a:rPr lang="en-US" sz="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 to ACEA position</a:t>
                      </a:r>
                    </a:p>
                    <a:p>
                      <a:pPr algn="ctr" fontAlgn="b"/>
                      <a:endParaRPr lang="en-US" sz="7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4E0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da-DK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2,0 % / 3,5 % (P95%) </a:t>
                      </a:r>
                      <a:br>
                        <a:rPr lang="da-DK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</a:br>
                      <a:r>
                        <a:rPr lang="en-US" sz="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cum. </a:t>
                      </a:r>
                      <a:r>
                        <a:rPr lang="en-US" sz="7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altit</a:t>
                      </a:r>
                      <a:r>
                        <a:rPr lang="en-US" sz="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. 650m/100km; 1000m/100km </a:t>
                      </a:r>
                      <a:endParaRPr lang="en-US" sz="7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da-DK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2,0 % / 3,5 % (P95%) </a:t>
                      </a:r>
                      <a:br>
                        <a:rPr lang="da-DK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</a:br>
                      <a:r>
                        <a:rPr lang="en-US" sz="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cum. </a:t>
                      </a:r>
                      <a:r>
                        <a:rPr lang="en-US" sz="7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altit</a:t>
                      </a:r>
                      <a:r>
                        <a:rPr lang="en-US" sz="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. 650m/100km; 1000m/100km </a:t>
                      </a:r>
                      <a:endParaRPr lang="en-US" sz="7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2,0 % / 3,5 % (P95%) </a:t>
                      </a:r>
                      <a:br>
                        <a:rPr lang="da-DK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</a:br>
                      <a:r>
                        <a:rPr lang="en-US" sz="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cum. </a:t>
                      </a:r>
                      <a:r>
                        <a:rPr lang="en-US" sz="7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altit</a:t>
                      </a:r>
                      <a:r>
                        <a:rPr lang="en-US" sz="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. 650m/100km; 1000m/100km </a:t>
                      </a:r>
                    </a:p>
                    <a:p>
                      <a:pPr algn="l" fontAlgn="t"/>
                      <a:endParaRPr lang="da-DK" sz="7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99"/>
                    </a:solidFill>
                  </a:tcPr>
                </a:tc>
              </a:tr>
              <a:tr h="355240">
                <a:tc>
                  <a:txBody>
                    <a:bodyPr/>
                    <a:lstStyle/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Dynamic of driving </a:t>
                      </a:r>
                      <a:b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</a:br>
                      <a: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(Moderate/Extended) </a:t>
                      </a:r>
                    </a:p>
                  </a:txBody>
                  <a:tcPr marL="18632" marR="0" marT="18632" marB="0">
                    <a:lnL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+0,288v &lt; v · </a:t>
                      </a:r>
                      <a:r>
                        <a:rPr lang="en-US" sz="7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pos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&lt; 11+0,288v (P95%)</a:t>
                      </a:r>
                      <a:b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</a:b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  <a:b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</a:b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+0,288v &lt; v · </a:t>
                      </a:r>
                      <a:r>
                        <a:rPr lang="en-US" sz="7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pos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&lt; 14+0,288v (P95%)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o restriction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Agreed  to ACEA position</a:t>
                      </a:r>
                    </a:p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4E0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+0,288v &lt; v · </a:t>
                      </a:r>
                      <a:r>
                        <a:rPr lang="en-US" sz="7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pos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&lt;  11+0,288v (P95%)</a:t>
                      </a:r>
                      <a:b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</a:b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  <a:b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</a:b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+0,288v &lt; v · </a:t>
                      </a:r>
                      <a:r>
                        <a:rPr lang="en-US" sz="7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pos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&lt;  14+0,288v (P95%)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+0,288v &lt; v · </a:t>
                      </a:r>
                      <a:r>
                        <a:rPr lang="en-US" sz="7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pos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&lt; 11+0,288v (P95%)</a:t>
                      </a:r>
                      <a:b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</a:b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  <a:b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</a:b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+0,288v &lt; v · </a:t>
                      </a:r>
                      <a:r>
                        <a:rPr lang="en-US" sz="7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pos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&lt; 14+0,288v (P95%)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+0,288v &lt; v · </a:t>
                      </a:r>
                      <a:r>
                        <a:rPr lang="en-US" sz="7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pos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&lt; </a:t>
                      </a:r>
                    </a:p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1+0,288v (P95%)</a:t>
                      </a:r>
                      <a:b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</a:b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  <a:b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</a:b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+0,288v &lt; v · </a:t>
                      </a:r>
                      <a:r>
                        <a:rPr lang="en-US" sz="7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pos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&lt; </a:t>
                      </a:r>
                    </a:p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4+0,288v (P95%)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99"/>
                    </a:solidFill>
                  </a:tcPr>
                </a:tc>
              </a:tr>
            </a:tbl>
          </a:graphicData>
        </a:graphic>
      </p:graphicFrame>
      <p:sp>
        <p:nvSpPr>
          <p:cNvPr id="99" name="Pfeil nach rechts 98"/>
          <p:cNvSpPr/>
          <p:nvPr/>
        </p:nvSpPr>
        <p:spPr>
          <a:xfrm rot="10800000">
            <a:off x="7415462" y="1480982"/>
            <a:ext cx="1130188" cy="251402"/>
          </a:xfrm>
          <a:prstGeom prst="rightArrow">
            <a:avLst>
              <a:gd name="adj1" fmla="val 58411"/>
              <a:gd name="adj2" fmla="val 55011"/>
            </a:avLst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65000"/>
                </a:schemeClr>
              </a:gs>
            </a:gsLst>
            <a:lin ang="0" scaled="1"/>
            <a:tileRect/>
          </a:gradFill>
          <a:ln w="762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Font typeface="Wingdings" pitchFamily="2" charset="2"/>
              <a:buNone/>
            </a:pPr>
            <a:endParaRPr lang="de-DE" sz="1400" dirty="0" err="1" smtClean="0">
              <a:solidFill>
                <a:schemeClr val="tx1">
                  <a:lumMod val="95000"/>
                  <a:lumOff val="5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00" name="Textfeld 99"/>
          <p:cNvSpPr txBox="1"/>
          <p:nvPr/>
        </p:nvSpPr>
        <p:spPr>
          <a:xfrm>
            <a:off x="7900068" y="1462032"/>
            <a:ext cx="62542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 smtClean="0"/>
              <a:t>Level 1</a:t>
            </a:r>
          </a:p>
        </p:txBody>
      </p:sp>
      <p:sp>
        <p:nvSpPr>
          <p:cNvPr id="101" name="Pfeil nach rechts 100"/>
          <p:cNvSpPr/>
          <p:nvPr/>
        </p:nvSpPr>
        <p:spPr>
          <a:xfrm rot="10800000">
            <a:off x="6054016" y="1477843"/>
            <a:ext cx="1274897" cy="251402"/>
          </a:xfrm>
          <a:prstGeom prst="rightArrow">
            <a:avLst>
              <a:gd name="adj1" fmla="val 58411"/>
              <a:gd name="adj2" fmla="val 55011"/>
            </a:avLst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65000"/>
                </a:schemeClr>
              </a:gs>
            </a:gsLst>
            <a:lin ang="0" scaled="1"/>
            <a:tileRect/>
          </a:gradFill>
          <a:ln w="762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Font typeface="Wingdings" pitchFamily="2" charset="2"/>
              <a:buNone/>
            </a:pPr>
            <a:endParaRPr lang="de-DE" sz="1400" dirty="0" err="1" smtClean="0">
              <a:solidFill>
                <a:schemeClr val="tx1">
                  <a:lumMod val="95000"/>
                  <a:lumOff val="5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02" name="Textfeld 101"/>
          <p:cNvSpPr txBox="1"/>
          <p:nvPr/>
        </p:nvSpPr>
        <p:spPr>
          <a:xfrm>
            <a:off x="6599876" y="1461531"/>
            <a:ext cx="62542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 smtClean="0"/>
              <a:t>Level 2</a:t>
            </a:r>
          </a:p>
        </p:txBody>
      </p:sp>
      <p:sp>
        <p:nvSpPr>
          <p:cNvPr id="103" name="Pfeil nach rechts 102"/>
          <p:cNvSpPr/>
          <p:nvPr/>
        </p:nvSpPr>
        <p:spPr>
          <a:xfrm rot="10800000">
            <a:off x="5024606" y="1465981"/>
            <a:ext cx="847321" cy="241769"/>
          </a:xfrm>
          <a:prstGeom prst="rightArrow">
            <a:avLst>
              <a:gd name="adj1" fmla="val 100000"/>
              <a:gd name="adj2" fmla="val 0"/>
            </a:avLst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65000"/>
                </a:schemeClr>
              </a:gs>
            </a:gsLst>
            <a:lin ang="0" scaled="1"/>
            <a:tileRect/>
          </a:gradFill>
          <a:ln w="762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Font typeface="Wingdings" pitchFamily="2" charset="2"/>
              <a:buNone/>
            </a:pPr>
            <a:endParaRPr lang="de-DE" sz="1400" dirty="0" err="1" smtClean="0">
              <a:solidFill>
                <a:schemeClr val="tx1">
                  <a:lumMod val="95000"/>
                  <a:lumOff val="5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04" name="Textfeld 103"/>
          <p:cNvSpPr txBox="1"/>
          <p:nvPr/>
        </p:nvSpPr>
        <p:spPr>
          <a:xfrm>
            <a:off x="5293440" y="1459658"/>
            <a:ext cx="62542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 smtClean="0"/>
              <a:t>Level 3</a:t>
            </a:r>
          </a:p>
        </p:txBody>
      </p:sp>
      <p:pic>
        <p:nvPicPr>
          <p:cNvPr id="105" name="Picture 2" descr="European Commission logo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93371" y="1622651"/>
            <a:ext cx="445295" cy="308082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6" name="Picture 5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39358" y="1684009"/>
            <a:ext cx="292469" cy="3213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1" name="Picture 2" descr="European Commission logo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55228" y="1646890"/>
            <a:ext cx="445295" cy="308082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2" name="Pfeil nach oben und unten 141"/>
          <p:cNvSpPr/>
          <p:nvPr/>
        </p:nvSpPr>
        <p:spPr>
          <a:xfrm rot="5400000">
            <a:off x="3740601" y="2369765"/>
            <a:ext cx="102722" cy="206130"/>
          </a:xfrm>
          <a:prstGeom prst="upDownArrow">
            <a:avLst>
              <a:gd name="adj1" fmla="val 44480"/>
              <a:gd name="adj2" fmla="val 69553"/>
            </a:avLst>
          </a:prstGeom>
          <a:gradFill flip="none" rotWithShape="1">
            <a:gsLst>
              <a:gs pos="16000">
                <a:srgbClr val="FFBDCE"/>
              </a:gs>
              <a:gs pos="55000">
                <a:srgbClr val="D4E0F4"/>
              </a:gs>
            </a:gsLst>
            <a:lin ang="16200000" scaled="1"/>
            <a:tileRect/>
          </a:gradFill>
          <a:ln w="6350" cap="flat" cmpd="sng" algn="ctr">
            <a:solidFill>
              <a:schemeClr val="bg2"/>
            </a:solidFill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 err="1" smtClean="0">
              <a:ln>
                <a:noFill/>
              </a:ln>
              <a:solidFill>
                <a:srgbClr val="000000">
                  <a:lumMod val="95000"/>
                  <a:lumOff val="5000"/>
                </a:srgbClr>
              </a:solidFill>
              <a:effectLst/>
              <a:uLnTx/>
              <a:uFillTx/>
              <a:latin typeface="Calibri"/>
              <a:ea typeface="+mn-ea"/>
              <a:cs typeface="Calibri" pitchFamily="34" charset="0"/>
            </a:endParaRPr>
          </a:p>
        </p:txBody>
      </p:sp>
      <p:sp>
        <p:nvSpPr>
          <p:cNvPr id="143" name="Pfeil nach oben und unten 142"/>
          <p:cNvSpPr/>
          <p:nvPr/>
        </p:nvSpPr>
        <p:spPr>
          <a:xfrm rot="5400000">
            <a:off x="3740601" y="2826965"/>
            <a:ext cx="102722" cy="206130"/>
          </a:xfrm>
          <a:prstGeom prst="upDownArrow">
            <a:avLst>
              <a:gd name="adj1" fmla="val 44480"/>
              <a:gd name="adj2" fmla="val 69553"/>
            </a:avLst>
          </a:prstGeom>
          <a:gradFill flip="none" rotWithShape="1">
            <a:gsLst>
              <a:gs pos="16000">
                <a:srgbClr val="FFBDCE"/>
              </a:gs>
              <a:gs pos="55000">
                <a:srgbClr val="D4E0F4"/>
              </a:gs>
            </a:gsLst>
            <a:lin ang="16200000" scaled="1"/>
            <a:tileRect/>
          </a:gradFill>
          <a:ln w="6350" cap="flat" cmpd="sng" algn="ctr">
            <a:solidFill>
              <a:schemeClr val="bg2"/>
            </a:solidFill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 err="1" smtClean="0">
              <a:ln>
                <a:noFill/>
              </a:ln>
              <a:solidFill>
                <a:srgbClr val="000000">
                  <a:lumMod val="95000"/>
                  <a:lumOff val="5000"/>
                </a:srgbClr>
              </a:solidFill>
              <a:effectLst/>
              <a:uLnTx/>
              <a:uFillTx/>
              <a:latin typeface="Calibri"/>
              <a:ea typeface="+mn-ea"/>
              <a:cs typeface="Calibri" pitchFamily="34" charset="0"/>
            </a:endParaRPr>
          </a:p>
        </p:txBody>
      </p:sp>
      <p:sp>
        <p:nvSpPr>
          <p:cNvPr id="144" name="Pfeil nach oben und unten 143"/>
          <p:cNvSpPr/>
          <p:nvPr/>
        </p:nvSpPr>
        <p:spPr>
          <a:xfrm rot="5400000">
            <a:off x="3740601" y="3214689"/>
            <a:ext cx="102722" cy="206130"/>
          </a:xfrm>
          <a:prstGeom prst="upDownArrow">
            <a:avLst>
              <a:gd name="adj1" fmla="val 44480"/>
              <a:gd name="adj2" fmla="val 69553"/>
            </a:avLst>
          </a:prstGeom>
          <a:gradFill flip="none" rotWithShape="1">
            <a:gsLst>
              <a:gs pos="16000">
                <a:srgbClr val="FFBDCE"/>
              </a:gs>
              <a:gs pos="55000">
                <a:srgbClr val="D4E0F4"/>
              </a:gs>
            </a:gsLst>
            <a:lin ang="16200000" scaled="1"/>
            <a:tileRect/>
          </a:gradFill>
          <a:ln w="6350" cap="flat" cmpd="sng" algn="ctr">
            <a:solidFill>
              <a:schemeClr val="bg2"/>
            </a:solidFill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 err="1" smtClean="0">
              <a:ln>
                <a:noFill/>
              </a:ln>
              <a:solidFill>
                <a:srgbClr val="000000">
                  <a:lumMod val="95000"/>
                  <a:lumOff val="5000"/>
                </a:srgbClr>
              </a:solidFill>
              <a:effectLst/>
              <a:uLnTx/>
              <a:uFillTx/>
              <a:latin typeface="Calibri"/>
              <a:ea typeface="+mn-ea"/>
              <a:cs typeface="Calibri" pitchFamily="34" charset="0"/>
            </a:endParaRPr>
          </a:p>
        </p:txBody>
      </p:sp>
      <p:sp>
        <p:nvSpPr>
          <p:cNvPr id="145" name="Pfeil nach oben und unten 144"/>
          <p:cNvSpPr/>
          <p:nvPr/>
        </p:nvSpPr>
        <p:spPr>
          <a:xfrm rot="5400000">
            <a:off x="3737239" y="3543023"/>
            <a:ext cx="102722" cy="206130"/>
          </a:xfrm>
          <a:prstGeom prst="upDownArrow">
            <a:avLst>
              <a:gd name="adj1" fmla="val 44480"/>
              <a:gd name="adj2" fmla="val 69553"/>
            </a:avLst>
          </a:prstGeom>
          <a:gradFill flip="none" rotWithShape="1">
            <a:gsLst>
              <a:gs pos="16000">
                <a:srgbClr val="FFBDCE"/>
              </a:gs>
              <a:gs pos="55000">
                <a:srgbClr val="D4E0F4"/>
              </a:gs>
            </a:gsLst>
            <a:lin ang="16200000" scaled="1"/>
            <a:tileRect/>
          </a:gradFill>
          <a:ln w="6350" cap="flat" cmpd="sng" algn="ctr">
            <a:solidFill>
              <a:schemeClr val="bg2"/>
            </a:solidFill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 err="1" smtClean="0">
              <a:ln>
                <a:noFill/>
              </a:ln>
              <a:solidFill>
                <a:srgbClr val="000000">
                  <a:lumMod val="95000"/>
                  <a:lumOff val="5000"/>
                </a:srgbClr>
              </a:solidFill>
              <a:effectLst/>
              <a:uLnTx/>
              <a:uFillTx/>
              <a:latin typeface="Calibri"/>
              <a:ea typeface="+mn-ea"/>
              <a:cs typeface="Calibri" pitchFamily="34" charset="0"/>
            </a:endParaRPr>
          </a:p>
        </p:txBody>
      </p:sp>
      <p:sp>
        <p:nvSpPr>
          <p:cNvPr id="146" name="Pfeil nach oben und unten 145"/>
          <p:cNvSpPr/>
          <p:nvPr/>
        </p:nvSpPr>
        <p:spPr>
          <a:xfrm rot="5400000">
            <a:off x="3737239" y="4213805"/>
            <a:ext cx="102722" cy="206130"/>
          </a:xfrm>
          <a:prstGeom prst="upDownArrow">
            <a:avLst>
              <a:gd name="adj1" fmla="val 44480"/>
              <a:gd name="adj2" fmla="val 69553"/>
            </a:avLst>
          </a:prstGeom>
          <a:gradFill flip="none" rotWithShape="1">
            <a:gsLst>
              <a:gs pos="16000">
                <a:srgbClr val="FFBDCE"/>
              </a:gs>
              <a:gs pos="55000">
                <a:srgbClr val="D4E0F4"/>
              </a:gs>
            </a:gsLst>
            <a:lin ang="16200000" scaled="1"/>
            <a:tileRect/>
          </a:gradFill>
          <a:ln w="6350" cap="flat" cmpd="sng" algn="ctr">
            <a:solidFill>
              <a:schemeClr val="bg2"/>
            </a:solidFill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 err="1" smtClean="0">
              <a:ln>
                <a:noFill/>
              </a:ln>
              <a:solidFill>
                <a:srgbClr val="000000">
                  <a:lumMod val="95000"/>
                  <a:lumOff val="5000"/>
                </a:srgbClr>
              </a:solidFill>
              <a:effectLst/>
              <a:uLnTx/>
              <a:uFillTx/>
              <a:latin typeface="Calibri"/>
              <a:ea typeface="+mn-ea"/>
              <a:cs typeface="Calibri" pitchFamily="34" charset="0"/>
            </a:endParaRPr>
          </a:p>
        </p:txBody>
      </p:sp>
      <p:sp>
        <p:nvSpPr>
          <p:cNvPr id="147" name="Pfeil nach oben und unten 146"/>
          <p:cNvSpPr/>
          <p:nvPr/>
        </p:nvSpPr>
        <p:spPr>
          <a:xfrm rot="5400000">
            <a:off x="3730515" y="5205531"/>
            <a:ext cx="102722" cy="206130"/>
          </a:xfrm>
          <a:prstGeom prst="upDownArrow">
            <a:avLst>
              <a:gd name="adj1" fmla="val 44480"/>
              <a:gd name="adj2" fmla="val 69553"/>
            </a:avLst>
          </a:prstGeom>
          <a:gradFill flip="none" rotWithShape="1">
            <a:gsLst>
              <a:gs pos="16000">
                <a:srgbClr val="FFBDCE"/>
              </a:gs>
              <a:gs pos="55000">
                <a:srgbClr val="D4E0F4"/>
              </a:gs>
            </a:gsLst>
            <a:lin ang="16200000" scaled="1"/>
            <a:tileRect/>
          </a:gradFill>
          <a:ln w="6350" cap="flat" cmpd="sng" algn="ctr">
            <a:solidFill>
              <a:schemeClr val="bg2"/>
            </a:solidFill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 err="1" smtClean="0">
              <a:ln>
                <a:noFill/>
              </a:ln>
              <a:solidFill>
                <a:srgbClr val="000000">
                  <a:lumMod val="95000"/>
                  <a:lumOff val="5000"/>
                </a:srgbClr>
              </a:solidFill>
              <a:effectLst/>
              <a:uLnTx/>
              <a:uFillTx/>
              <a:latin typeface="Calibri"/>
              <a:ea typeface="+mn-ea"/>
              <a:cs typeface="Calibri" pitchFamily="34" charset="0"/>
            </a:endParaRPr>
          </a:p>
        </p:txBody>
      </p:sp>
      <p:sp>
        <p:nvSpPr>
          <p:cNvPr id="148" name="Pfeil nach oben und unten 147"/>
          <p:cNvSpPr/>
          <p:nvPr/>
        </p:nvSpPr>
        <p:spPr>
          <a:xfrm rot="5400000">
            <a:off x="3730515" y="5585405"/>
            <a:ext cx="102722" cy="206130"/>
          </a:xfrm>
          <a:prstGeom prst="upDownArrow">
            <a:avLst>
              <a:gd name="adj1" fmla="val 44480"/>
              <a:gd name="adj2" fmla="val 69553"/>
            </a:avLst>
          </a:prstGeom>
          <a:gradFill flip="none" rotWithShape="1">
            <a:gsLst>
              <a:gs pos="16000">
                <a:srgbClr val="FFBDCE"/>
              </a:gs>
              <a:gs pos="55000">
                <a:srgbClr val="D4E0F4"/>
              </a:gs>
            </a:gsLst>
            <a:lin ang="16200000" scaled="1"/>
            <a:tileRect/>
          </a:gradFill>
          <a:ln w="6350" cap="flat" cmpd="sng" algn="ctr">
            <a:solidFill>
              <a:schemeClr val="bg2"/>
            </a:solidFill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 err="1" smtClean="0">
              <a:ln>
                <a:noFill/>
              </a:ln>
              <a:solidFill>
                <a:srgbClr val="000000">
                  <a:lumMod val="95000"/>
                  <a:lumOff val="5000"/>
                </a:srgbClr>
              </a:solidFill>
              <a:effectLst/>
              <a:uLnTx/>
              <a:uFillTx/>
              <a:latin typeface="Calibri"/>
              <a:ea typeface="+mn-ea"/>
              <a:cs typeface="Calibri" pitchFamily="34" charset="0"/>
            </a:endParaRPr>
          </a:p>
        </p:txBody>
      </p:sp>
      <p:sp>
        <p:nvSpPr>
          <p:cNvPr id="149" name="Pfeil nach oben und unten 148"/>
          <p:cNvSpPr/>
          <p:nvPr/>
        </p:nvSpPr>
        <p:spPr>
          <a:xfrm rot="5400000">
            <a:off x="3732726" y="6195005"/>
            <a:ext cx="102722" cy="206130"/>
          </a:xfrm>
          <a:prstGeom prst="upDownArrow">
            <a:avLst>
              <a:gd name="adj1" fmla="val 44480"/>
              <a:gd name="adj2" fmla="val 69553"/>
            </a:avLst>
          </a:prstGeom>
          <a:gradFill flip="none" rotWithShape="1">
            <a:gsLst>
              <a:gs pos="16000">
                <a:srgbClr val="FFBDCE"/>
              </a:gs>
              <a:gs pos="55000">
                <a:srgbClr val="D4E0F4"/>
              </a:gs>
            </a:gsLst>
            <a:lin ang="16200000" scaled="1"/>
            <a:tileRect/>
          </a:gradFill>
          <a:ln w="6350" cap="flat" cmpd="sng" algn="ctr">
            <a:solidFill>
              <a:schemeClr val="bg2"/>
            </a:solidFill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 err="1" smtClean="0">
              <a:ln>
                <a:noFill/>
              </a:ln>
              <a:solidFill>
                <a:srgbClr val="000000">
                  <a:lumMod val="95000"/>
                  <a:lumOff val="5000"/>
                </a:srgbClr>
              </a:solidFill>
              <a:effectLst/>
              <a:uLnTx/>
              <a:uFillTx/>
              <a:latin typeface="Calibri"/>
              <a:ea typeface="+mn-ea"/>
              <a:cs typeface="Calibri" pitchFamily="34" charset="0"/>
            </a:endParaRPr>
          </a:p>
        </p:txBody>
      </p:sp>
      <p:pic>
        <p:nvPicPr>
          <p:cNvPr id="150" name="Picture 2" descr="http://www.springerprofessional.de/servlet/contentblob/3068270/articleImg/743858.jpg"/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5657" y="705717"/>
            <a:ext cx="1141094" cy="7607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" name="Gruppieren 9"/>
          <p:cNvGrpSpPr/>
          <p:nvPr/>
        </p:nvGrpSpPr>
        <p:grpSpPr>
          <a:xfrm>
            <a:off x="3766651" y="6516744"/>
            <a:ext cx="171417" cy="180005"/>
            <a:chOff x="9563100" y="2938371"/>
            <a:chExt cx="1200150" cy="135255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6" name="Ellipse 5"/>
            <p:cNvSpPr/>
            <p:nvPr/>
          </p:nvSpPr>
          <p:spPr bwMode="auto">
            <a:xfrm>
              <a:off x="9906000" y="3258485"/>
              <a:ext cx="609600" cy="62771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3200" b="1" i="0" u="none" strike="noStrike" cap="none" normalizeH="0" baseline="0">
                <a:ln>
                  <a:noFill/>
                </a:ln>
                <a:solidFill>
                  <a:srgbClr val="336699"/>
                </a:solidFill>
                <a:effectLst/>
                <a:latin typeface="Verdana" charset="0"/>
                <a:ea typeface="ＭＳ Ｐゴシック" charset="0"/>
                <a:cs typeface="Arial" charset="0"/>
              </a:endParaRPr>
            </a:p>
          </p:txBody>
        </p:sp>
        <p:pic>
          <p:nvPicPr>
            <p:cNvPr id="6147" name="Picture 3"/>
            <p:cNvPicPr>
              <a:picLocks noChangeAspect="1" noChangeArrowheads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aturation sat="66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63100" y="2938371"/>
              <a:ext cx="1200150" cy="1352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66" name="Gruppieren 165"/>
          <p:cNvGrpSpPr/>
          <p:nvPr/>
        </p:nvGrpSpPr>
        <p:grpSpPr>
          <a:xfrm>
            <a:off x="4096960" y="4314640"/>
            <a:ext cx="171417" cy="180005"/>
            <a:chOff x="9563100" y="2938371"/>
            <a:chExt cx="1200150" cy="135255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67" name="Ellipse 166"/>
            <p:cNvSpPr/>
            <p:nvPr/>
          </p:nvSpPr>
          <p:spPr bwMode="auto">
            <a:xfrm>
              <a:off x="9906000" y="3258485"/>
              <a:ext cx="609600" cy="62771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3200" b="1" i="0" u="none" strike="noStrike" cap="none" normalizeH="0" baseline="0">
                <a:ln>
                  <a:noFill/>
                </a:ln>
                <a:solidFill>
                  <a:srgbClr val="336699"/>
                </a:solidFill>
                <a:effectLst/>
                <a:latin typeface="Verdana" charset="0"/>
                <a:ea typeface="ＭＳ Ｐゴシック" charset="0"/>
                <a:cs typeface="Arial" charset="0"/>
              </a:endParaRPr>
            </a:p>
          </p:txBody>
        </p:sp>
        <p:pic>
          <p:nvPicPr>
            <p:cNvPr id="168" name="Picture 3"/>
            <p:cNvPicPr>
              <a:picLocks noChangeAspect="1" noChangeArrowheads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aturation sat="66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63100" y="2938371"/>
              <a:ext cx="1200150" cy="1352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69" name="Gruppieren 168"/>
          <p:cNvGrpSpPr/>
          <p:nvPr/>
        </p:nvGrpSpPr>
        <p:grpSpPr>
          <a:xfrm>
            <a:off x="4256016" y="4316870"/>
            <a:ext cx="171417" cy="180005"/>
            <a:chOff x="9563100" y="2938371"/>
            <a:chExt cx="1200150" cy="135255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70" name="Ellipse 169"/>
            <p:cNvSpPr/>
            <p:nvPr/>
          </p:nvSpPr>
          <p:spPr bwMode="auto">
            <a:xfrm>
              <a:off x="9906000" y="3258485"/>
              <a:ext cx="609600" cy="62771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3200" b="1" i="0" u="none" strike="noStrike" cap="none" normalizeH="0" baseline="0">
                <a:ln>
                  <a:noFill/>
                </a:ln>
                <a:solidFill>
                  <a:srgbClr val="336699"/>
                </a:solidFill>
                <a:effectLst/>
                <a:latin typeface="Verdana" charset="0"/>
                <a:ea typeface="ＭＳ Ｐゴシック" charset="0"/>
                <a:cs typeface="Arial" charset="0"/>
              </a:endParaRPr>
            </a:p>
          </p:txBody>
        </p:sp>
        <p:pic>
          <p:nvPicPr>
            <p:cNvPr id="171" name="Picture 3"/>
            <p:cNvPicPr>
              <a:picLocks noChangeAspect="1" noChangeArrowheads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aturation sat="66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63100" y="2938371"/>
              <a:ext cx="1200150" cy="1352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72" name="Gruppieren 171"/>
          <p:cNvGrpSpPr/>
          <p:nvPr/>
        </p:nvGrpSpPr>
        <p:grpSpPr>
          <a:xfrm>
            <a:off x="4412561" y="4316870"/>
            <a:ext cx="171417" cy="180005"/>
            <a:chOff x="9563100" y="2938371"/>
            <a:chExt cx="1200150" cy="135255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73" name="Ellipse 172"/>
            <p:cNvSpPr/>
            <p:nvPr/>
          </p:nvSpPr>
          <p:spPr bwMode="auto">
            <a:xfrm>
              <a:off x="9906000" y="3258485"/>
              <a:ext cx="609600" cy="62771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3200" b="1" i="0" u="none" strike="noStrike" cap="none" normalizeH="0" baseline="0">
                <a:ln>
                  <a:noFill/>
                </a:ln>
                <a:solidFill>
                  <a:srgbClr val="336699"/>
                </a:solidFill>
                <a:effectLst/>
                <a:latin typeface="Verdana" charset="0"/>
                <a:ea typeface="ＭＳ Ｐゴシック" charset="0"/>
                <a:cs typeface="Arial" charset="0"/>
              </a:endParaRPr>
            </a:p>
          </p:txBody>
        </p:sp>
        <p:pic>
          <p:nvPicPr>
            <p:cNvPr id="174" name="Picture 3"/>
            <p:cNvPicPr>
              <a:picLocks noChangeAspect="1" noChangeArrowheads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aturation sat="66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63100" y="2938371"/>
              <a:ext cx="1200150" cy="1352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75" name="Gruppieren 174"/>
          <p:cNvGrpSpPr/>
          <p:nvPr/>
        </p:nvGrpSpPr>
        <p:grpSpPr>
          <a:xfrm>
            <a:off x="4450574" y="5190060"/>
            <a:ext cx="171417" cy="180005"/>
            <a:chOff x="9563100" y="2938371"/>
            <a:chExt cx="1200150" cy="135255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76" name="Ellipse 175"/>
            <p:cNvSpPr/>
            <p:nvPr/>
          </p:nvSpPr>
          <p:spPr bwMode="auto">
            <a:xfrm>
              <a:off x="9906000" y="3258485"/>
              <a:ext cx="609600" cy="62771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3200" b="1" i="0" u="none" strike="noStrike" cap="none" normalizeH="0" baseline="0">
                <a:ln>
                  <a:noFill/>
                </a:ln>
                <a:solidFill>
                  <a:srgbClr val="336699"/>
                </a:solidFill>
                <a:effectLst/>
                <a:latin typeface="Verdana" charset="0"/>
                <a:ea typeface="ＭＳ Ｐゴシック" charset="0"/>
                <a:cs typeface="Arial" charset="0"/>
              </a:endParaRPr>
            </a:p>
          </p:txBody>
        </p:sp>
        <p:pic>
          <p:nvPicPr>
            <p:cNvPr id="177" name="Picture 3"/>
            <p:cNvPicPr>
              <a:picLocks noChangeAspect="1" noChangeArrowheads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aturation sat="66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63100" y="2938371"/>
              <a:ext cx="1200150" cy="1352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78" name="Gruppieren 177"/>
          <p:cNvGrpSpPr/>
          <p:nvPr/>
        </p:nvGrpSpPr>
        <p:grpSpPr>
          <a:xfrm>
            <a:off x="4609630" y="5185363"/>
            <a:ext cx="171417" cy="180005"/>
            <a:chOff x="9563100" y="2938371"/>
            <a:chExt cx="1200150" cy="135255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79" name="Ellipse 178"/>
            <p:cNvSpPr/>
            <p:nvPr/>
          </p:nvSpPr>
          <p:spPr bwMode="auto">
            <a:xfrm>
              <a:off x="9906000" y="3258485"/>
              <a:ext cx="609600" cy="62771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3200" b="1" i="0" u="none" strike="noStrike" cap="none" normalizeH="0" baseline="0">
                <a:ln>
                  <a:noFill/>
                </a:ln>
                <a:solidFill>
                  <a:srgbClr val="336699"/>
                </a:solidFill>
                <a:effectLst/>
                <a:latin typeface="Verdana" charset="0"/>
                <a:ea typeface="ＭＳ Ｐゴシック" charset="0"/>
                <a:cs typeface="Arial" charset="0"/>
              </a:endParaRPr>
            </a:p>
          </p:txBody>
        </p:sp>
        <p:pic>
          <p:nvPicPr>
            <p:cNvPr id="180" name="Picture 3"/>
            <p:cNvPicPr>
              <a:picLocks noChangeAspect="1" noChangeArrowheads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aturation sat="66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63100" y="2938371"/>
              <a:ext cx="1200150" cy="1352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81" name="Gruppieren 180"/>
          <p:cNvGrpSpPr/>
          <p:nvPr/>
        </p:nvGrpSpPr>
        <p:grpSpPr>
          <a:xfrm>
            <a:off x="4766175" y="5185363"/>
            <a:ext cx="171417" cy="180005"/>
            <a:chOff x="9563100" y="2938371"/>
            <a:chExt cx="1200150" cy="135255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82" name="Ellipse 181"/>
            <p:cNvSpPr/>
            <p:nvPr/>
          </p:nvSpPr>
          <p:spPr bwMode="auto">
            <a:xfrm>
              <a:off x="9906000" y="3258485"/>
              <a:ext cx="609600" cy="62771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3200" b="1" i="0" u="none" strike="noStrike" cap="none" normalizeH="0" baseline="0">
                <a:ln>
                  <a:noFill/>
                </a:ln>
                <a:solidFill>
                  <a:srgbClr val="336699"/>
                </a:solidFill>
                <a:effectLst/>
                <a:latin typeface="Verdana" charset="0"/>
                <a:ea typeface="ＭＳ Ｐゴシック" charset="0"/>
                <a:cs typeface="Arial" charset="0"/>
              </a:endParaRPr>
            </a:p>
          </p:txBody>
        </p:sp>
        <p:pic>
          <p:nvPicPr>
            <p:cNvPr id="183" name="Picture 3"/>
            <p:cNvPicPr>
              <a:picLocks noChangeAspect="1" noChangeArrowheads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aturation sat="66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63100" y="2938371"/>
              <a:ext cx="1200150" cy="1352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84" name="Gruppieren 183"/>
          <p:cNvGrpSpPr/>
          <p:nvPr/>
        </p:nvGrpSpPr>
        <p:grpSpPr>
          <a:xfrm>
            <a:off x="4090068" y="5674168"/>
            <a:ext cx="171417" cy="180005"/>
            <a:chOff x="9563100" y="2938371"/>
            <a:chExt cx="1200150" cy="135255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85" name="Ellipse 184"/>
            <p:cNvSpPr/>
            <p:nvPr/>
          </p:nvSpPr>
          <p:spPr bwMode="auto">
            <a:xfrm>
              <a:off x="9906000" y="3258485"/>
              <a:ext cx="609600" cy="62771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3200" b="1" i="0" u="none" strike="noStrike" cap="none" normalizeH="0" baseline="0">
                <a:ln>
                  <a:noFill/>
                </a:ln>
                <a:solidFill>
                  <a:srgbClr val="336699"/>
                </a:solidFill>
                <a:effectLst/>
                <a:latin typeface="Verdana" charset="0"/>
                <a:ea typeface="ＭＳ Ｐゴシック" charset="0"/>
                <a:cs typeface="Arial" charset="0"/>
              </a:endParaRPr>
            </a:p>
          </p:txBody>
        </p:sp>
        <p:pic>
          <p:nvPicPr>
            <p:cNvPr id="186" name="Picture 3"/>
            <p:cNvPicPr>
              <a:picLocks noChangeAspect="1" noChangeArrowheads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aturation sat="66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63100" y="2938371"/>
              <a:ext cx="1200150" cy="1352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87" name="Gruppieren 186"/>
          <p:cNvGrpSpPr/>
          <p:nvPr/>
        </p:nvGrpSpPr>
        <p:grpSpPr>
          <a:xfrm>
            <a:off x="4249124" y="5669471"/>
            <a:ext cx="171417" cy="180005"/>
            <a:chOff x="9563100" y="2938371"/>
            <a:chExt cx="1200150" cy="135255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88" name="Ellipse 187"/>
            <p:cNvSpPr/>
            <p:nvPr/>
          </p:nvSpPr>
          <p:spPr bwMode="auto">
            <a:xfrm>
              <a:off x="9906000" y="3258485"/>
              <a:ext cx="609600" cy="62771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3200" b="1" i="0" u="none" strike="noStrike" cap="none" normalizeH="0" baseline="0">
                <a:ln>
                  <a:noFill/>
                </a:ln>
                <a:solidFill>
                  <a:srgbClr val="336699"/>
                </a:solidFill>
                <a:effectLst/>
                <a:latin typeface="Verdana" charset="0"/>
                <a:ea typeface="ＭＳ Ｐゴシック" charset="0"/>
                <a:cs typeface="Arial" charset="0"/>
              </a:endParaRPr>
            </a:p>
          </p:txBody>
        </p:sp>
        <p:pic>
          <p:nvPicPr>
            <p:cNvPr id="189" name="Picture 3"/>
            <p:cNvPicPr>
              <a:picLocks noChangeAspect="1" noChangeArrowheads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aturation sat="66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63100" y="2938371"/>
              <a:ext cx="1200150" cy="1352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90" name="Gruppieren 189"/>
          <p:cNvGrpSpPr/>
          <p:nvPr/>
        </p:nvGrpSpPr>
        <p:grpSpPr>
          <a:xfrm>
            <a:off x="4405669" y="5669471"/>
            <a:ext cx="171417" cy="180005"/>
            <a:chOff x="9563100" y="2938371"/>
            <a:chExt cx="1200150" cy="135255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91" name="Ellipse 190"/>
            <p:cNvSpPr/>
            <p:nvPr/>
          </p:nvSpPr>
          <p:spPr bwMode="auto">
            <a:xfrm>
              <a:off x="9906000" y="3258485"/>
              <a:ext cx="609600" cy="62771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3200" b="1" i="0" u="none" strike="noStrike" cap="none" normalizeH="0" baseline="0">
                <a:ln>
                  <a:noFill/>
                </a:ln>
                <a:solidFill>
                  <a:srgbClr val="336699"/>
                </a:solidFill>
                <a:effectLst/>
                <a:latin typeface="Verdana" charset="0"/>
                <a:ea typeface="ＭＳ Ｐゴシック" charset="0"/>
                <a:cs typeface="Arial" charset="0"/>
              </a:endParaRPr>
            </a:p>
          </p:txBody>
        </p:sp>
        <p:pic>
          <p:nvPicPr>
            <p:cNvPr id="192" name="Picture 3"/>
            <p:cNvPicPr>
              <a:picLocks noChangeAspect="1" noChangeArrowheads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aturation sat="66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63100" y="2938371"/>
              <a:ext cx="1200150" cy="1352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93" name="Gruppieren 192"/>
          <p:cNvGrpSpPr/>
          <p:nvPr/>
        </p:nvGrpSpPr>
        <p:grpSpPr>
          <a:xfrm>
            <a:off x="4090068" y="6216874"/>
            <a:ext cx="171417" cy="180005"/>
            <a:chOff x="9563100" y="2938371"/>
            <a:chExt cx="1200150" cy="135255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94" name="Ellipse 193"/>
            <p:cNvSpPr/>
            <p:nvPr/>
          </p:nvSpPr>
          <p:spPr bwMode="auto">
            <a:xfrm>
              <a:off x="9906000" y="3258485"/>
              <a:ext cx="609600" cy="62771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3200" b="1" i="0" u="none" strike="noStrike" cap="none" normalizeH="0" baseline="0">
                <a:ln>
                  <a:noFill/>
                </a:ln>
                <a:solidFill>
                  <a:srgbClr val="336699"/>
                </a:solidFill>
                <a:effectLst/>
                <a:latin typeface="Verdana" charset="0"/>
                <a:ea typeface="ＭＳ Ｐゴシック" charset="0"/>
                <a:cs typeface="Arial" charset="0"/>
              </a:endParaRPr>
            </a:p>
          </p:txBody>
        </p:sp>
        <p:pic>
          <p:nvPicPr>
            <p:cNvPr id="195" name="Picture 3"/>
            <p:cNvPicPr>
              <a:picLocks noChangeAspect="1" noChangeArrowheads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aturation sat="66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63100" y="2938371"/>
              <a:ext cx="1200150" cy="1352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96" name="Gruppieren 195"/>
          <p:cNvGrpSpPr/>
          <p:nvPr/>
        </p:nvGrpSpPr>
        <p:grpSpPr>
          <a:xfrm>
            <a:off x="4249124" y="6219104"/>
            <a:ext cx="171417" cy="180005"/>
            <a:chOff x="9563100" y="2938371"/>
            <a:chExt cx="1200150" cy="135255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97" name="Ellipse 196"/>
            <p:cNvSpPr/>
            <p:nvPr/>
          </p:nvSpPr>
          <p:spPr bwMode="auto">
            <a:xfrm>
              <a:off x="9906000" y="3258485"/>
              <a:ext cx="609600" cy="62771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3200" b="1" i="0" u="none" strike="noStrike" cap="none" normalizeH="0" baseline="0">
                <a:ln>
                  <a:noFill/>
                </a:ln>
                <a:solidFill>
                  <a:srgbClr val="336699"/>
                </a:solidFill>
                <a:effectLst/>
                <a:latin typeface="Verdana" charset="0"/>
                <a:ea typeface="ＭＳ Ｐゴシック" charset="0"/>
                <a:cs typeface="Arial" charset="0"/>
              </a:endParaRPr>
            </a:p>
          </p:txBody>
        </p:sp>
        <p:pic>
          <p:nvPicPr>
            <p:cNvPr id="198" name="Picture 3"/>
            <p:cNvPicPr>
              <a:picLocks noChangeAspect="1" noChangeArrowheads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aturation sat="66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63100" y="2938371"/>
              <a:ext cx="1200150" cy="1352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99" name="Gruppieren 198"/>
          <p:cNvGrpSpPr/>
          <p:nvPr/>
        </p:nvGrpSpPr>
        <p:grpSpPr>
          <a:xfrm>
            <a:off x="4405669" y="6219104"/>
            <a:ext cx="171417" cy="180005"/>
            <a:chOff x="9563100" y="2938371"/>
            <a:chExt cx="1200150" cy="135255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00" name="Ellipse 199"/>
            <p:cNvSpPr/>
            <p:nvPr/>
          </p:nvSpPr>
          <p:spPr bwMode="auto">
            <a:xfrm>
              <a:off x="9906000" y="3258485"/>
              <a:ext cx="609600" cy="62771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3200" b="1" i="0" u="none" strike="noStrike" cap="none" normalizeH="0" baseline="0">
                <a:ln>
                  <a:noFill/>
                </a:ln>
                <a:solidFill>
                  <a:srgbClr val="336699"/>
                </a:solidFill>
                <a:effectLst/>
                <a:latin typeface="Verdana" charset="0"/>
                <a:ea typeface="ＭＳ Ｐゴシック" charset="0"/>
                <a:cs typeface="Arial" charset="0"/>
              </a:endParaRPr>
            </a:p>
          </p:txBody>
        </p:sp>
        <p:pic>
          <p:nvPicPr>
            <p:cNvPr id="201" name="Picture 3"/>
            <p:cNvPicPr>
              <a:picLocks noChangeAspect="1" noChangeArrowheads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aturation sat="66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63100" y="2938371"/>
              <a:ext cx="1200150" cy="1352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02" name="Gruppieren 201"/>
          <p:cNvGrpSpPr/>
          <p:nvPr/>
        </p:nvGrpSpPr>
        <p:grpSpPr>
          <a:xfrm>
            <a:off x="5936734" y="2556277"/>
            <a:ext cx="171417" cy="180005"/>
            <a:chOff x="9563100" y="2938371"/>
            <a:chExt cx="1200150" cy="135255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03" name="Ellipse 202"/>
            <p:cNvSpPr/>
            <p:nvPr/>
          </p:nvSpPr>
          <p:spPr bwMode="auto">
            <a:xfrm>
              <a:off x="9906000" y="3258485"/>
              <a:ext cx="609600" cy="62771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3200" b="1" i="0" u="none" strike="noStrike" cap="none" normalizeH="0" baseline="0">
                <a:ln>
                  <a:noFill/>
                </a:ln>
                <a:solidFill>
                  <a:srgbClr val="336699"/>
                </a:solidFill>
                <a:effectLst/>
                <a:latin typeface="Verdana" charset="0"/>
                <a:ea typeface="ＭＳ Ｐゴシック" charset="0"/>
                <a:cs typeface="Arial" charset="0"/>
              </a:endParaRPr>
            </a:p>
          </p:txBody>
        </p:sp>
        <p:pic>
          <p:nvPicPr>
            <p:cNvPr id="204" name="Picture 3"/>
            <p:cNvPicPr>
              <a:picLocks noChangeAspect="1" noChangeArrowheads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aturation sat="66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63100" y="2938371"/>
              <a:ext cx="1200150" cy="1352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05" name="Gruppieren 204"/>
          <p:cNvGrpSpPr/>
          <p:nvPr/>
        </p:nvGrpSpPr>
        <p:grpSpPr>
          <a:xfrm>
            <a:off x="6093279" y="2556277"/>
            <a:ext cx="171417" cy="180005"/>
            <a:chOff x="9563100" y="2938371"/>
            <a:chExt cx="1200150" cy="135255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06" name="Ellipse 205"/>
            <p:cNvSpPr/>
            <p:nvPr/>
          </p:nvSpPr>
          <p:spPr bwMode="auto">
            <a:xfrm>
              <a:off x="9906000" y="3258485"/>
              <a:ext cx="609600" cy="62771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3200" b="1" i="0" u="none" strike="noStrike" cap="none" normalizeH="0" baseline="0">
                <a:ln>
                  <a:noFill/>
                </a:ln>
                <a:solidFill>
                  <a:srgbClr val="336699"/>
                </a:solidFill>
                <a:effectLst/>
                <a:latin typeface="Verdana" charset="0"/>
                <a:ea typeface="ＭＳ Ｐゴシック" charset="0"/>
                <a:cs typeface="Arial" charset="0"/>
              </a:endParaRPr>
            </a:p>
          </p:txBody>
        </p:sp>
        <p:pic>
          <p:nvPicPr>
            <p:cNvPr id="207" name="Picture 3"/>
            <p:cNvPicPr>
              <a:picLocks noChangeAspect="1" noChangeArrowheads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aturation sat="66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63100" y="2938371"/>
              <a:ext cx="1200150" cy="1352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14" name="Gruppieren 213"/>
          <p:cNvGrpSpPr/>
          <p:nvPr/>
        </p:nvGrpSpPr>
        <p:grpSpPr>
          <a:xfrm>
            <a:off x="5930598" y="3337592"/>
            <a:ext cx="171417" cy="180005"/>
            <a:chOff x="9563100" y="2938371"/>
            <a:chExt cx="1200150" cy="135255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15" name="Ellipse 214"/>
            <p:cNvSpPr/>
            <p:nvPr/>
          </p:nvSpPr>
          <p:spPr bwMode="auto">
            <a:xfrm>
              <a:off x="9906000" y="3258485"/>
              <a:ext cx="609600" cy="62771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3200" b="1" i="0" u="none" strike="noStrike" cap="none" normalizeH="0" baseline="0">
                <a:ln>
                  <a:noFill/>
                </a:ln>
                <a:solidFill>
                  <a:srgbClr val="336699"/>
                </a:solidFill>
                <a:effectLst/>
                <a:latin typeface="Verdana" charset="0"/>
                <a:ea typeface="ＭＳ Ｐゴシック" charset="0"/>
                <a:cs typeface="Arial" charset="0"/>
              </a:endParaRPr>
            </a:p>
          </p:txBody>
        </p:sp>
        <p:pic>
          <p:nvPicPr>
            <p:cNvPr id="216" name="Picture 3"/>
            <p:cNvPicPr>
              <a:picLocks noChangeAspect="1" noChangeArrowheads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aturation sat="66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63100" y="2938371"/>
              <a:ext cx="1200150" cy="1352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17" name="Gruppieren 216"/>
          <p:cNvGrpSpPr/>
          <p:nvPr/>
        </p:nvGrpSpPr>
        <p:grpSpPr>
          <a:xfrm>
            <a:off x="6087143" y="3337592"/>
            <a:ext cx="171417" cy="180005"/>
            <a:chOff x="9563100" y="2938371"/>
            <a:chExt cx="1200150" cy="135255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18" name="Ellipse 217"/>
            <p:cNvSpPr/>
            <p:nvPr/>
          </p:nvSpPr>
          <p:spPr bwMode="auto">
            <a:xfrm>
              <a:off x="9906000" y="3258485"/>
              <a:ext cx="609600" cy="62771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3200" b="1" i="0" u="none" strike="noStrike" cap="none" normalizeH="0" baseline="0">
                <a:ln>
                  <a:noFill/>
                </a:ln>
                <a:solidFill>
                  <a:srgbClr val="336699"/>
                </a:solidFill>
                <a:effectLst/>
                <a:latin typeface="Verdana" charset="0"/>
                <a:ea typeface="ＭＳ Ｐゴシック" charset="0"/>
                <a:cs typeface="Arial" charset="0"/>
              </a:endParaRPr>
            </a:p>
          </p:txBody>
        </p:sp>
        <p:pic>
          <p:nvPicPr>
            <p:cNvPr id="219" name="Picture 3"/>
            <p:cNvPicPr>
              <a:picLocks noChangeAspect="1" noChangeArrowheads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aturation sat="66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63100" y="2938371"/>
              <a:ext cx="1200150" cy="1352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26" name="Gruppieren 225"/>
          <p:cNvGrpSpPr/>
          <p:nvPr/>
        </p:nvGrpSpPr>
        <p:grpSpPr>
          <a:xfrm>
            <a:off x="6002685" y="4308242"/>
            <a:ext cx="171417" cy="180005"/>
            <a:chOff x="9563100" y="2938371"/>
            <a:chExt cx="1200150" cy="135255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27" name="Ellipse 226"/>
            <p:cNvSpPr/>
            <p:nvPr/>
          </p:nvSpPr>
          <p:spPr bwMode="auto">
            <a:xfrm>
              <a:off x="9906000" y="3258485"/>
              <a:ext cx="609600" cy="62771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3200" b="1" i="0" u="none" strike="noStrike" cap="none" normalizeH="0" baseline="0">
                <a:ln>
                  <a:noFill/>
                </a:ln>
                <a:solidFill>
                  <a:srgbClr val="336699"/>
                </a:solidFill>
                <a:effectLst/>
                <a:latin typeface="Verdana" charset="0"/>
                <a:ea typeface="ＭＳ Ｐゴシック" charset="0"/>
                <a:cs typeface="Arial" charset="0"/>
              </a:endParaRPr>
            </a:p>
          </p:txBody>
        </p:sp>
        <p:pic>
          <p:nvPicPr>
            <p:cNvPr id="228" name="Picture 3"/>
            <p:cNvPicPr>
              <a:picLocks noChangeAspect="1" noChangeArrowheads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aturation sat="66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63100" y="2938371"/>
              <a:ext cx="1200150" cy="1352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3" name="Gruppieren 12"/>
          <p:cNvGrpSpPr/>
          <p:nvPr/>
        </p:nvGrpSpPr>
        <p:grpSpPr>
          <a:xfrm>
            <a:off x="6018533" y="4878612"/>
            <a:ext cx="152400" cy="175185"/>
            <a:chOff x="8237514" y="992186"/>
            <a:chExt cx="152400" cy="17518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234" name="Picture 5"/>
            <p:cNvPicPr>
              <a:picLocks noChangeAspect="1" noChangeArrowheads="1"/>
            </p:cNvPicPr>
            <p:nvPr/>
          </p:nvPicPr>
          <p:blipFill>
            <a:blip r:embed="rId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37514" y="992186"/>
              <a:ext cx="152400" cy="1751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33" name="Ellipse 232"/>
            <p:cNvSpPr/>
            <p:nvPr/>
          </p:nvSpPr>
          <p:spPr bwMode="auto">
            <a:xfrm>
              <a:off x="8265711" y="1019129"/>
              <a:ext cx="91155" cy="90976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de-DE" sz="800" dirty="0">
                  <a:solidFill>
                    <a:schemeClr val="bg1"/>
                  </a:solidFill>
                  <a:latin typeface="Verdana" charset="0"/>
                  <a:ea typeface="ＭＳ Ｐゴシック" charset="0"/>
                  <a:cs typeface="Arial" charset="0"/>
                </a:rPr>
                <a:t>0</a:t>
              </a:r>
              <a:endParaRPr kumimoji="0" lang="en-US" sz="8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Verdana" charset="0"/>
                <a:ea typeface="ＭＳ Ｐゴシック" charset="0"/>
                <a:cs typeface="Arial" charset="0"/>
              </a:endParaRPr>
            </a:p>
          </p:txBody>
        </p:sp>
      </p:grpSp>
      <p:grpSp>
        <p:nvGrpSpPr>
          <p:cNvPr id="238" name="Gruppieren 237"/>
          <p:cNvGrpSpPr/>
          <p:nvPr/>
        </p:nvGrpSpPr>
        <p:grpSpPr>
          <a:xfrm>
            <a:off x="6019941" y="5211301"/>
            <a:ext cx="152400" cy="175185"/>
            <a:chOff x="8237514" y="992186"/>
            <a:chExt cx="152400" cy="17518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239" name="Picture 5"/>
            <p:cNvPicPr>
              <a:picLocks noChangeAspect="1" noChangeArrowheads="1"/>
            </p:cNvPicPr>
            <p:nvPr/>
          </p:nvPicPr>
          <p:blipFill>
            <a:blip r:embed="rId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37514" y="992186"/>
              <a:ext cx="152400" cy="1751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40" name="Ellipse 239"/>
            <p:cNvSpPr/>
            <p:nvPr/>
          </p:nvSpPr>
          <p:spPr bwMode="auto">
            <a:xfrm>
              <a:off x="8265711" y="1019129"/>
              <a:ext cx="91155" cy="90976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de-DE" sz="800" dirty="0">
                  <a:solidFill>
                    <a:schemeClr val="bg1"/>
                  </a:solidFill>
                  <a:latin typeface="Verdana" charset="0"/>
                  <a:ea typeface="ＭＳ Ｐゴシック" charset="0"/>
                  <a:cs typeface="Arial" charset="0"/>
                </a:rPr>
                <a:t>0</a:t>
              </a:r>
              <a:endParaRPr kumimoji="0" lang="en-US" sz="8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Verdana" charset="0"/>
                <a:ea typeface="ＭＳ Ｐゴシック" charset="0"/>
                <a:cs typeface="Arial" charset="0"/>
              </a:endParaRPr>
            </a:p>
          </p:txBody>
        </p:sp>
      </p:grpSp>
      <p:grpSp>
        <p:nvGrpSpPr>
          <p:cNvPr id="241" name="Gruppieren 240"/>
          <p:cNvGrpSpPr/>
          <p:nvPr/>
        </p:nvGrpSpPr>
        <p:grpSpPr>
          <a:xfrm>
            <a:off x="6021379" y="5675241"/>
            <a:ext cx="152400" cy="175185"/>
            <a:chOff x="8237514" y="992186"/>
            <a:chExt cx="152400" cy="17518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242" name="Picture 5"/>
            <p:cNvPicPr>
              <a:picLocks noChangeAspect="1" noChangeArrowheads="1"/>
            </p:cNvPicPr>
            <p:nvPr/>
          </p:nvPicPr>
          <p:blipFill>
            <a:blip r:embed="rId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37514" y="992186"/>
              <a:ext cx="152400" cy="1751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43" name="Ellipse 242"/>
            <p:cNvSpPr/>
            <p:nvPr/>
          </p:nvSpPr>
          <p:spPr bwMode="auto">
            <a:xfrm>
              <a:off x="8265711" y="1019129"/>
              <a:ext cx="91155" cy="90976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de-DE" sz="800" dirty="0">
                  <a:solidFill>
                    <a:schemeClr val="bg1"/>
                  </a:solidFill>
                  <a:latin typeface="Verdana" charset="0"/>
                  <a:ea typeface="ＭＳ Ｐゴシック" charset="0"/>
                  <a:cs typeface="Arial" charset="0"/>
                </a:rPr>
                <a:t>0</a:t>
              </a:r>
              <a:endParaRPr kumimoji="0" lang="en-US" sz="8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Verdana" charset="0"/>
                <a:ea typeface="ＭＳ Ｐゴシック" charset="0"/>
                <a:cs typeface="Arial" charset="0"/>
              </a:endParaRPr>
            </a:p>
          </p:txBody>
        </p:sp>
      </p:grpSp>
      <p:grpSp>
        <p:nvGrpSpPr>
          <p:cNvPr id="244" name="Gruppieren 243"/>
          <p:cNvGrpSpPr/>
          <p:nvPr/>
        </p:nvGrpSpPr>
        <p:grpSpPr>
          <a:xfrm>
            <a:off x="6023108" y="6222263"/>
            <a:ext cx="152400" cy="175185"/>
            <a:chOff x="8237514" y="992186"/>
            <a:chExt cx="152400" cy="17518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245" name="Picture 5"/>
            <p:cNvPicPr>
              <a:picLocks noChangeAspect="1" noChangeArrowheads="1"/>
            </p:cNvPicPr>
            <p:nvPr/>
          </p:nvPicPr>
          <p:blipFill>
            <a:blip r:embed="rId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37514" y="992186"/>
              <a:ext cx="152400" cy="1751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46" name="Ellipse 245"/>
            <p:cNvSpPr/>
            <p:nvPr/>
          </p:nvSpPr>
          <p:spPr bwMode="auto">
            <a:xfrm>
              <a:off x="8265711" y="1019129"/>
              <a:ext cx="91155" cy="90976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de-DE" sz="800" dirty="0">
                  <a:solidFill>
                    <a:schemeClr val="bg1"/>
                  </a:solidFill>
                  <a:latin typeface="Verdana" charset="0"/>
                  <a:ea typeface="ＭＳ Ｐゴシック" charset="0"/>
                  <a:cs typeface="Arial" charset="0"/>
                </a:rPr>
                <a:t>0</a:t>
              </a:r>
              <a:endParaRPr kumimoji="0" lang="en-US" sz="8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Verdana" charset="0"/>
                <a:ea typeface="ＭＳ Ｐゴシック" charset="0"/>
                <a:cs typeface="Arial" charset="0"/>
              </a:endParaRPr>
            </a:p>
          </p:txBody>
        </p:sp>
      </p:grpSp>
      <p:grpSp>
        <p:nvGrpSpPr>
          <p:cNvPr id="247" name="Gruppieren 246"/>
          <p:cNvGrpSpPr/>
          <p:nvPr/>
        </p:nvGrpSpPr>
        <p:grpSpPr>
          <a:xfrm>
            <a:off x="7348185" y="2556113"/>
            <a:ext cx="171417" cy="180005"/>
            <a:chOff x="9563100" y="2938371"/>
            <a:chExt cx="1200150" cy="135255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48" name="Ellipse 247"/>
            <p:cNvSpPr/>
            <p:nvPr/>
          </p:nvSpPr>
          <p:spPr bwMode="auto">
            <a:xfrm>
              <a:off x="9906000" y="3258485"/>
              <a:ext cx="609600" cy="62771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3200" b="1" i="0" u="none" strike="noStrike" cap="none" normalizeH="0" baseline="0">
                <a:ln>
                  <a:noFill/>
                </a:ln>
                <a:solidFill>
                  <a:srgbClr val="336699"/>
                </a:solidFill>
                <a:effectLst/>
                <a:latin typeface="Verdana" charset="0"/>
                <a:ea typeface="ＭＳ Ｐゴシック" charset="0"/>
                <a:cs typeface="Arial" charset="0"/>
              </a:endParaRPr>
            </a:p>
          </p:txBody>
        </p:sp>
        <p:pic>
          <p:nvPicPr>
            <p:cNvPr id="249" name="Picture 3"/>
            <p:cNvPicPr>
              <a:picLocks noChangeAspect="1" noChangeArrowheads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aturation sat="66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63100" y="2938371"/>
              <a:ext cx="1200150" cy="1352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59" name="Gruppieren 258"/>
          <p:cNvGrpSpPr/>
          <p:nvPr/>
        </p:nvGrpSpPr>
        <p:grpSpPr>
          <a:xfrm>
            <a:off x="7261839" y="3337428"/>
            <a:ext cx="171417" cy="180005"/>
            <a:chOff x="9563100" y="2938371"/>
            <a:chExt cx="1200150" cy="135255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60" name="Ellipse 259"/>
            <p:cNvSpPr/>
            <p:nvPr/>
          </p:nvSpPr>
          <p:spPr bwMode="auto">
            <a:xfrm>
              <a:off x="9906000" y="3258485"/>
              <a:ext cx="609600" cy="62771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3200" b="1" i="0" u="none" strike="noStrike" cap="none" normalizeH="0" baseline="0">
                <a:ln>
                  <a:noFill/>
                </a:ln>
                <a:solidFill>
                  <a:srgbClr val="336699"/>
                </a:solidFill>
                <a:effectLst/>
                <a:latin typeface="Verdana" charset="0"/>
                <a:ea typeface="ＭＳ Ｐゴシック" charset="0"/>
                <a:cs typeface="Arial" charset="0"/>
              </a:endParaRPr>
            </a:p>
          </p:txBody>
        </p:sp>
        <p:pic>
          <p:nvPicPr>
            <p:cNvPr id="261" name="Picture 3"/>
            <p:cNvPicPr>
              <a:picLocks noChangeAspect="1" noChangeArrowheads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aturation sat="66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63100" y="2938371"/>
              <a:ext cx="1200150" cy="1352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62" name="Gruppieren 261"/>
          <p:cNvGrpSpPr/>
          <p:nvPr/>
        </p:nvGrpSpPr>
        <p:grpSpPr>
          <a:xfrm>
            <a:off x="7418384" y="3337428"/>
            <a:ext cx="171417" cy="180005"/>
            <a:chOff x="9563100" y="2938371"/>
            <a:chExt cx="1200150" cy="135255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63" name="Ellipse 262"/>
            <p:cNvSpPr/>
            <p:nvPr/>
          </p:nvSpPr>
          <p:spPr bwMode="auto">
            <a:xfrm>
              <a:off x="9906000" y="3258485"/>
              <a:ext cx="609600" cy="62771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3200" b="1" i="0" u="none" strike="noStrike" cap="none" normalizeH="0" baseline="0">
                <a:ln>
                  <a:noFill/>
                </a:ln>
                <a:solidFill>
                  <a:srgbClr val="336699"/>
                </a:solidFill>
                <a:effectLst/>
                <a:latin typeface="Verdana" charset="0"/>
                <a:ea typeface="ＭＳ Ｐゴシック" charset="0"/>
                <a:cs typeface="Arial" charset="0"/>
              </a:endParaRPr>
            </a:p>
          </p:txBody>
        </p:sp>
        <p:pic>
          <p:nvPicPr>
            <p:cNvPr id="264" name="Picture 3"/>
            <p:cNvPicPr>
              <a:picLocks noChangeAspect="1" noChangeArrowheads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aturation sat="66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63100" y="2938371"/>
              <a:ext cx="1200150" cy="1352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71" name="Gruppieren 270"/>
          <p:cNvGrpSpPr/>
          <p:nvPr/>
        </p:nvGrpSpPr>
        <p:grpSpPr>
          <a:xfrm>
            <a:off x="7333926" y="4308078"/>
            <a:ext cx="171417" cy="180005"/>
            <a:chOff x="9563100" y="2938371"/>
            <a:chExt cx="1200150" cy="135255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72" name="Ellipse 271"/>
            <p:cNvSpPr/>
            <p:nvPr/>
          </p:nvSpPr>
          <p:spPr bwMode="auto">
            <a:xfrm>
              <a:off x="9906000" y="3258485"/>
              <a:ext cx="609600" cy="62771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3200" b="1" i="0" u="none" strike="noStrike" cap="none" normalizeH="0" baseline="0">
                <a:ln>
                  <a:noFill/>
                </a:ln>
                <a:solidFill>
                  <a:srgbClr val="336699"/>
                </a:solidFill>
                <a:effectLst/>
                <a:latin typeface="Verdana" charset="0"/>
                <a:ea typeface="ＭＳ Ｐゴシック" charset="0"/>
                <a:cs typeface="Arial" charset="0"/>
              </a:endParaRPr>
            </a:p>
          </p:txBody>
        </p:sp>
        <p:pic>
          <p:nvPicPr>
            <p:cNvPr id="273" name="Picture 3"/>
            <p:cNvPicPr>
              <a:picLocks noChangeAspect="1" noChangeArrowheads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aturation sat="66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63100" y="2938371"/>
              <a:ext cx="1200150" cy="1352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74" name="Gruppieren 273"/>
          <p:cNvGrpSpPr/>
          <p:nvPr/>
        </p:nvGrpSpPr>
        <p:grpSpPr>
          <a:xfrm>
            <a:off x="7349774" y="4878448"/>
            <a:ext cx="152400" cy="175185"/>
            <a:chOff x="8237514" y="992186"/>
            <a:chExt cx="152400" cy="17518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275" name="Picture 5"/>
            <p:cNvPicPr>
              <a:picLocks noChangeAspect="1" noChangeArrowheads="1"/>
            </p:cNvPicPr>
            <p:nvPr/>
          </p:nvPicPr>
          <p:blipFill>
            <a:blip r:embed="rId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37514" y="992186"/>
              <a:ext cx="152400" cy="1751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76" name="Ellipse 275"/>
            <p:cNvSpPr/>
            <p:nvPr/>
          </p:nvSpPr>
          <p:spPr bwMode="auto">
            <a:xfrm>
              <a:off x="8265711" y="1019129"/>
              <a:ext cx="91155" cy="90976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de-DE" sz="800" dirty="0">
                  <a:solidFill>
                    <a:schemeClr val="bg1"/>
                  </a:solidFill>
                  <a:latin typeface="Verdana" charset="0"/>
                  <a:ea typeface="ＭＳ Ｐゴシック" charset="0"/>
                  <a:cs typeface="Arial" charset="0"/>
                </a:rPr>
                <a:t>0</a:t>
              </a:r>
              <a:endParaRPr kumimoji="0" lang="en-US" sz="8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Verdana" charset="0"/>
                <a:ea typeface="ＭＳ Ｐゴシック" charset="0"/>
                <a:cs typeface="Arial" charset="0"/>
              </a:endParaRPr>
            </a:p>
          </p:txBody>
        </p:sp>
      </p:grpSp>
      <p:grpSp>
        <p:nvGrpSpPr>
          <p:cNvPr id="277" name="Gruppieren 276"/>
          <p:cNvGrpSpPr/>
          <p:nvPr/>
        </p:nvGrpSpPr>
        <p:grpSpPr>
          <a:xfrm>
            <a:off x="7351182" y="5211137"/>
            <a:ext cx="152400" cy="175185"/>
            <a:chOff x="8237514" y="992186"/>
            <a:chExt cx="152400" cy="17518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278" name="Picture 5"/>
            <p:cNvPicPr>
              <a:picLocks noChangeAspect="1" noChangeArrowheads="1"/>
            </p:cNvPicPr>
            <p:nvPr/>
          </p:nvPicPr>
          <p:blipFill>
            <a:blip r:embed="rId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37514" y="992186"/>
              <a:ext cx="152400" cy="1751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79" name="Ellipse 278"/>
            <p:cNvSpPr/>
            <p:nvPr/>
          </p:nvSpPr>
          <p:spPr bwMode="auto">
            <a:xfrm>
              <a:off x="8265711" y="1019129"/>
              <a:ext cx="91155" cy="90976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de-DE" sz="800" dirty="0">
                  <a:solidFill>
                    <a:schemeClr val="bg1"/>
                  </a:solidFill>
                  <a:latin typeface="Verdana" charset="0"/>
                  <a:ea typeface="ＭＳ Ｐゴシック" charset="0"/>
                  <a:cs typeface="Arial" charset="0"/>
                </a:rPr>
                <a:t>0</a:t>
              </a:r>
              <a:endParaRPr kumimoji="0" lang="en-US" sz="8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Verdana" charset="0"/>
                <a:ea typeface="ＭＳ Ｐゴシック" charset="0"/>
                <a:cs typeface="Arial" charset="0"/>
              </a:endParaRPr>
            </a:p>
          </p:txBody>
        </p:sp>
      </p:grpSp>
      <p:grpSp>
        <p:nvGrpSpPr>
          <p:cNvPr id="280" name="Gruppieren 279"/>
          <p:cNvGrpSpPr/>
          <p:nvPr/>
        </p:nvGrpSpPr>
        <p:grpSpPr>
          <a:xfrm>
            <a:off x="7352620" y="5675077"/>
            <a:ext cx="152400" cy="175185"/>
            <a:chOff x="8237514" y="992186"/>
            <a:chExt cx="152400" cy="17518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281" name="Picture 5"/>
            <p:cNvPicPr>
              <a:picLocks noChangeAspect="1" noChangeArrowheads="1"/>
            </p:cNvPicPr>
            <p:nvPr/>
          </p:nvPicPr>
          <p:blipFill>
            <a:blip r:embed="rId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37514" y="992186"/>
              <a:ext cx="152400" cy="1751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82" name="Ellipse 281"/>
            <p:cNvSpPr/>
            <p:nvPr/>
          </p:nvSpPr>
          <p:spPr bwMode="auto">
            <a:xfrm>
              <a:off x="8265711" y="1019129"/>
              <a:ext cx="91155" cy="90976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de-DE" sz="800" dirty="0">
                  <a:solidFill>
                    <a:schemeClr val="bg1"/>
                  </a:solidFill>
                  <a:latin typeface="Verdana" charset="0"/>
                  <a:ea typeface="ＭＳ Ｐゴシック" charset="0"/>
                  <a:cs typeface="Arial" charset="0"/>
                </a:rPr>
                <a:t>0</a:t>
              </a:r>
              <a:endParaRPr kumimoji="0" lang="en-US" sz="8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Verdana" charset="0"/>
                <a:ea typeface="ＭＳ Ｐゴシック" charset="0"/>
                <a:cs typeface="Arial" charset="0"/>
              </a:endParaRPr>
            </a:p>
          </p:txBody>
        </p:sp>
      </p:grpSp>
      <p:grpSp>
        <p:nvGrpSpPr>
          <p:cNvPr id="283" name="Gruppieren 282"/>
          <p:cNvGrpSpPr/>
          <p:nvPr/>
        </p:nvGrpSpPr>
        <p:grpSpPr>
          <a:xfrm>
            <a:off x="7354349" y="6222099"/>
            <a:ext cx="152400" cy="175185"/>
            <a:chOff x="8237514" y="992186"/>
            <a:chExt cx="152400" cy="17518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284" name="Picture 5"/>
            <p:cNvPicPr>
              <a:picLocks noChangeAspect="1" noChangeArrowheads="1"/>
            </p:cNvPicPr>
            <p:nvPr/>
          </p:nvPicPr>
          <p:blipFill>
            <a:blip r:embed="rId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37514" y="992186"/>
              <a:ext cx="152400" cy="1751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85" name="Ellipse 284"/>
            <p:cNvSpPr/>
            <p:nvPr/>
          </p:nvSpPr>
          <p:spPr bwMode="auto">
            <a:xfrm>
              <a:off x="8265711" y="1019129"/>
              <a:ext cx="91155" cy="90976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de-DE" sz="800" dirty="0">
                  <a:solidFill>
                    <a:schemeClr val="bg1"/>
                  </a:solidFill>
                  <a:latin typeface="Verdana" charset="0"/>
                  <a:ea typeface="ＭＳ Ｐゴシック" charset="0"/>
                  <a:cs typeface="Arial" charset="0"/>
                </a:rPr>
                <a:t>0</a:t>
              </a:r>
              <a:endParaRPr kumimoji="0" lang="en-US" sz="8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Verdana" charset="0"/>
                <a:ea typeface="ＭＳ Ｐゴシック" charset="0"/>
                <a:cs typeface="Arial" charset="0"/>
              </a:endParaRPr>
            </a:p>
          </p:txBody>
        </p:sp>
      </p:grpSp>
      <p:grpSp>
        <p:nvGrpSpPr>
          <p:cNvPr id="286" name="Gruppieren 285"/>
          <p:cNvGrpSpPr/>
          <p:nvPr/>
        </p:nvGrpSpPr>
        <p:grpSpPr>
          <a:xfrm>
            <a:off x="8766892" y="4875110"/>
            <a:ext cx="152400" cy="175185"/>
            <a:chOff x="8237514" y="992186"/>
            <a:chExt cx="152400" cy="17518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287" name="Picture 5"/>
            <p:cNvPicPr>
              <a:picLocks noChangeAspect="1" noChangeArrowheads="1"/>
            </p:cNvPicPr>
            <p:nvPr/>
          </p:nvPicPr>
          <p:blipFill>
            <a:blip r:embed="rId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37514" y="992186"/>
              <a:ext cx="152400" cy="1751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88" name="Ellipse 287"/>
            <p:cNvSpPr/>
            <p:nvPr/>
          </p:nvSpPr>
          <p:spPr bwMode="auto">
            <a:xfrm>
              <a:off x="8265711" y="1019129"/>
              <a:ext cx="91155" cy="90976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de-DE" sz="800" dirty="0">
                  <a:solidFill>
                    <a:schemeClr val="bg1"/>
                  </a:solidFill>
                  <a:latin typeface="Verdana" charset="0"/>
                  <a:ea typeface="ＭＳ Ｐゴシック" charset="0"/>
                  <a:cs typeface="Arial" charset="0"/>
                </a:rPr>
                <a:t>0</a:t>
              </a:r>
              <a:endParaRPr kumimoji="0" lang="en-US" sz="8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Verdana" charset="0"/>
                <a:ea typeface="ＭＳ Ｐゴシック" charset="0"/>
                <a:cs typeface="Arial" charset="0"/>
              </a:endParaRPr>
            </a:p>
          </p:txBody>
        </p:sp>
      </p:grpSp>
      <p:grpSp>
        <p:nvGrpSpPr>
          <p:cNvPr id="289" name="Gruppieren 288"/>
          <p:cNvGrpSpPr/>
          <p:nvPr/>
        </p:nvGrpSpPr>
        <p:grpSpPr>
          <a:xfrm>
            <a:off x="8759833" y="5207799"/>
            <a:ext cx="152400" cy="175185"/>
            <a:chOff x="8237514" y="992186"/>
            <a:chExt cx="152400" cy="17518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290" name="Picture 5"/>
            <p:cNvPicPr>
              <a:picLocks noChangeAspect="1" noChangeArrowheads="1"/>
            </p:cNvPicPr>
            <p:nvPr/>
          </p:nvPicPr>
          <p:blipFill>
            <a:blip r:embed="rId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37514" y="992186"/>
              <a:ext cx="152400" cy="1751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91" name="Ellipse 290"/>
            <p:cNvSpPr/>
            <p:nvPr/>
          </p:nvSpPr>
          <p:spPr bwMode="auto">
            <a:xfrm>
              <a:off x="8265711" y="1019129"/>
              <a:ext cx="91155" cy="90976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de-DE" sz="800" dirty="0">
                  <a:solidFill>
                    <a:schemeClr val="bg1"/>
                  </a:solidFill>
                  <a:latin typeface="Verdana" charset="0"/>
                  <a:ea typeface="ＭＳ Ｐゴシック" charset="0"/>
                  <a:cs typeface="Arial" charset="0"/>
                </a:rPr>
                <a:t>0</a:t>
              </a:r>
              <a:endParaRPr kumimoji="0" lang="en-US" sz="8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Verdana" charset="0"/>
                <a:ea typeface="ＭＳ Ｐゴシック" charset="0"/>
                <a:cs typeface="Arial" charset="0"/>
              </a:endParaRPr>
            </a:p>
          </p:txBody>
        </p:sp>
      </p:grpSp>
      <p:grpSp>
        <p:nvGrpSpPr>
          <p:cNvPr id="292" name="Gruppieren 291"/>
          <p:cNvGrpSpPr/>
          <p:nvPr/>
        </p:nvGrpSpPr>
        <p:grpSpPr>
          <a:xfrm>
            <a:off x="8761271" y="5671739"/>
            <a:ext cx="152400" cy="175185"/>
            <a:chOff x="8237514" y="992186"/>
            <a:chExt cx="152400" cy="17518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293" name="Picture 5"/>
            <p:cNvPicPr>
              <a:picLocks noChangeAspect="1" noChangeArrowheads="1"/>
            </p:cNvPicPr>
            <p:nvPr/>
          </p:nvPicPr>
          <p:blipFill>
            <a:blip r:embed="rId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37514" y="992186"/>
              <a:ext cx="152400" cy="1751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94" name="Ellipse 293"/>
            <p:cNvSpPr/>
            <p:nvPr/>
          </p:nvSpPr>
          <p:spPr bwMode="auto">
            <a:xfrm>
              <a:off x="8265711" y="1019129"/>
              <a:ext cx="91155" cy="90976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de-DE" sz="800" dirty="0">
                  <a:solidFill>
                    <a:schemeClr val="bg1"/>
                  </a:solidFill>
                  <a:latin typeface="Verdana" charset="0"/>
                  <a:ea typeface="ＭＳ Ｐゴシック" charset="0"/>
                  <a:cs typeface="Arial" charset="0"/>
                </a:rPr>
                <a:t>0</a:t>
              </a:r>
              <a:endParaRPr kumimoji="0" lang="en-US" sz="8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Verdana" charset="0"/>
                <a:ea typeface="ＭＳ Ｐゴシック" charset="0"/>
                <a:cs typeface="Arial" charset="0"/>
              </a:endParaRPr>
            </a:p>
          </p:txBody>
        </p:sp>
      </p:grpSp>
      <p:grpSp>
        <p:nvGrpSpPr>
          <p:cNvPr id="295" name="Gruppieren 294"/>
          <p:cNvGrpSpPr/>
          <p:nvPr/>
        </p:nvGrpSpPr>
        <p:grpSpPr>
          <a:xfrm>
            <a:off x="8763000" y="6218761"/>
            <a:ext cx="152400" cy="175185"/>
            <a:chOff x="8237514" y="992186"/>
            <a:chExt cx="152400" cy="17518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296" name="Picture 5"/>
            <p:cNvPicPr>
              <a:picLocks noChangeAspect="1" noChangeArrowheads="1"/>
            </p:cNvPicPr>
            <p:nvPr/>
          </p:nvPicPr>
          <p:blipFill>
            <a:blip r:embed="rId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37514" y="992186"/>
              <a:ext cx="152400" cy="1751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97" name="Ellipse 296"/>
            <p:cNvSpPr/>
            <p:nvPr/>
          </p:nvSpPr>
          <p:spPr bwMode="auto">
            <a:xfrm>
              <a:off x="8265711" y="1019129"/>
              <a:ext cx="91155" cy="90976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de-DE" sz="800" dirty="0">
                  <a:solidFill>
                    <a:schemeClr val="bg1"/>
                  </a:solidFill>
                  <a:latin typeface="Verdana" charset="0"/>
                  <a:ea typeface="ＭＳ Ｐゴシック" charset="0"/>
                  <a:cs typeface="Arial" charset="0"/>
                </a:rPr>
                <a:t>0</a:t>
              </a:r>
              <a:endParaRPr kumimoji="0" lang="en-US" sz="8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Verdana" charset="0"/>
                <a:ea typeface="ＭＳ Ｐゴシック" charset="0"/>
                <a:cs typeface="Arial" charset="0"/>
              </a:endParaRPr>
            </a:p>
          </p:txBody>
        </p:sp>
      </p:grpSp>
      <p:grpSp>
        <p:nvGrpSpPr>
          <p:cNvPr id="298" name="Gruppieren 297"/>
          <p:cNvGrpSpPr/>
          <p:nvPr/>
        </p:nvGrpSpPr>
        <p:grpSpPr>
          <a:xfrm>
            <a:off x="8758845" y="2561097"/>
            <a:ext cx="152400" cy="175185"/>
            <a:chOff x="8237514" y="992186"/>
            <a:chExt cx="152400" cy="17518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299" name="Picture 5"/>
            <p:cNvPicPr>
              <a:picLocks noChangeAspect="1" noChangeArrowheads="1"/>
            </p:cNvPicPr>
            <p:nvPr/>
          </p:nvPicPr>
          <p:blipFill>
            <a:blip r:embed="rId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37514" y="992186"/>
              <a:ext cx="152400" cy="1751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00" name="Ellipse 299"/>
            <p:cNvSpPr/>
            <p:nvPr/>
          </p:nvSpPr>
          <p:spPr bwMode="auto">
            <a:xfrm>
              <a:off x="8265711" y="1019129"/>
              <a:ext cx="91155" cy="90976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de-DE" sz="800" dirty="0">
                  <a:solidFill>
                    <a:schemeClr val="bg1"/>
                  </a:solidFill>
                  <a:latin typeface="Verdana" charset="0"/>
                  <a:ea typeface="ＭＳ Ｐゴシック" charset="0"/>
                  <a:cs typeface="Arial" charset="0"/>
                </a:rPr>
                <a:t>0</a:t>
              </a:r>
              <a:endParaRPr kumimoji="0" lang="en-US" sz="8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Verdana" charset="0"/>
                <a:ea typeface="ＭＳ Ｐゴシック" charset="0"/>
                <a:cs typeface="Arial" charset="0"/>
              </a:endParaRPr>
            </a:p>
          </p:txBody>
        </p:sp>
      </p:grpSp>
      <p:grpSp>
        <p:nvGrpSpPr>
          <p:cNvPr id="304" name="Gruppieren 303"/>
          <p:cNvGrpSpPr/>
          <p:nvPr/>
        </p:nvGrpSpPr>
        <p:grpSpPr>
          <a:xfrm>
            <a:off x="8769856" y="3239617"/>
            <a:ext cx="152400" cy="175185"/>
            <a:chOff x="8237514" y="992186"/>
            <a:chExt cx="152400" cy="17518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305" name="Picture 5"/>
            <p:cNvPicPr>
              <a:picLocks noChangeAspect="1" noChangeArrowheads="1"/>
            </p:cNvPicPr>
            <p:nvPr/>
          </p:nvPicPr>
          <p:blipFill>
            <a:blip r:embed="rId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37514" y="992186"/>
              <a:ext cx="152400" cy="1751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06" name="Ellipse 305"/>
            <p:cNvSpPr/>
            <p:nvPr/>
          </p:nvSpPr>
          <p:spPr bwMode="auto">
            <a:xfrm>
              <a:off x="8265711" y="1019129"/>
              <a:ext cx="91155" cy="90976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de-DE" sz="800" dirty="0">
                  <a:solidFill>
                    <a:schemeClr val="bg1"/>
                  </a:solidFill>
                  <a:latin typeface="Verdana" charset="0"/>
                  <a:ea typeface="ＭＳ Ｐゴシック" charset="0"/>
                  <a:cs typeface="Arial" charset="0"/>
                </a:rPr>
                <a:t>0</a:t>
              </a:r>
              <a:endParaRPr kumimoji="0" lang="en-US" sz="8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Verdana" charset="0"/>
                <a:ea typeface="ＭＳ Ｐゴシック" charset="0"/>
                <a:cs typeface="Arial" charset="0"/>
              </a:endParaRPr>
            </a:p>
          </p:txBody>
        </p:sp>
      </p:grpSp>
      <p:grpSp>
        <p:nvGrpSpPr>
          <p:cNvPr id="310" name="Gruppieren 309"/>
          <p:cNvGrpSpPr/>
          <p:nvPr/>
        </p:nvGrpSpPr>
        <p:grpSpPr>
          <a:xfrm>
            <a:off x="8722895" y="4293583"/>
            <a:ext cx="171417" cy="180005"/>
            <a:chOff x="9563100" y="2938371"/>
            <a:chExt cx="1200150" cy="135255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311" name="Ellipse 310"/>
            <p:cNvSpPr/>
            <p:nvPr/>
          </p:nvSpPr>
          <p:spPr bwMode="auto">
            <a:xfrm>
              <a:off x="9906000" y="3258485"/>
              <a:ext cx="609600" cy="62771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3200" b="1" i="0" u="none" strike="noStrike" cap="none" normalizeH="0" baseline="0">
                <a:ln>
                  <a:noFill/>
                </a:ln>
                <a:solidFill>
                  <a:srgbClr val="336699"/>
                </a:solidFill>
                <a:effectLst/>
                <a:latin typeface="Verdana" charset="0"/>
                <a:ea typeface="ＭＳ Ｐゴシック" charset="0"/>
                <a:cs typeface="Arial" charset="0"/>
              </a:endParaRPr>
            </a:p>
          </p:txBody>
        </p:sp>
        <p:pic>
          <p:nvPicPr>
            <p:cNvPr id="312" name="Picture 3"/>
            <p:cNvPicPr>
              <a:picLocks noChangeAspect="1" noChangeArrowheads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aturation sat="66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63100" y="2938371"/>
              <a:ext cx="1200150" cy="1352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5" name="Textfeld 14"/>
          <p:cNvSpPr txBox="1"/>
          <p:nvPr/>
        </p:nvSpPr>
        <p:spPr>
          <a:xfrm>
            <a:off x="3880899" y="6460275"/>
            <a:ext cx="84350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/>
              <a:t>∑ = 12</a:t>
            </a:r>
          </a:p>
        </p:txBody>
      </p:sp>
      <p:sp>
        <p:nvSpPr>
          <p:cNvPr id="313" name="Textfeld 312"/>
          <p:cNvSpPr txBox="1"/>
          <p:nvPr/>
        </p:nvSpPr>
        <p:spPr>
          <a:xfrm>
            <a:off x="5304540" y="6468090"/>
            <a:ext cx="84350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/>
              <a:t>∑ = 12</a:t>
            </a:r>
          </a:p>
        </p:txBody>
      </p:sp>
      <p:sp>
        <p:nvSpPr>
          <p:cNvPr id="314" name="Textfeld 313"/>
          <p:cNvSpPr txBox="1"/>
          <p:nvPr/>
        </p:nvSpPr>
        <p:spPr>
          <a:xfrm>
            <a:off x="6676140" y="6468090"/>
            <a:ext cx="71526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/>
              <a:t>∑ = 8</a:t>
            </a:r>
          </a:p>
        </p:txBody>
      </p:sp>
      <p:sp>
        <p:nvSpPr>
          <p:cNvPr id="315" name="Textfeld 314"/>
          <p:cNvSpPr txBox="1"/>
          <p:nvPr/>
        </p:nvSpPr>
        <p:spPr>
          <a:xfrm>
            <a:off x="7956084" y="6469784"/>
            <a:ext cx="71526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/>
              <a:t>∑ = 2</a:t>
            </a:r>
          </a:p>
        </p:txBody>
      </p:sp>
      <p:grpSp>
        <p:nvGrpSpPr>
          <p:cNvPr id="316" name="Gruppieren 315"/>
          <p:cNvGrpSpPr/>
          <p:nvPr/>
        </p:nvGrpSpPr>
        <p:grpSpPr>
          <a:xfrm>
            <a:off x="5201897" y="6533678"/>
            <a:ext cx="171417" cy="180005"/>
            <a:chOff x="9563100" y="2938371"/>
            <a:chExt cx="1200150" cy="135255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317" name="Ellipse 316"/>
            <p:cNvSpPr/>
            <p:nvPr/>
          </p:nvSpPr>
          <p:spPr bwMode="auto">
            <a:xfrm>
              <a:off x="9906000" y="3258485"/>
              <a:ext cx="609600" cy="62771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3200" b="1" i="0" u="none" strike="noStrike" cap="none" normalizeH="0" baseline="0">
                <a:ln>
                  <a:noFill/>
                </a:ln>
                <a:solidFill>
                  <a:srgbClr val="336699"/>
                </a:solidFill>
                <a:effectLst/>
                <a:latin typeface="Verdana" charset="0"/>
                <a:ea typeface="ＭＳ Ｐゴシック" charset="0"/>
                <a:cs typeface="Arial" charset="0"/>
              </a:endParaRPr>
            </a:p>
          </p:txBody>
        </p:sp>
        <p:pic>
          <p:nvPicPr>
            <p:cNvPr id="318" name="Picture 3"/>
            <p:cNvPicPr>
              <a:picLocks noChangeAspect="1" noChangeArrowheads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aturation sat="66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63100" y="2938371"/>
              <a:ext cx="1200150" cy="1352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319" name="Gruppieren 318"/>
          <p:cNvGrpSpPr/>
          <p:nvPr/>
        </p:nvGrpSpPr>
        <p:grpSpPr>
          <a:xfrm>
            <a:off x="6568749" y="6540092"/>
            <a:ext cx="171417" cy="180005"/>
            <a:chOff x="9563100" y="2938371"/>
            <a:chExt cx="1200150" cy="135255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320" name="Ellipse 319"/>
            <p:cNvSpPr/>
            <p:nvPr/>
          </p:nvSpPr>
          <p:spPr bwMode="auto">
            <a:xfrm>
              <a:off x="9906000" y="3258485"/>
              <a:ext cx="609600" cy="62771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3200" b="1" i="0" u="none" strike="noStrike" cap="none" normalizeH="0" baseline="0">
                <a:ln>
                  <a:noFill/>
                </a:ln>
                <a:solidFill>
                  <a:srgbClr val="336699"/>
                </a:solidFill>
                <a:effectLst/>
                <a:latin typeface="Verdana" charset="0"/>
                <a:ea typeface="ＭＳ Ｐゴシック" charset="0"/>
                <a:cs typeface="Arial" charset="0"/>
              </a:endParaRPr>
            </a:p>
          </p:txBody>
        </p:sp>
        <p:pic>
          <p:nvPicPr>
            <p:cNvPr id="321" name="Picture 3"/>
            <p:cNvPicPr>
              <a:picLocks noChangeAspect="1" noChangeArrowheads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aturation sat="66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63100" y="2938371"/>
              <a:ext cx="1200150" cy="1352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322" name="Gruppieren 321"/>
          <p:cNvGrpSpPr/>
          <p:nvPr/>
        </p:nvGrpSpPr>
        <p:grpSpPr>
          <a:xfrm>
            <a:off x="7845616" y="6548559"/>
            <a:ext cx="171417" cy="180005"/>
            <a:chOff x="9563100" y="2938371"/>
            <a:chExt cx="1200150" cy="135255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323" name="Ellipse 322"/>
            <p:cNvSpPr/>
            <p:nvPr/>
          </p:nvSpPr>
          <p:spPr bwMode="auto">
            <a:xfrm>
              <a:off x="9906000" y="3258485"/>
              <a:ext cx="609600" cy="62771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3200" b="1" i="0" u="none" strike="noStrike" cap="none" normalizeH="0" baseline="0">
                <a:ln>
                  <a:noFill/>
                </a:ln>
                <a:solidFill>
                  <a:srgbClr val="336699"/>
                </a:solidFill>
                <a:effectLst/>
                <a:latin typeface="Verdana" charset="0"/>
                <a:ea typeface="ＭＳ Ｐゴシック" charset="0"/>
                <a:cs typeface="Arial" charset="0"/>
              </a:endParaRPr>
            </a:p>
          </p:txBody>
        </p:sp>
        <p:pic>
          <p:nvPicPr>
            <p:cNvPr id="324" name="Picture 3"/>
            <p:cNvPicPr>
              <a:picLocks noChangeAspect="1" noChangeArrowheads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aturation sat="66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63100" y="2938371"/>
              <a:ext cx="1200150" cy="1352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325" name="Gruppieren 324"/>
          <p:cNvGrpSpPr/>
          <p:nvPr/>
        </p:nvGrpSpPr>
        <p:grpSpPr>
          <a:xfrm>
            <a:off x="8548039" y="4292868"/>
            <a:ext cx="171417" cy="180005"/>
            <a:chOff x="9563100" y="2938371"/>
            <a:chExt cx="1200150" cy="135255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326" name="Ellipse 325"/>
            <p:cNvSpPr/>
            <p:nvPr/>
          </p:nvSpPr>
          <p:spPr bwMode="auto">
            <a:xfrm>
              <a:off x="9906000" y="3258485"/>
              <a:ext cx="609600" cy="62771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3200" b="1" i="0" u="none" strike="noStrike" cap="none" normalizeH="0" baseline="0">
                <a:ln>
                  <a:noFill/>
                </a:ln>
                <a:solidFill>
                  <a:srgbClr val="336699"/>
                </a:solidFill>
                <a:effectLst/>
                <a:latin typeface="Verdana" charset="0"/>
                <a:ea typeface="ＭＳ Ｐゴシック" charset="0"/>
                <a:cs typeface="Arial" charset="0"/>
              </a:endParaRPr>
            </a:p>
          </p:txBody>
        </p:sp>
        <p:pic>
          <p:nvPicPr>
            <p:cNvPr id="327" name="Picture 3"/>
            <p:cNvPicPr>
              <a:picLocks noChangeAspect="1" noChangeArrowheads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aturation sat="66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63100" y="2938371"/>
              <a:ext cx="1200150" cy="1352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328" name="Gruppieren 327"/>
          <p:cNvGrpSpPr/>
          <p:nvPr/>
        </p:nvGrpSpPr>
        <p:grpSpPr>
          <a:xfrm>
            <a:off x="7168392" y="4302612"/>
            <a:ext cx="171417" cy="180005"/>
            <a:chOff x="9563100" y="2938371"/>
            <a:chExt cx="1200150" cy="135255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329" name="Ellipse 328"/>
            <p:cNvSpPr/>
            <p:nvPr/>
          </p:nvSpPr>
          <p:spPr bwMode="auto">
            <a:xfrm>
              <a:off x="9906000" y="3258485"/>
              <a:ext cx="609600" cy="62771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3200" b="1" i="0" u="none" strike="noStrike" cap="none" normalizeH="0" baseline="0">
                <a:ln>
                  <a:noFill/>
                </a:ln>
                <a:solidFill>
                  <a:srgbClr val="336699"/>
                </a:solidFill>
                <a:effectLst/>
                <a:latin typeface="Verdana" charset="0"/>
                <a:ea typeface="ＭＳ Ｐゴシック" charset="0"/>
                <a:cs typeface="Arial" charset="0"/>
              </a:endParaRPr>
            </a:p>
          </p:txBody>
        </p:sp>
        <p:pic>
          <p:nvPicPr>
            <p:cNvPr id="330" name="Picture 3"/>
            <p:cNvPicPr>
              <a:picLocks noChangeAspect="1" noChangeArrowheads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aturation sat="66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63100" y="2938371"/>
              <a:ext cx="1200150" cy="1352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331" name="Gruppieren 330"/>
          <p:cNvGrpSpPr/>
          <p:nvPr/>
        </p:nvGrpSpPr>
        <p:grpSpPr>
          <a:xfrm>
            <a:off x="5839269" y="4303753"/>
            <a:ext cx="171417" cy="180005"/>
            <a:chOff x="9563100" y="2938371"/>
            <a:chExt cx="1200150" cy="135255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332" name="Ellipse 331"/>
            <p:cNvSpPr/>
            <p:nvPr/>
          </p:nvSpPr>
          <p:spPr bwMode="auto">
            <a:xfrm>
              <a:off x="9906000" y="3258485"/>
              <a:ext cx="609600" cy="62771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3200" b="1" i="0" u="none" strike="noStrike" cap="none" normalizeH="0" baseline="0">
                <a:ln>
                  <a:noFill/>
                </a:ln>
                <a:solidFill>
                  <a:srgbClr val="336699"/>
                </a:solidFill>
                <a:effectLst/>
                <a:latin typeface="Verdana" charset="0"/>
                <a:ea typeface="ＭＳ Ｐゴシック" charset="0"/>
                <a:cs typeface="Arial" charset="0"/>
              </a:endParaRPr>
            </a:p>
          </p:txBody>
        </p:sp>
        <p:pic>
          <p:nvPicPr>
            <p:cNvPr id="333" name="Picture 3"/>
            <p:cNvPicPr>
              <a:picLocks noChangeAspect="1" noChangeArrowheads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aturation sat="66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63100" y="2938371"/>
              <a:ext cx="1200150" cy="1352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29" name="Textfeld 228"/>
          <p:cNvSpPr txBox="1"/>
          <p:nvPr/>
        </p:nvSpPr>
        <p:spPr>
          <a:xfrm>
            <a:off x="563791" y="6459271"/>
            <a:ext cx="263660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/>
              <a:t>Rating in the view of EU COM:</a:t>
            </a:r>
          </a:p>
        </p:txBody>
      </p:sp>
      <p:cxnSp>
        <p:nvCxnSpPr>
          <p:cNvPr id="4" name="Gerade Verbindung 3"/>
          <p:cNvCxnSpPr/>
          <p:nvPr/>
        </p:nvCxnSpPr>
        <p:spPr bwMode="auto">
          <a:xfrm>
            <a:off x="4954526" y="6506224"/>
            <a:ext cx="0" cy="227308"/>
          </a:xfrm>
          <a:prstGeom prst="line">
            <a:avLst/>
          </a:prstGeom>
          <a:solidFill>
            <a:srgbClr val="DDDDDD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230" name="Gruppieren 229"/>
          <p:cNvGrpSpPr/>
          <p:nvPr/>
        </p:nvGrpSpPr>
        <p:grpSpPr>
          <a:xfrm>
            <a:off x="5769284" y="2898022"/>
            <a:ext cx="171417" cy="180005"/>
            <a:chOff x="9563100" y="2938371"/>
            <a:chExt cx="1200150" cy="135255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31" name="Ellipse 230"/>
            <p:cNvSpPr/>
            <p:nvPr/>
          </p:nvSpPr>
          <p:spPr bwMode="auto">
            <a:xfrm>
              <a:off x="9906000" y="3258485"/>
              <a:ext cx="609600" cy="62771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3200" b="1" i="0" u="none" strike="noStrike" cap="none" normalizeH="0" baseline="0">
                <a:ln>
                  <a:noFill/>
                </a:ln>
                <a:solidFill>
                  <a:srgbClr val="336699"/>
                </a:solidFill>
                <a:effectLst/>
                <a:latin typeface="Verdana" charset="0"/>
                <a:ea typeface="ＭＳ Ｐゴシック" charset="0"/>
                <a:cs typeface="Arial" charset="0"/>
              </a:endParaRPr>
            </a:p>
          </p:txBody>
        </p:sp>
        <p:pic>
          <p:nvPicPr>
            <p:cNvPr id="232" name="Picture 3"/>
            <p:cNvPicPr>
              <a:picLocks noChangeAspect="1" noChangeArrowheads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aturation sat="66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63100" y="2938371"/>
              <a:ext cx="1200150" cy="1352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35" name="Gruppieren 234"/>
          <p:cNvGrpSpPr/>
          <p:nvPr/>
        </p:nvGrpSpPr>
        <p:grpSpPr>
          <a:xfrm>
            <a:off x="7104745" y="2898852"/>
            <a:ext cx="171417" cy="180005"/>
            <a:chOff x="9563100" y="2938371"/>
            <a:chExt cx="1200150" cy="135255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36" name="Ellipse 235"/>
            <p:cNvSpPr/>
            <p:nvPr/>
          </p:nvSpPr>
          <p:spPr bwMode="auto">
            <a:xfrm>
              <a:off x="9906000" y="3258485"/>
              <a:ext cx="609600" cy="62771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3200" b="1" i="0" u="none" strike="noStrike" cap="none" normalizeH="0" baseline="0">
                <a:ln>
                  <a:noFill/>
                </a:ln>
                <a:solidFill>
                  <a:srgbClr val="336699"/>
                </a:solidFill>
                <a:effectLst/>
                <a:latin typeface="Verdana" charset="0"/>
                <a:ea typeface="ＭＳ Ｐゴシック" charset="0"/>
                <a:cs typeface="Arial" charset="0"/>
              </a:endParaRPr>
            </a:p>
          </p:txBody>
        </p:sp>
        <p:pic>
          <p:nvPicPr>
            <p:cNvPr id="237" name="Picture 3"/>
            <p:cNvPicPr>
              <a:picLocks noChangeAspect="1" noChangeArrowheads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aturation sat="66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63100" y="2938371"/>
              <a:ext cx="1200150" cy="1352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08" name="Gruppieren 207"/>
          <p:cNvGrpSpPr/>
          <p:nvPr/>
        </p:nvGrpSpPr>
        <p:grpSpPr>
          <a:xfrm>
            <a:off x="5936454" y="2903816"/>
            <a:ext cx="171417" cy="180005"/>
            <a:chOff x="9563100" y="2938371"/>
            <a:chExt cx="1200150" cy="135255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09" name="Ellipse 208"/>
            <p:cNvSpPr/>
            <p:nvPr/>
          </p:nvSpPr>
          <p:spPr bwMode="auto">
            <a:xfrm>
              <a:off x="9906000" y="3258485"/>
              <a:ext cx="609600" cy="62771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3200" b="1" i="0" u="none" strike="noStrike" cap="none" normalizeH="0" baseline="0">
                <a:ln>
                  <a:noFill/>
                </a:ln>
                <a:solidFill>
                  <a:srgbClr val="336699"/>
                </a:solidFill>
                <a:effectLst/>
                <a:latin typeface="Verdana" charset="0"/>
                <a:ea typeface="ＭＳ Ｐゴシック" charset="0"/>
                <a:cs typeface="Arial" charset="0"/>
              </a:endParaRPr>
            </a:p>
          </p:txBody>
        </p:sp>
        <p:pic>
          <p:nvPicPr>
            <p:cNvPr id="210" name="Picture 3"/>
            <p:cNvPicPr>
              <a:picLocks noChangeAspect="1" noChangeArrowheads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aturation sat="66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63100" y="2938371"/>
              <a:ext cx="1200150" cy="1352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11" name="Gruppieren 210"/>
          <p:cNvGrpSpPr/>
          <p:nvPr/>
        </p:nvGrpSpPr>
        <p:grpSpPr>
          <a:xfrm>
            <a:off x="6092999" y="2903816"/>
            <a:ext cx="171417" cy="180005"/>
            <a:chOff x="9563100" y="2938371"/>
            <a:chExt cx="1200150" cy="135255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12" name="Ellipse 211"/>
            <p:cNvSpPr/>
            <p:nvPr/>
          </p:nvSpPr>
          <p:spPr bwMode="auto">
            <a:xfrm>
              <a:off x="9906000" y="3258485"/>
              <a:ext cx="609600" cy="62771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3200" b="1" i="0" u="none" strike="noStrike" cap="none" normalizeH="0" baseline="0">
                <a:ln>
                  <a:noFill/>
                </a:ln>
                <a:solidFill>
                  <a:srgbClr val="336699"/>
                </a:solidFill>
                <a:effectLst/>
                <a:latin typeface="Verdana" charset="0"/>
                <a:ea typeface="ＭＳ Ｐゴシック" charset="0"/>
                <a:cs typeface="Arial" charset="0"/>
              </a:endParaRPr>
            </a:p>
          </p:txBody>
        </p:sp>
        <p:pic>
          <p:nvPicPr>
            <p:cNvPr id="213" name="Picture 3"/>
            <p:cNvPicPr>
              <a:picLocks noChangeAspect="1" noChangeArrowheads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aturation sat="66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63100" y="2938371"/>
              <a:ext cx="1200150" cy="1352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50" name="Gruppieren 249"/>
          <p:cNvGrpSpPr/>
          <p:nvPr/>
        </p:nvGrpSpPr>
        <p:grpSpPr>
          <a:xfrm>
            <a:off x="5769284" y="3563060"/>
            <a:ext cx="171417" cy="180005"/>
            <a:chOff x="9563100" y="2938371"/>
            <a:chExt cx="1200150" cy="135255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51" name="Ellipse 250"/>
            <p:cNvSpPr/>
            <p:nvPr/>
          </p:nvSpPr>
          <p:spPr bwMode="auto">
            <a:xfrm>
              <a:off x="9906000" y="3258485"/>
              <a:ext cx="609600" cy="62771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3200" b="1" i="0" u="none" strike="noStrike" cap="none" normalizeH="0" baseline="0">
                <a:ln>
                  <a:noFill/>
                </a:ln>
                <a:solidFill>
                  <a:srgbClr val="336699"/>
                </a:solidFill>
                <a:effectLst/>
                <a:latin typeface="Verdana" charset="0"/>
                <a:ea typeface="ＭＳ Ｐゴシック" charset="0"/>
                <a:cs typeface="Arial" charset="0"/>
              </a:endParaRPr>
            </a:p>
          </p:txBody>
        </p:sp>
        <p:pic>
          <p:nvPicPr>
            <p:cNvPr id="252" name="Picture 3"/>
            <p:cNvPicPr>
              <a:picLocks noChangeAspect="1" noChangeArrowheads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aturation sat="66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63100" y="2938371"/>
              <a:ext cx="1200150" cy="1352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53" name="Gruppieren 252"/>
          <p:cNvGrpSpPr/>
          <p:nvPr/>
        </p:nvGrpSpPr>
        <p:grpSpPr>
          <a:xfrm>
            <a:off x="7267695" y="2903652"/>
            <a:ext cx="171417" cy="180005"/>
            <a:chOff x="9563100" y="2938371"/>
            <a:chExt cx="1200150" cy="135255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54" name="Ellipse 253"/>
            <p:cNvSpPr/>
            <p:nvPr/>
          </p:nvSpPr>
          <p:spPr bwMode="auto">
            <a:xfrm>
              <a:off x="9906000" y="3258485"/>
              <a:ext cx="609600" cy="62771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3200" b="1" i="0" u="none" strike="noStrike" cap="none" normalizeH="0" baseline="0">
                <a:ln>
                  <a:noFill/>
                </a:ln>
                <a:solidFill>
                  <a:srgbClr val="336699"/>
                </a:solidFill>
                <a:effectLst/>
                <a:latin typeface="Verdana" charset="0"/>
                <a:ea typeface="ＭＳ Ｐゴシック" charset="0"/>
                <a:cs typeface="Arial" charset="0"/>
              </a:endParaRPr>
            </a:p>
          </p:txBody>
        </p:sp>
        <p:pic>
          <p:nvPicPr>
            <p:cNvPr id="255" name="Picture 3"/>
            <p:cNvPicPr>
              <a:picLocks noChangeAspect="1" noChangeArrowheads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aturation sat="66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63100" y="2938371"/>
              <a:ext cx="1200150" cy="1352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56" name="Gruppieren 255"/>
          <p:cNvGrpSpPr/>
          <p:nvPr/>
        </p:nvGrpSpPr>
        <p:grpSpPr>
          <a:xfrm>
            <a:off x="7424240" y="2903652"/>
            <a:ext cx="171417" cy="180005"/>
            <a:chOff x="9563100" y="2938371"/>
            <a:chExt cx="1200150" cy="135255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57" name="Ellipse 256"/>
            <p:cNvSpPr/>
            <p:nvPr/>
          </p:nvSpPr>
          <p:spPr bwMode="auto">
            <a:xfrm>
              <a:off x="9906000" y="3258485"/>
              <a:ext cx="609600" cy="62771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3200" b="1" i="0" u="none" strike="noStrike" cap="none" normalizeH="0" baseline="0">
                <a:ln>
                  <a:noFill/>
                </a:ln>
                <a:solidFill>
                  <a:srgbClr val="336699"/>
                </a:solidFill>
                <a:effectLst/>
                <a:latin typeface="Verdana" charset="0"/>
                <a:ea typeface="ＭＳ Ｐゴシック" charset="0"/>
                <a:cs typeface="Arial" charset="0"/>
              </a:endParaRPr>
            </a:p>
          </p:txBody>
        </p:sp>
        <p:pic>
          <p:nvPicPr>
            <p:cNvPr id="258" name="Picture 3"/>
            <p:cNvPicPr>
              <a:picLocks noChangeAspect="1" noChangeArrowheads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aturation sat="66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63100" y="2938371"/>
              <a:ext cx="1200150" cy="1352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301" name="Gruppieren 300"/>
          <p:cNvGrpSpPr/>
          <p:nvPr/>
        </p:nvGrpSpPr>
        <p:grpSpPr>
          <a:xfrm>
            <a:off x="8760574" y="2903652"/>
            <a:ext cx="152400" cy="175185"/>
            <a:chOff x="8237514" y="992186"/>
            <a:chExt cx="152400" cy="17518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302" name="Picture 5"/>
            <p:cNvPicPr>
              <a:picLocks noChangeAspect="1" noChangeArrowheads="1"/>
            </p:cNvPicPr>
            <p:nvPr/>
          </p:nvPicPr>
          <p:blipFill>
            <a:blip r:embed="rId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37514" y="992186"/>
              <a:ext cx="152400" cy="1751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03" name="Ellipse 302"/>
            <p:cNvSpPr/>
            <p:nvPr/>
          </p:nvSpPr>
          <p:spPr bwMode="auto">
            <a:xfrm>
              <a:off x="8265711" y="1019129"/>
              <a:ext cx="91155" cy="90976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de-DE" sz="800" dirty="0">
                  <a:solidFill>
                    <a:schemeClr val="bg1"/>
                  </a:solidFill>
                  <a:latin typeface="Verdana" charset="0"/>
                  <a:ea typeface="ＭＳ Ｐゴシック" charset="0"/>
                  <a:cs typeface="Arial" charset="0"/>
                </a:rPr>
                <a:t>0</a:t>
              </a:r>
              <a:endParaRPr kumimoji="0" lang="en-US" sz="8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Verdana" charset="0"/>
                <a:ea typeface="ＭＳ Ｐゴシック" charset="0"/>
                <a:cs typeface="Arial" charset="0"/>
              </a:endParaRPr>
            </a:p>
          </p:txBody>
        </p:sp>
      </p:grpSp>
      <p:grpSp>
        <p:nvGrpSpPr>
          <p:cNvPr id="220" name="Gruppieren 219"/>
          <p:cNvGrpSpPr/>
          <p:nvPr/>
        </p:nvGrpSpPr>
        <p:grpSpPr>
          <a:xfrm>
            <a:off x="5924724" y="3566174"/>
            <a:ext cx="171417" cy="180005"/>
            <a:chOff x="9563100" y="2938371"/>
            <a:chExt cx="1200150" cy="135255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21" name="Ellipse 220"/>
            <p:cNvSpPr/>
            <p:nvPr/>
          </p:nvSpPr>
          <p:spPr bwMode="auto">
            <a:xfrm>
              <a:off x="9906000" y="3258485"/>
              <a:ext cx="609600" cy="62771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3200" b="1" i="0" u="none" strike="noStrike" cap="none" normalizeH="0" baseline="0">
                <a:ln>
                  <a:noFill/>
                </a:ln>
                <a:solidFill>
                  <a:srgbClr val="336699"/>
                </a:solidFill>
                <a:effectLst/>
                <a:latin typeface="Verdana" charset="0"/>
                <a:ea typeface="ＭＳ Ｐゴシック" charset="0"/>
                <a:cs typeface="Arial" charset="0"/>
              </a:endParaRPr>
            </a:p>
          </p:txBody>
        </p:sp>
        <p:pic>
          <p:nvPicPr>
            <p:cNvPr id="222" name="Picture 3"/>
            <p:cNvPicPr>
              <a:picLocks noChangeAspect="1" noChangeArrowheads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aturation sat="66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63100" y="2938371"/>
              <a:ext cx="1200150" cy="1352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23" name="Gruppieren 222"/>
          <p:cNvGrpSpPr/>
          <p:nvPr/>
        </p:nvGrpSpPr>
        <p:grpSpPr>
          <a:xfrm>
            <a:off x="6081269" y="3566174"/>
            <a:ext cx="171417" cy="180005"/>
            <a:chOff x="9563100" y="2938371"/>
            <a:chExt cx="1200150" cy="135255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24" name="Ellipse 223"/>
            <p:cNvSpPr/>
            <p:nvPr/>
          </p:nvSpPr>
          <p:spPr bwMode="auto">
            <a:xfrm>
              <a:off x="9906000" y="3258485"/>
              <a:ext cx="609600" cy="62771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3200" b="1" i="0" u="none" strike="noStrike" cap="none" normalizeH="0" baseline="0">
                <a:ln>
                  <a:noFill/>
                </a:ln>
                <a:solidFill>
                  <a:srgbClr val="336699"/>
                </a:solidFill>
                <a:effectLst/>
                <a:latin typeface="Verdana" charset="0"/>
                <a:ea typeface="ＭＳ Ｐゴシック" charset="0"/>
                <a:cs typeface="Arial" charset="0"/>
              </a:endParaRPr>
            </a:p>
          </p:txBody>
        </p:sp>
        <p:pic>
          <p:nvPicPr>
            <p:cNvPr id="225" name="Picture 3"/>
            <p:cNvPicPr>
              <a:picLocks noChangeAspect="1" noChangeArrowheads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aturation sat="66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63100" y="2938371"/>
              <a:ext cx="1200150" cy="1352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7" name="Textfeld 6"/>
          <p:cNvSpPr txBox="1"/>
          <p:nvPr/>
        </p:nvSpPr>
        <p:spPr>
          <a:xfrm>
            <a:off x="3852358" y="2134423"/>
            <a:ext cx="1008609" cy="168172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  <a:reflection blurRad="6350" stA="52000" endA="300" endPos="35000" dir="5400000" sy="-100000" algn="bl" rotWithShape="0"/>
          </a:effectLst>
        </p:spPr>
        <p:txBody>
          <a:bodyPr wrap="none" rtlCol="0" anchor="ctr">
            <a:spAutoFit/>
          </a:bodyPr>
          <a:lstStyle/>
          <a:p>
            <a:r>
              <a:rPr lang="de-DE" sz="1000" dirty="0" smtClean="0"/>
              <a:t>!ROOMERS!</a:t>
            </a:r>
            <a:endParaRPr lang="en-US" sz="1000" dirty="0" smtClean="0"/>
          </a:p>
        </p:txBody>
      </p:sp>
      <p:grpSp>
        <p:nvGrpSpPr>
          <p:cNvPr id="3" name="Gruppieren 2"/>
          <p:cNvGrpSpPr/>
          <p:nvPr/>
        </p:nvGrpSpPr>
        <p:grpSpPr>
          <a:xfrm>
            <a:off x="529924" y="1418830"/>
            <a:ext cx="7166276" cy="2623795"/>
            <a:chOff x="1859018" y="669164"/>
            <a:chExt cx="7166276" cy="2623795"/>
          </a:xfrm>
        </p:grpSpPr>
        <p:sp>
          <p:nvSpPr>
            <p:cNvPr id="265" name="Textfeld 264"/>
            <p:cNvSpPr txBox="1"/>
            <p:nvPr/>
          </p:nvSpPr>
          <p:spPr>
            <a:xfrm>
              <a:off x="1859018" y="669164"/>
              <a:ext cx="7166276" cy="2623795"/>
            </a:xfrm>
            <a:prstGeom prst="rect">
              <a:avLst/>
            </a:prstGeom>
            <a:solidFill>
              <a:srgbClr val="FFFFCC"/>
            </a:solidFill>
            <a:ln w="19050">
              <a:solidFill>
                <a:srgbClr val="C00000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 anchor="ctr">
              <a:spAutoFit/>
            </a:bodyPr>
            <a:lstStyle/>
            <a:p>
              <a:r>
                <a:rPr lang="en-US" sz="1050" dirty="0" smtClean="0">
                  <a:solidFill>
                    <a:srgbClr val="C00000"/>
                  </a:solidFill>
                </a:rPr>
                <a:t>Instructions how to read this ranking:</a:t>
              </a:r>
            </a:p>
            <a:p>
              <a:endParaRPr lang="en-US" sz="1000" b="0" dirty="0" smtClean="0"/>
            </a:p>
            <a:p>
              <a:r>
                <a:rPr lang="en-US" sz="1000" b="0" dirty="0" smtClean="0"/>
                <a:t>This picture represents a </a:t>
              </a:r>
              <a:r>
                <a:rPr lang="en-US" sz="1000" dirty="0" smtClean="0"/>
                <a:t>prediction</a:t>
              </a:r>
              <a:r>
                <a:rPr lang="en-US" sz="1000" b="0" dirty="0" smtClean="0"/>
                <a:t> of a possible future approach of COM including a rating of </a:t>
              </a:r>
              <a:r>
                <a:rPr lang="en-US" sz="1000" dirty="0" smtClean="0"/>
                <a:t>given “plus points” for leaving the own position</a:t>
              </a:r>
              <a:r>
                <a:rPr lang="en-US" sz="1000" b="0" dirty="0" smtClean="0"/>
                <a:t> </a:t>
              </a:r>
              <a:r>
                <a:rPr lang="en-US" sz="1000" dirty="0" smtClean="0"/>
                <a:t>towards the position of the opponent</a:t>
              </a:r>
              <a:r>
                <a:rPr lang="en-US" sz="1000" b="0" dirty="0" smtClean="0"/>
                <a:t> - in favor of </a:t>
              </a:r>
              <a:r>
                <a:rPr lang="en-US" sz="1000" dirty="0" smtClean="0"/>
                <a:t>finding a compromise.</a:t>
              </a:r>
            </a:p>
            <a:p>
              <a:endParaRPr lang="en-US" sz="1000" dirty="0" smtClean="0"/>
            </a:p>
            <a:p>
              <a:r>
                <a:rPr lang="en-US" sz="1000" dirty="0" smtClean="0"/>
                <a:t>It represents a thinkable view of COM.</a:t>
              </a:r>
            </a:p>
            <a:p>
              <a:endParaRPr lang="en-US" sz="1000" dirty="0" smtClean="0"/>
            </a:p>
            <a:p>
              <a:r>
                <a:rPr lang="en-US" sz="1000" dirty="0" smtClean="0"/>
                <a:t>e.g. „Grade“: </a:t>
              </a:r>
            </a:p>
            <a:p>
              <a:endParaRPr lang="en-US" sz="1000" dirty="0" smtClean="0"/>
            </a:p>
            <a:p>
              <a:pPr marL="171450" indent="-171450">
                <a:buClr>
                  <a:schemeClr val="bg2"/>
                </a:buClr>
                <a:buFont typeface="Wingdings" panose="05000000000000000000" pitchFamily="2" charset="2"/>
                <a:buChar char="§"/>
              </a:pPr>
              <a:r>
                <a:rPr lang="en-US" sz="1000" b="0" dirty="0" smtClean="0"/>
                <a:t>Mr. </a:t>
              </a:r>
              <a:r>
                <a:rPr lang="en-US" sz="1000" b="0" dirty="0" err="1" smtClean="0"/>
                <a:t>Steiniger</a:t>
              </a:r>
              <a:r>
                <a:rPr lang="en-US" sz="1000" b="0" dirty="0" smtClean="0"/>
                <a:t> left his position of „</a:t>
              </a:r>
              <a:r>
                <a:rPr lang="en-US" sz="1000" b="0" dirty="0" smtClean="0">
                  <a:solidFill>
                    <a:schemeClr val="bg2">
                      <a:lumMod val="50000"/>
                    </a:schemeClr>
                  </a:solidFill>
                </a:rPr>
                <a:t>no restrictions</a:t>
              </a:r>
              <a:r>
                <a:rPr lang="en-US" sz="1000" b="0" dirty="0" smtClean="0"/>
                <a:t>“ towards the ACEA position „</a:t>
              </a:r>
              <a:r>
                <a:rPr lang="en-US" sz="1000" b="0" dirty="0" smtClean="0">
                  <a:solidFill>
                    <a:schemeClr val="bg2">
                      <a:lumMod val="50000"/>
                    </a:schemeClr>
                  </a:solidFill>
                </a:rPr>
                <a:t>2,0 % / 3,5 % (P95%)</a:t>
              </a:r>
              <a:r>
                <a:rPr lang="en-US" sz="1000" b="0" dirty="0" smtClean="0"/>
                <a:t>“ </a:t>
              </a:r>
            </a:p>
            <a:p>
              <a:r>
                <a:rPr lang="en-US" sz="1000" dirty="0" smtClean="0"/>
                <a:t>    </a:t>
              </a:r>
              <a:r>
                <a:rPr lang="en-US" sz="1000" dirty="0" smtClean="0">
                  <a:sym typeface="Wingdings" panose="05000000000000000000" pitchFamily="2" charset="2"/>
                </a:rPr>
                <a:t> COM gets 3*</a:t>
              </a:r>
            </a:p>
            <a:p>
              <a:r>
                <a:rPr lang="en-US" sz="300" dirty="0" smtClean="0">
                  <a:sym typeface="Wingdings" panose="05000000000000000000" pitchFamily="2" charset="2"/>
                </a:rPr>
                <a:t>    </a:t>
              </a:r>
            </a:p>
            <a:p>
              <a:r>
                <a:rPr lang="en-US" sz="1000" dirty="0" smtClean="0">
                  <a:sym typeface="Wingdings" panose="05000000000000000000" pitchFamily="2" charset="2"/>
                </a:rPr>
                <a:t>     ACEA gets nothing     (0 points) because we got what we wanted and did not move.</a:t>
              </a:r>
            </a:p>
            <a:p>
              <a:endParaRPr lang="en-US" sz="1000" dirty="0" smtClean="0">
                <a:sym typeface="Wingdings" panose="05000000000000000000" pitchFamily="2" charset="2"/>
              </a:endParaRPr>
            </a:p>
            <a:p>
              <a:r>
                <a:rPr lang="en-US" sz="1000" dirty="0" smtClean="0">
                  <a:sym typeface="Wingdings" panose="05000000000000000000" pitchFamily="2" charset="2"/>
                </a:rPr>
                <a:t>                                                    -  </a:t>
              </a:r>
              <a:r>
                <a:rPr lang="en-US" sz="1050" dirty="0" smtClean="0">
                  <a:sym typeface="Wingdings" panose="05000000000000000000" pitchFamily="2" charset="2"/>
                </a:rPr>
                <a:t>Complete table see next page</a:t>
              </a:r>
              <a:r>
                <a:rPr lang="en-US" sz="1050" dirty="0" smtClean="0"/>
                <a:t>  -</a:t>
              </a:r>
            </a:p>
            <a:p>
              <a:endParaRPr lang="en-US" sz="1050" dirty="0" smtClean="0"/>
            </a:p>
          </p:txBody>
        </p:sp>
        <p:grpSp>
          <p:nvGrpSpPr>
            <p:cNvPr id="266" name="Gruppieren 265"/>
            <p:cNvGrpSpPr/>
            <p:nvPr/>
          </p:nvGrpSpPr>
          <p:grpSpPr>
            <a:xfrm>
              <a:off x="3200400" y="2405653"/>
              <a:ext cx="171417" cy="180005"/>
              <a:chOff x="9563100" y="2938371"/>
              <a:chExt cx="1200150" cy="1352550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267" name="Ellipse 266"/>
              <p:cNvSpPr/>
              <p:nvPr/>
            </p:nvSpPr>
            <p:spPr bwMode="auto">
              <a:xfrm>
                <a:off x="9906000" y="3258485"/>
                <a:ext cx="609600" cy="627715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rgbClr val="FFFF00"/>
                </a:solidFill>
              </a:ln>
              <a:effectLst/>
              <a:ex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3200" b="1" i="0" u="none" strike="noStrike" cap="none" normalizeH="0" baseline="0">
                  <a:ln>
                    <a:noFill/>
                  </a:ln>
                  <a:solidFill>
                    <a:srgbClr val="336699"/>
                  </a:solidFill>
                  <a:effectLst/>
                  <a:latin typeface="Verdana" charset="0"/>
                  <a:ea typeface="ＭＳ Ｐゴシック" charset="0"/>
                  <a:cs typeface="Arial" charset="0"/>
                </a:endParaRPr>
              </a:p>
            </p:txBody>
          </p:sp>
          <p:pic>
            <p:nvPicPr>
              <p:cNvPr id="268" name="Picture 3"/>
              <p:cNvPicPr>
                <a:picLocks noChangeAspect="1" noChangeArrowheads="1"/>
              </p:cNvPicPr>
              <p:nvPr/>
            </p:nvPicPr>
            <p:blipFill>
              <a:blip r:embed="rId5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saturation sat="66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563100" y="2938371"/>
                <a:ext cx="1200150" cy="135255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</a:extLst>
            </p:spPr>
          </p:pic>
        </p:grpSp>
        <p:grpSp>
          <p:nvGrpSpPr>
            <p:cNvPr id="308" name="Gruppieren 307"/>
            <p:cNvGrpSpPr/>
            <p:nvPr/>
          </p:nvGrpSpPr>
          <p:grpSpPr>
            <a:xfrm>
              <a:off x="3598334" y="2616195"/>
              <a:ext cx="152400" cy="175185"/>
              <a:chOff x="8237514" y="992186"/>
              <a:chExt cx="152400" cy="175185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pic>
            <p:nvPicPr>
              <p:cNvPr id="309" name="Picture 5"/>
              <p:cNvPicPr>
                <a:picLocks noChangeAspect="1" noChangeArrowheads="1"/>
              </p:cNvPicPr>
              <p:nvPr/>
            </p:nvPicPr>
            <p:blipFill>
              <a:blip r:embed="rId7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237514" y="992186"/>
                <a:ext cx="152400" cy="17518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</a:extLst>
            </p:spPr>
          </p:pic>
          <p:sp>
            <p:nvSpPr>
              <p:cNvPr id="334" name="Ellipse 333"/>
              <p:cNvSpPr/>
              <p:nvPr/>
            </p:nvSpPr>
            <p:spPr bwMode="auto">
              <a:xfrm>
                <a:off x="8265711" y="1019129"/>
                <a:ext cx="91155" cy="90976"/>
              </a:xfrm>
              <a:prstGeom prst="ellipse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  <a:effectLst/>
              <a:ex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de-DE" sz="800" dirty="0">
                    <a:solidFill>
                      <a:schemeClr val="bg1"/>
                    </a:solidFill>
                    <a:latin typeface="Verdana" charset="0"/>
                    <a:ea typeface="ＭＳ Ｐゴシック" charset="0"/>
                    <a:cs typeface="Arial" charset="0"/>
                  </a:rPr>
                  <a:t>0</a:t>
                </a:r>
                <a:endParaRPr kumimoji="0" lang="en-US" sz="800" b="1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Verdana" charset="0"/>
                  <a:ea typeface="ＭＳ Ｐゴシック" charset="0"/>
                  <a:cs typeface="Arial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328709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/>
        </p:nvSpPr>
        <p:spPr bwMode="auto">
          <a:xfrm>
            <a:off x="609600" y="1297168"/>
            <a:ext cx="8153399" cy="5484632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180000" tIns="144000" rIns="91440" bIns="45720" numCol="1" rtlCol="0" anchor="t" anchorCtr="0" compatLnSpc="1">
            <a:prstTxWarp prst="textNoShape">
              <a:avLst/>
            </a:prstTxWarp>
          </a:bodyPr>
          <a:lstStyle/>
          <a:p>
            <a:pPr marL="285750" lvl="1" indent="-285750"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Wingdings" panose="05000000000000000000" pitchFamily="2" charset="2"/>
              <a:buChar char="§"/>
            </a:pPr>
            <a:endParaRPr lang="en-US" sz="100" b="0" dirty="0" smtClean="0"/>
          </a:p>
          <a:p>
            <a:pPr marL="285750" lvl="1" indent="-285750"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b="0" dirty="0"/>
              <a:t>Feedback of </a:t>
            </a:r>
            <a:r>
              <a:rPr lang="en-US" sz="1400" dirty="0" smtClean="0"/>
              <a:t>10</a:t>
            </a:r>
            <a:r>
              <a:rPr lang="en-US" sz="1400" b="0" dirty="0" smtClean="0"/>
              <a:t> </a:t>
            </a:r>
            <a:r>
              <a:rPr lang="en-US" sz="1400" b="0" dirty="0"/>
              <a:t>Manufacturer</a:t>
            </a:r>
          </a:p>
          <a:p>
            <a:pPr marL="742950" lvl="1" indent="-285750">
              <a:spcAft>
                <a:spcPts val="600"/>
              </a:spcAft>
              <a:buClr>
                <a:schemeClr val="bg1">
                  <a:lumMod val="65000"/>
                </a:schemeClr>
              </a:buClr>
              <a:buFontTx/>
              <a:buChar char="-"/>
            </a:pPr>
            <a:endParaRPr lang="en-US" sz="1400" b="0" dirty="0"/>
          </a:p>
        </p:txBody>
      </p:sp>
      <p:sp>
        <p:nvSpPr>
          <p:cNvPr id="73" name="Rechteck 72"/>
          <p:cNvSpPr/>
          <p:nvPr/>
        </p:nvSpPr>
        <p:spPr bwMode="auto">
          <a:xfrm>
            <a:off x="356268" y="1542650"/>
            <a:ext cx="8577731" cy="503869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3200" b="1" i="0" u="none" strike="noStrike" cap="none" normalizeH="0" baseline="0">
              <a:ln>
                <a:noFill/>
              </a:ln>
              <a:solidFill>
                <a:srgbClr val="336699"/>
              </a:solidFill>
              <a:effectLst/>
              <a:latin typeface="Verdana" charset="0"/>
              <a:ea typeface="ＭＳ Ｐゴシック" charset="0"/>
              <a:cs typeface="Arial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lIns="0" rIns="0"/>
          <a:lstStyle/>
          <a:p>
            <a:r>
              <a:rPr lang="en-US" sz="2400" dirty="0" smtClean="0"/>
              <a:t>Thinkable rating of ACEA RDE compromise in </a:t>
            </a:r>
            <a:br>
              <a:rPr lang="en-US" sz="2400" dirty="0" smtClean="0"/>
            </a:br>
            <a:r>
              <a:rPr lang="en-US" sz="2400" dirty="0" smtClean="0"/>
              <a:t>the view of EU COM &amp; MS</a:t>
            </a:r>
            <a:endParaRPr lang="en-US" sz="2400" dirty="0"/>
          </a:p>
        </p:txBody>
      </p:sp>
      <p:sp>
        <p:nvSpPr>
          <p:cNvPr id="9" name="Rechteck 8"/>
          <p:cNvSpPr/>
          <p:nvPr/>
        </p:nvSpPr>
        <p:spPr>
          <a:xfrm>
            <a:off x="807719" y="1127892"/>
            <a:ext cx="6278881" cy="338554"/>
          </a:xfrm>
          <a:prstGeom prst="rect">
            <a:avLst/>
          </a:prstGeom>
          <a:solidFill>
            <a:schemeClr val="bg1"/>
          </a:solidFill>
        </p:spPr>
        <p:txBody>
          <a:bodyPr wrap="square" rIns="0">
            <a:spAutoFit/>
          </a:bodyPr>
          <a:lstStyle/>
          <a:p>
            <a:pPr>
              <a:spcAft>
                <a:spcPts val="300"/>
              </a:spcAft>
              <a:buClr>
                <a:schemeClr val="bg1">
                  <a:lumMod val="65000"/>
                </a:schemeClr>
              </a:buClr>
            </a:pPr>
            <a:r>
              <a:rPr lang="en-US" sz="1600" dirty="0" smtClean="0"/>
              <a:t>ACEA-Walk-In-Position </a:t>
            </a:r>
            <a:r>
              <a:rPr lang="en-US" sz="1600" dirty="0"/>
              <a:t>vs. </a:t>
            </a:r>
            <a:r>
              <a:rPr lang="en-US" sz="1600" dirty="0" smtClean="0"/>
              <a:t>EU-COM-Position - Results</a:t>
            </a:r>
            <a:endParaRPr lang="en-US" sz="1600" b="0" dirty="0"/>
          </a:p>
        </p:txBody>
      </p:sp>
      <p:sp>
        <p:nvSpPr>
          <p:cNvPr id="8" name="Rechteck 7"/>
          <p:cNvSpPr/>
          <p:nvPr/>
        </p:nvSpPr>
        <p:spPr>
          <a:xfrm>
            <a:off x="611032" y="1400343"/>
            <a:ext cx="3098036" cy="335011"/>
          </a:xfrm>
          <a:prstGeom prst="rect">
            <a:avLst/>
          </a:prstGeom>
          <a:solidFill>
            <a:schemeClr val="bg1"/>
          </a:solidFill>
        </p:spPr>
        <p:txBody>
          <a:bodyPr wrap="square" anchor="b">
            <a:noAutofit/>
          </a:bodyPr>
          <a:lstStyle/>
          <a:p>
            <a:pPr marL="285750" lvl="1" indent="-285750">
              <a:spcAft>
                <a:spcPts val="600"/>
              </a:spcAft>
              <a:buClr>
                <a:srgbClr val="FFFFFF">
                  <a:lumMod val="65000"/>
                </a:srgbClr>
              </a:buClr>
              <a:buFont typeface="Wingdings" panose="05000000000000000000" pitchFamily="2" charset="2"/>
              <a:buChar char="§"/>
            </a:pPr>
            <a:endParaRPr lang="en-US" sz="100" b="0" dirty="0"/>
          </a:p>
          <a:p>
            <a:pPr marL="285750" lvl="1" indent="-285750">
              <a:spcAft>
                <a:spcPts val="600"/>
              </a:spcAft>
              <a:buClr>
                <a:srgbClr val="FFFFFF">
                  <a:lumMod val="65000"/>
                </a:srgbClr>
              </a:buClr>
              <a:buFont typeface="Wingdings" panose="05000000000000000000" pitchFamily="2" charset="2"/>
              <a:buChar char="§"/>
            </a:pPr>
            <a:r>
              <a:rPr lang="en-US" sz="1400" b="0" dirty="0"/>
              <a:t>Levels of </a:t>
            </a:r>
            <a:r>
              <a:rPr lang="en-US" sz="1400" b="0" dirty="0" smtClean="0"/>
              <a:t>Negotiation:</a:t>
            </a:r>
            <a:endParaRPr lang="en-US" sz="1400" b="0" dirty="0"/>
          </a:p>
        </p:txBody>
      </p:sp>
      <p:graphicFrame>
        <p:nvGraphicFramePr>
          <p:cNvPr id="95" name="Tabelle 9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11151596"/>
              </p:ext>
            </p:extLst>
          </p:nvPr>
        </p:nvGraphicFramePr>
        <p:xfrm>
          <a:off x="356268" y="1763063"/>
          <a:ext cx="8623300" cy="4671657"/>
        </p:xfrm>
        <a:graphic>
          <a:graphicData uri="http://schemas.openxmlformats.org/drawingml/2006/table">
            <a:tbl>
              <a:tblPr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tblPr>
              <a:tblGrid>
                <a:gridCol w="990600"/>
                <a:gridCol w="1219200"/>
                <a:gridCol w="1219200"/>
                <a:gridCol w="1171575"/>
                <a:gridCol w="1343025"/>
                <a:gridCol w="1320132"/>
                <a:gridCol w="1359568"/>
              </a:tblGrid>
              <a:tr h="446737"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Parameter </a:t>
                      </a:r>
                    </a:p>
                  </a:txBody>
                  <a:tcPr marL="18632" marR="0" marT="18632" marB="0">
                    <a:lnL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1" i="0" u="none" strike="noStrike" dirty="0" smtClean="0">
                          <a:solidFill>
                            <a:srgbClr val="1F497D"/>
                          </a:solidFill>
                          <a:effectLst/>
                          <a:latin typeface="Arial"/>
                        </a:rPr>
                        <a:t>ACEA draft</a:t>
                      </a:r>
                    </a:p>
                    <a:p>
                      <a:pPr algn="l" fontAlgn="t"/>
                      <a:r>
                        <a:rPr lang="en-US" sz="1200" b="1" i="0" u="none" strike="noStrike" dirty="0" smtClean="0">
                          <a:solidFill>
                            <a:srgbClr val="1F497D"/>
                          </a:solidFill>
                          <a:effectLst/>
                          <a:latin typeface="Arial"/>
                        </a:rPr>
                        <a:t>Walk-In Position</a:t>
                      </a:r>
                      <a:endParaRPr lang="en-US" sz="1200" b="1" i="0" u="none" strike="noStrike" dirty="0">
                        <a:solidFill>
                          <a:srgbClr val="1F497D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U-COM</a:t>
                      </a:r>
                    </a:p>
                    <a:p>
                      <a:pPr algn="l" fontAlgn="t"/>
                      <a:r>
                        <a:rPr 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Position 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U-COM</a:t>
                      </a:r>
                    </a:p>
                    <a:p>
                      <a:pPr algn="l" fontAlgn="t"/>
                      <a:r>
                        <a:rPr 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ompromise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4E0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CEA </a:t>
                      </a:r>
                      <a:endParaRPr lang="en-US" sz="1200" b="1" i="0" u="none" strike="noStrike" dirty="0" smtClean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  <a:p>
                      <a:pPr algn="l" fontAlgn="t"/>
                      <a:r>
                        <a:rPr 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ompromise C1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CEA </a:t>
                      </a:r>
                      <a:endParaRPr lang="en-US" sz="1200" b="1" i="0" u="none" strike="noStrike" dirty="0" smtClean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  <a:p>
                      <a:pPr algn="l" fontAlgn="t"/>
                      <a:r>
                        <a:rPr 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ompromise 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2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CEA </a:t>
                      </a:r>
                      <a:endParaRPr lang="en-US" sz="1200" b="1" i="0" u="none" strike="noStrike" dirty="0" smtClean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  <a:p>
                      <a:pPr algn="l" fontAlgn="t"/>
                      <a:r>
                        <a:rPr 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ompromise C3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99"/>
                    </a:solidFill>
                  </a:tcPr>
                </a:tc>
              </a:tr>
              <a:tr h="286590"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mbient temperature</a:t>
                      </a:r>
                      <a:br>
                        <a:rPr lang="en-US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</a:br>
                      <a:r>
                        <a:rPr lang="en-US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(Moderate/ Extended) </a:t>
                      </a:r>
                    </a:p>
                  </a:txBody>
                  <a:tcPr marL="18632" marR="0" marT="18632" marB="0">
                    <a:lnL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tep 1: </a:t>
                      </a:r>
                      <a:endParaRPr lang="en-US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+</a:t>
                      </a: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C/ +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C…30C 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od</a:t>
                      </a: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./ext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.</a:t>
                      </a:r>
                    </a:p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tep2</a:t>
                      </a: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: </a:t>
                      </a:r>
                      <a:endParaRPr lang="en-US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+</a:t>
                      </a: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C/ +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C…30C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od</a:t>
                      </a: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./ext.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tep 1: </a:t>
                      </a:r>
                    </a:p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+3C/ -2C…30/35C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M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od./Ext.</a:t>
                      </a:r>
                    </a:p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tep2: </a:t>
                      </a:r>
                    </a:p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+0C/ -7C…30/35C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M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od./Ext. 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18632" marR="0" marT="1863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4E0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tep 1: </a:t>
                      </a:r>
                    </a:p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+3C/ </a:t>
                      </a:r>
                      <a: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2C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…30C 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od./Ext.</a:t>
                      </a:r>
                    </a:p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tep2: </a:t>
                      </a:r>
                    </a:p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+0C/ -7C…30C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M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od./Ext. 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tep 1: </a:t>
                      </a:r>
                    </a:p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+3C/ +0C…30C 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od./Ext.</a:t>
                      </a:r>
                    </a:p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tep2: </a:t>
                      </a:r>
                    </a:p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+0C/ -7C…30C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M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od./Ext.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tep 1: </a:t>
                      </a:r>
                    </a:p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+3C/ +0C…30C 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od./Ext.</a:t>
                      </a:r>
                    </a:p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tep2: </a:t>
                      </a:r>
                    </a:p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+0C/ -3C…30C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M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od./Ext.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</a:p>
                    <a:p>
                      <a:pPr algn="l" fontAlgn="t"/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  <a:r>
                        <a:rPr lang="en-US" sz="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[</a:t>
                      </a:r>
                      <a:r>
                        <a:rPr lang="en-US" sz="7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-</a:t>
                      </a:r>
                      <a:r>
                        <a:rPr lang="en-US" sz="7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7 with add. </a:t>
                      </a:r>
                      <a:r>
                        <a:rPr lang="en-US" sz="7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CF]</a:t>
                      </a:r>
                      <a:endParaRPr lang="en-US" sz="700" b="1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99"/>
                    </a:solidFill>
                  </a:tcPr>
                </a:tc>
              </a:tr>
              <a:tr h="217940">
                <a:tc>
                  <a:txBody>
                    <a:bodyPr/>
                    <a:lstStyle/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Vmax</a:t>
                      </a:r>
                      <a: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/>
                      </a:r>
                      <a:b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</a:br>
                      <a: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(Moderate/Extended) </a:t>
                      </a:r>
                    </a:p>
                  </a:txBody>
                  <a:tcPr marL="18632" marR="0" marT="18632" marB="0">
                    <a:lnL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30 km/h / </a:t>
                      </a:r>
                      <a:b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</a:b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30 km/h + 15 km/h for 3% of time 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45 km/h + 15 km/h </a:t>
                      </a:r>
                      <a:r>
                        <a:rPr lang="en-US" sz="7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für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3 %  of time </a:t>
                      </a:r>
                    </a:p>
                    <a:p>
                      <a:pPr algn="l" fontAlgn="t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4E0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45 km/h + 15 km/h for 3 % of time </a:t>
                      </a:r>
                    </a:p>
                    <a:p>
                      <a:pPr algn="l" fontAlgn="t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45 km/h + 15 km/h for 3 % of time </a:t>
                      </a:r>
                    </a:p>
                    <a:p>
                      <a:pPr algn="l" fontAlgn="t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30 km/h / </a:t>
                      </a:r>
                      <a:b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</a:b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45 km/h + 15 km/h for 3% of highway distance 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99"/>
                    </a:solidFill>
                  </a:tcPr>
                </a:tc>
              </a:tr>
              <a:tr h="149290">
                <a:tc rowSpan="2">
                  <a:txBody>
                    <a:bodyPr/>
                    <a:lstStyle/>
                    <a:p>
                      <a:pPr algn="l" fontAlgn="t"/>
                      <a: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Weight</a:t>
                      </a:r>
                      <a:b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</a:br>
                      <a: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(Moderate/Extended)</a:t>
                      </a:r>
                      <a:endParaRPr 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unladen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weight  + 200 kg</a:t>
                      </a:r>
                    </a:p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ax.: 2840kg 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0 % total mass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18632" marR="0" marT="1863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4E0F4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1: 90 % total mass</a:t>
                      </a:r>
                    </a:p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ax.: 2840kg </a:t>
                      </a:r>
                    </a:p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</a:p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1: + 50% payload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1: 90 % total mass </a:t>
                      </a:r>
                    </a:p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ax.: 2840kg </a:t>
                      </a:r>
                    </a:p>
                    <a:p>
                      <a:pPr algn="l" fontAlgn="t"/>
                      <a:endParaRPr lang="en-US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1: + 50% payload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unladen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weight  + 200 kg </a:t>
                      </a:r>
                    </a:p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ax.: 2840kg 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99"/>
                    </a:solidFill>
                  </a:tcPr>
                </a:tc>
              </a:tr>
              <a:tr h="137300">
                <a:tc vMerge="1">
                  <a:txBody>
                    <a:bodyPr/>
                    <a:lstStyle/>
                    <a:p>
                      <a:pPr algn="l" fontAlgn="t"/>
                      <a:endParaRPr 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0 % total mass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t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t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t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0 % total mass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99"/>
                    </a:solidFill>
                  </a:tcPr>
                </a:tc>
              </a:tr>
              <a:tr h="149290"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in. ø-speed</a:t>
                      </a:r>
                      <a:b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</a:br>
                      <a:r>
                        <a:rPr lang="en-US" sz="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(City/ overland/ highway)</a:t>
                      </a:r>
                      <a:endParaRPr lang="en-US" sz="6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0 km/h / - / 90 km/h 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5 km/h / - / 90 km/h 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18632" marR="0" marT="1863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4E0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15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km/h / - / 90 km/h 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0 km/h / - / 90 km/h 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0 km/h / - / 90 km/h 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99"/>
                    </a:solidFill>
                  </a:tcPr>
                </a:tc>
              </a:tr>
              <a:tr h="286590">
                <a:tc rowSpan="2">
                  <a:txBody>
                    <a:bodyPr/>
                    <a:lstStyle/>
                    <a:p>
                      <a:pPr algn="l" fontAlgn="t"/>
                      <a: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iming</a:t>
                      </a:r>
                      <a:endParaRPr 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tep 1: NT2017 / -</a:t>
                      </a:r>
                    </a:p>
                    <a:p>
                      <a:pPr algn="l" fontAlgn="t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/>
                      </a:r>
                      <a:b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</a:b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tep 1: NT2017 / AT2018</a:t>
                      </a:r>
                      <a:b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</a:b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/>
                      </a:r>
                      <a:b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</a:b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1: </a:t>
                      </a:r>
                      <a:r>
                        <a:rPr lang="en-US" sz="7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.b.d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.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tep 1: 9/2017NT / 9/2018 AT   ,N1 + 1year</a:t>
                      </a:r>
                      <a:b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</a:b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  <a:endParaRPr lang="en-US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  <a:p>
                      <a:pPr algn="ctr" fontAlgn="b"/>
                      <a:endParaRPr lang="en-US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  <a:p>
                      <a:pPr algn="ctr" fontAlgn="b"/>
                      <a:endParaRPr lang="en-US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  <a:p>
                      <a:pPr algn="ctr" fontAlgn="b"/>
                      <a:endParaRPr lang="en-US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  <a:p>
                      <a:pPr algn="ctr" fontAlgn="b"/>
                      <a:endParaRPr lang="en-US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tep 2: 2020 / 2021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  |   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1 + 1year</a:t>
                      </a:r>
                    </a:p>
                    <a:p>
                      <a:pPr algn="ctr" fontAlgn="b"/>
                      <a:endParaRPr lang="en-US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18632" marR="0" marT="1863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4E0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tep 1: 9/2017NT / 9/2019 AT   ,N1 + 1year</a:t>
                      </a:r>
                      <a:b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</a:b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&amp; (Flexibility by pre-fulfilling of RDE Reg.)</a:t>
                      </a:r>
                    </a:p>
                    <a:p>
                      <a:pPr algn="l" fontAlgn="t"/>
                      <a: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x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luding Gasoline DI</a:t>
                      </a:r>
                    </a:p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&amp; Hybrid</a:t>
                      </a:r>
                    </a:p>
                    <a:p>
                      <a:pPr algn="l" fontAlgn="t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tep 1: 9/2017NT / 9/2019 AT   ,N1 + 1year</a:t>
                      </a:r>
                      <a:b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</a:b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&amp; (Flexibility by pre-fulfilling of RDE Reg.)</a:t>
                      </a:r>
                    </a:p>
                    <a:p>
                      <a:pPr algn="l" fontAlgn="t"/>
                      <a: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x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luding Gasoline DI</a:t>
                      </a:r>
                    </a:p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&amp; Hybrid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tep 1: 9/2017NT / 9/2019 AT   ,N1 + 1year</a:t>
                      </a:r>
                      <a:b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</a:b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&amp; (Flexibility by pre-fulfilling of RDE Reg.)</a:t>
                      </a:r>
                    </a:p>
                    <a:p>
                      <a:pPr algn="l" fontAlgn="t"/>
                      <a: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x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luding Gasoline DI</a:t>
                      </a:r>
                    </a:p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&amp; Hybrid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99"/>
                    </a:solidFill>
                  </a:tcPr>
                </a:tc>
              </a:tr>
              <a:tr h="217940">
                <a:tc vMerge="1">
                  <a:txBody>
                    <a:bodyPr/>
                    <a:lstStyle/>
                    <a:p>
                      <a:pPr algn="l" fontAlgn="t"/>
                      <a:endParaRPr 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tep 2: 5 years after  OJ (NT2020 / AT2021)</a:t>
                      </a:r>
                      <a:b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</a:br>
                      <a:endParaRPr lang="en-US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1 + 1year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t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tep 2: 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sym typeface="Wingdings" panose="05000000000000000000" pitchFamily="2" charset="2"/>
                        </a:rPr>
                        <a:t>5 years after published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sym typeface="Wingdings" panose="05000000000000000000" pitchFamily="2" charset="2"/>
                        </a:rPr>
                        <a:t> 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sym typeface="Wingdings" panose="05000000000000000000" pitchFamily="2" charset="2"/>
                        </a:rPr>
                        <a:t>in official journal 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/>
                      </a:r>
                      <a:b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</a:b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1 + 1year</a:t>
                      </a:r>
                    </a:p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In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luding Gasoline DI &amp; </a:t>
                      </a:r>
                    </a:p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Hybrid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tep 2: 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sym typeface="Wingdings" panose="05000000000000000000" pitchFamily="2" charset="2"/>
                        </a:rPr>
                        <a:t>5 years after published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sym typeface="Wingdings" panose="05000000000000000000" pitchFamily="2" charset="2"/>
                        </a:rPr>
                        <a:t> 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sym typeface="Wingdings" panose="05000000000000000000" pitchFamily="2" charset="2"/>
                        </a:rPr>
                        <a:t>in official journal 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/>
                      </a:r>
                      <a:b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</a:b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1 + 1year</a:t>
                      </a:r>
                    </a:p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In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luding Gasoline DI &amp; </a:t>
                      </a:r>
                    </a:p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Hybrid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tep 2: 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sym typeface="Wingdings" panose="05000000000000000000" pitchFamily="2" charset="2"/>
                        </a:rPr>
                        <a:t>5 years after published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sym typeface="Wingdings" panose="05000000000000000000" pitchFamily="2" charset="2"/>
                        </a:rPr>
                        <a:t> 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sym typeface="Wingdings" panose="05000000000000000000" pitchFamily="2" charset="2"/>
                        </a:rPr>
                        <a:t>in official journal 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/>
                      </a:r>
                      <a:b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</a:b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1 + 1year</a:t>
                      </a:r>
                    </a:p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In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luding Gasoline DI &amp;</a:t>
                      </a:r>
                    </a:p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Hybrid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99"/>
                    </a:solidFill>
                  </a:tcPr>
                </a:tc>
              </a:tr>
              <a:tr h="149290">
                <a:tc rowSpan="2">
                  <a:txBody>
                    <a:bodyPr/>
                    <a:lstStyle/>
                    <a:p>
                      <a:pPr algn="l" fontAlgn="t"/>
                      <a:r>
                        <a:rPr lang="en-US" sz="7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CF’s</a:t>
                      </a:r>
                      <a:endParaRPr lang="en-US" sz="700" b="1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2-step approach </a:t>
                      </a:r>
                      <a:br>
                        <a:rPr lang="en-US" sz="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</a:br>
                      <a:r>
                        <a:rPr lang="en-US" sz="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Step 1: 3,5 / 5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1-step &lt; 2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2-step approach </a:t>
                      </a:r>
                      <a:br>
                        <a:rPr lang="en-US" sz="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</a:br>
                      <a:r>
                        <a:rPr lang="en-US" sz="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    Step 1: 2,5 / ?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4E0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2-step approach </a:t>
                      </a:r>
                      <a:br>
                        <a:rPr lang="en-US" sz="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</a:br>
                      <a:r>
                        <a:rPr lang="en-US" sz="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Step 1: 3,5 / 5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2-step approach </a:t>
                      </a:r>
                      <a:br>
                        <a:rPr lang="en-US" sz="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</a:br>
                      <a:r>
                        <a:rPr lang="en-US" sz="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Step 1: 3,5 / 5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2-step approach </a:t>
                      </a:r>
                      <a:br>
                        <a:rPr lang="en-US" sz="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</a:br>
                      <a:r>
                        <a:rPr lang="en-US" sz="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Step 1: 3,5 / 5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99"/>
                    </a:solidFill>
                  </a:tcPr>
                </a:tc>
              </a:tr>
              <a:tr h="80640">
                <a:tc vMerge="1">
                  <a:txBody>
                    <a:bodyPr/>
                    <a:lstStyle/>
                    <a:p>
                      <a:pPr algn="l" fontAlgn="t"/>
                      <a:endParaRPr 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Step 2: 2 / 3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t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    Step 2: 1,5 / ?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4E0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Step 2: 2 / 3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Step 2: 2 / 3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Step 2: 2 / 3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99"/>
                    </a:solidFill>
                  </a:tcPr>
                </a:tc>
              </a:tr>
              <a:tr h="217940"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Grade</a:t>
                      </a:r>
                      <a:br>
                        <a:rPr lang="en-US" sz="7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</a:br>
                      <a:r>
                        <a:rPr lang="en-US" sz="7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(Moderate/Extended) </a:t>
                      </a:r>
                    </a:p>
                  </a:txBody>
                  <a:tcPr marL="18632" marR="0" marT="18632" marB="0">
                    <a:lnL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2,0 % / 3,5 % (P95%) </a:t>
                      </a:r>
                      <a:br>
                        <a:rPr lang="en-US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</a:br>
                      <a:r>
                        <a:rPr lang="en-US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cum</a:t>
                      </a:r>
                      <a:r>
                        <a:rPr lang="en-US" sz="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. </a:t>
                      </a:r>
                      <a:r>
                        <a:rPr lang="en-US" sz="7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altit</a:t>
                      </a:r>
                      <a:r>
                        <a:rPr lang="en-US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. 650m/100km; 1000m/100km 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no restriction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Agreed</a:t>
                      </a:r>
                      <a:r>
                        <a:rPr lang="en-US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 </a:t>
                      </a:r>
                      <a:r>
                        <a:rPr lang="en-US" sz="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 to ACEA position</a:t>
                      </a:r>
                    </a:p>
                    <a:p>
                      <a:pPr algn="ctr" fontAlgn="b"/>
                      <a:endParaRPr lang="en-US" sz="7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4E0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da-DK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2,0 % / 3,5 % (P95%) </a:t>
                      </a:r>
                      <a:br>
                        <a:rPr lang="da-DK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</a:br>
                      <a:r>
                        <a:rPr lang="en-US" sz="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cum. </a:t>
                      </a:r>
                      <a:r>
                        <a:rPr lang="en-US" sz="7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altit</a:t>
                      </a:r>
                      <a:r>
                        <a:rPr lang="en-US" sz="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. 650m/100km; 1000m/100km </a:t>
                      </a:r>
                      <a:endParaRPr lang="en-US" sz="7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da-DK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2,0 % / 3,5 % (P95%) </a:t>
                      </a:r>
                      <a:br>
                        <a:rPr lang="da-DK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</a:br>
                      <a:r>
                        <a:rPr lang="en-US" sz="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cum. </a:t>
                      </a:r>
                      <a:r>
                        <a:rPr lang="en-US" sz="7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altit</a:t>
                      </a:r>
                      <a:r>
                        <a:rPr lang="en-US" sz="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. 650m/100km; 1000m/100km </a:t>
                      </a:r>
                      <a:endParaRPr lang="en-US" sz="7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2,0 % / 3,5 % (P95%) </a:t>
                      </a:r>
                      <a:br>
                        <a:rPr lang="da-DK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</a:br>
                      <a:r>
                        <a:rPr lang="en-US" sz="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cum. </a:t>
                      </a:r>
                      <a:r>
                        <a:rPr lang="en-US" sz="7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altit</a:t>
                      </a:r>
                      <a:r>
                        <a:rPr lang="en-US" sz="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. 650m/100km; 1000m/100km </a:t>
                      </a:r>
                    </a:p>
                    <a:p>
                      <a:pPr algn="l" fontAlgn="t"/>
                      <a:endParaRPr lang="da-DK" sz="7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99"/>
                    </a:solidFill>
                  </a:tcPr>
                </a:tc>
              </a:tr>
              <a:tr h="355240">
                <a:tc>
                  <a:txBody>
                    <a:bodyPr/>
                    <a:lstStyle/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Dynamic of driving </a:t>
                      </a:r>
                      <a:b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</a:br>
                      <a: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(Moderate/Extended) </a:t>
                      </a:r>
                    </a:p>
                  </a:txBody>
                  <a:tcPr marL="18632" marR="0" marT="18632" marB="0">
                    <a:lnL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+0,288v &lt; v · </a:t>
                      </a:r>
                      <a:r>
                        <a:rPr lang="en-US" sz="7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pos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&lt; 11+0,288v (P95%)</a:t>
                      </a:r>
                      <a:b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</a:b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  <a:b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</a:b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+0,288v &lt; v · </a:t>
                      </a:r>
                      <a:r>
                        <a:rPr lang="en-US" sz="7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pos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&lt; 14+0,288v (P95%)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o restriction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Agreed  to ACEA position</a:t>
                      </a:r>
                    </a:p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4E0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+0,288v &lt; v · </a:t>
                      </a:r>
                      <a:r>
                        <a:rPr lang="en-US" sz="7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pos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&lt;  11+0,288v (P95%)</a:t>
                      </a:r>
                      <a:b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</a:b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  <a:b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</a:b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+0,288v &lt; v · </a:t>
                      </a:r>
                      <a:r>
                        <a:rPr lang="en-US" sz="7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pos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&lt;  14+0,288v (P95%)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+0,288v &lt; v · </a:t>
                      </a:r>
                      <a:r>
                        <a:rPr lang="en-US" sz="7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pos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&lt; 11+0,288v (P95%)</a:t>
                      </a:r>
                      <a:b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</a:b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  <a:b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</a:b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+0,288v &lt; v · </a:t>
                      </a:r>
                      <a:r>
                        <a:rPr lang="en-US" sz="7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pos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&lt; 14+0,288v (P95%)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+0,288v &lt; v · </a:t>
                      </a:r>
                      <a:r>
                        <a:rPr lang="en-US" sz="7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pos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&lt; </a:t>
                      </a:r>
                    </a:p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1+0,288v (P95%)</a:t>
                      </a:r>
                      <a:b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</a:b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  <a:b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</a:b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+0,288v &lt; v · </a:t>
                      </a:r>
                      <a:r>
                        <a:rPr lang="en-US" sz="7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pos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&lt; </a:t>
                      </a:r>
                    </a:p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4+0,288v (P95%)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99"/>
                    </a:solidFill>
                  </a:tcPr>
                </a:tc>
              </a:tr>
            </a:tbl>
          </a:graphicData>
        </a:graphic>
      </p:graphicFrame>
      <p:sp>
        <p:nvSpPr>
          <p:cNvPr id="99" name="Pfeil nach rechts 98"/>
          <p:cNvSpPr/>
          <p:nvPr/>
        </p:nvSpPr>
        <p:spPr>
          <a:xfrm rot="10800000">
            <a:off x="7415462" y="1480982"/>
            <a:ext cx="1130188" cy="251402"/>
          </a:xfrm>
          <a:prstGeom prst="rightArrow">
            <a:avLst>
              <a:gd name="adj1" fmla="val 58411"/>
              <a:gd name="adj2" fmla="val 55011"/>
            </a:avLst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65000"/>
                </a:schemeClr>
              </a:gs>
            </a:gsLst>
            <a:lin ang="0" scaled="1"/>
            <a:tileRect/>
          </a:gradFill>
          <a:ln w="762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Font typeface="Wingdings" pitchFamily="2" charset="2"/>
              <a:buNone/>
            </a:pPr>
            <a:endParaRPr lang="de-DE" sz="1400" dirty="0" err="1" smtClean="0">
              <a:solidFill>
                <a:schemeClr val="tx1">
                  <a:lumMod val="95000"/>
                  <a:lumOff val="5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00" name="Textfeld 99"/>
          <p:cNvSpPr txBox="1"/>
          <p:nvPr/>
        </p:nvSpPr>
        <p:spPr>
          <a:xfrm>
            <a:off x="7900068" y="1462032"/>
            <a:ext cx="62542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 smtClean="0"/>
              <a:t>Level 1</a:t>
            </a:r>
          </a:p>
        </p:txBody>
      </p:sp>
      <p:sp>
        <p:nvSpPr>
          <p:cNvPr id="101" name="Pfeil nach rechts 100"/>
          <p:cNvSpPr/>
          <p:nvPr/>
        </p:nvSpPr>
        <p:spPr>
          <a:xfrm rot="10800000">
            <a:off x="6054016" y="1477843"/>
            <a:ext cx="1274897" cy="251402"/>
          </a:xfrm>
          <a:prstGeom prst="rightArrow">
            <a:avLst>
              <a:gd name="adj1" fmla="val 58411"/>
              <a:gd name="adj2" fmla="val 55011"/>
            </a:avLst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65000"/>
                </a:schemeClr>
              </a:gs>
            </a:gsLst>
            <a:lin ang="0" scaled="1"/>
            <a:tileRect/>
          </a:gradFill>
          <a:ln w="762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Font typeface="Wingdings" pitchFamily="2" charset="2"/>
              <a:buNone/>
            </a:pPr>
            <a:endParaRPr lang="de-DE" sz="1400" dirty="0" err="1" smtClean="0">
              <a:solidFill>
                <a:schemeClr val="tx1">
                  <a:lumMod val="95000"/>
                  <a:lumOff val="5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02" name="Textfeld 101"/>
          <p:cNvSpPr txBox="1"/>
          <p:nvPr/>
        </p:nvSpPr>
        <p:spPr>
          <a:xfrm>
            <a:off x="6599876" y="1461531"/>
            <a:ext cx="62542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 smtClean="0"/>
              <a:t>Level 2</a:t>
            </a:r>
          </a:p>
        </p:txBody>
      </p:sp>
      <p:sp>
        <p:nvSpPr>
          <p:cNvPr id="103" name="Pfeil nach rechts 102"/>
          <p:cNvSpPr/>
          <p:nvPr/>
        </p:nvSpPr>
        <p:spPr>
          <a:xfrm rot="10800000">
            <a:off x="5024606" y="1465981"/>
            <a:ext cx="847321" cy="241769"/>
          </a:xfrm>
          <a:prstGeom prst="rightArrow">
            <a:avLst>
              <a:gd name="adj1" fmla="val 100000"/>
              <a:gd name="adj2" fmla="val 0"/>
            </a:avLst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65000"/>
                </a:schemeClr>
              </a:gs>
            </a:gsLst>
            <a:lin ang="0" scaled="1"/>
            <a:tileRect/>
          </a:gradFill>
          <a:ln w="762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Font typeface="Wingdings" pitchFamily="2" charset="2"/>
              <a:buNone/>
            </a:pPr>
            <a:endParaRPr lang="de-DE" sz="1400" dirty="0" err="1" smtClean="0">
              <a:solidFill>
                <a:schemeClr val="tx1">
                  <a:lumMod val="95000"/>
                  <a:lumOff val="5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04" name="Textfeld 103"/>
          <p:cNvSpPr txBox="1"/>
          <p:nvPr/>
        </p:nvSpPr>
        <p:spPr>
          <a:xfrm>
            <a:off x="5293440" y="1459658"/>
            <a:ext cx="62542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 smtClean="0"/>
              <a:t>Level 3</a:t>
            </a:r>
          </a:p>
        </p:txBody>
      </p:sp>
      <p:pic>
        <p:nvPicPr>
          <p:cNvPr id="105" name="Picture 2" descr="European Commission logo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93371" y="1622651"/>
            <a:ext cx="445295" cy="308082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6" name="Picture 5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39358" y="1684009"/>
            <a:ext cx="292469" cy="3213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1" name="Picture 2" descr="European Commission logo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55228" y="1646890"/>
            <a:ext cx="445295" cy="308082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6" name="Pfeil nach oben und unten 145"/>
          <p:cNvSpPr/>
          <p:nvPr/>
        </p:nvSpPr>
        <p:spPr>
          <a:xfrm rot="5400000">
            <a:off x="3737239" y="4213805"/>
            <a:ext cx="102722" cy="206130"/>
          </a:xfrm>
          <a:prstGeom prst="upDownArrow">
            <a:avLst>
              <a:gd name="adj1" fmla="val 44480"/>
              <a:gd name="adj2" fmla="val 69553"/>
            </a:avLst>
          </a:prstGeom>
          <a:gradFill flip="none" rotWithShape="1">
            <a:gsLst>
              <a:gs pos="16000">
                <a:srgbClr val="FFBDCE"/>
              </a:gs>
              <a:gs pos="55000">
                <a:srgbClr val="D4E0F4"/>
              </a:gs>
            </a:gsLst>
            <a:lin ang="16200000" scaled="1"/>
            <a:tileRect/>
          </a:gradFill>
          <a:ln w="6350" cap="flat" cmpd="sng" algn="ctr">
            <a:solidFill>
              <a:schemeClr val="bg2"/>
            </a:solidFill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 err="1" smtClean="0">
              <a:ln>
                <a:noFill/>
              </a:ln>
              <a:solidFill>
                <a:srgbClr val="000000">
                  <a:lumMod val="95000"/>
                  <a:lumOff val="5000"/>
                </a:srgbClr>
              </a:solidFill>
              <a:effectLst/>
              <a:uLnTx/>
              <a:uFillTx/>
              <a:latin typeface="Calibri"/>
              <a:ea typeface="+mn-ea"/>
              <a:cs typeface="Calibri" pitchFamily="34" charset="0"/>
            </a:endParaRPr>
          </a:p>
        </p:txBody>
      </p:sp>
      <p:sp>
        <p:nvSpPr>
          <p:cNvPr id="147" name="Pfeil nach oben und unten 146"/>
          <p:cNvSpPr/>
          <p:nvPr/>
        </p:nvSpPr>
        <p:spPr>
          <a:xfrm rot="5400000">
            <a:off x="3730515" y="5205531"/>
            <a:ext cx="102722" cy="206130"/>
          </a:xfrm>
          <a:prstGeom prst="upDownArrow">
            <a:avLst>
              <a:gd name="adj1" fmla="val 44480"/>
              <a:gd name="adj2" fmla="val 69553"/>
            </a:avLst>
          </a:prstGeom>
          <a:gradFill flip="none" rotWithShape="1">
            <a:gsLst>
              <a:gs pos="16000">
                <a:srgbClr val="FFBDCE"/>
              </a:gs>
              <a:gs pos="55000">
                <a:srgbClr val="D4E0F4"/>
              </a:gs>
            </a:gsLst>
            <a:lin ang="16200000" scaled="1"/>
            <a:tileRect/>
          </a:gradFill>
          <a:ln w="6350" cap="flat" cmpd="sng" algn="ctr">
            <a:solidFill>
              <a:schemeClr val="bg2"/>
            </a:solidFill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 err="1" smtClean="0">
              <a:ln>
                <a:noFill/>
              </a:ln>
              <a:solidFill>
                <a:srgbClr val="000000">
                  <a:lumMod val="95000"/>
                  <a:lumOff val="5000"/>
                </a:srgbClr>
              </a:solidFill>
              <a:effectLst/>
              <a:uLnTx/>
              <a:uFillTx/>
              <a:latin typeface="Calibri"/>
              <a:ea typeface="+mn-ea"/>
              <a:cs typeface="Calibri" pitchFamily="34" charset="0"/>
            </a:endParaRPr>
          </a:p>
        </p:txBody>
      </p:sp>
      <p:sp>
        <p:nvSpPr>
          <p:cNvPr id="148" name="Pfeil nach oben und unten 147"/>
          <p:cNvSpPr/>
          <p:nvPr/>
        </p:nvSpPr>
        <p:spPr>
          <a:xfrm rot="5400000">
            <a:off x="3730515" y="5585405"/>
            <a:ext cx="102722" cy="206130"/>
          </a:xfrm>
          <a:prstGeom prst="upDownArrow">
            <a:avLst>
              <a:gd name="adj1" fmla="val 44480"/>
              <a:gd name="adj2" fmla="val 69553"/>
            </a:avLst>
          </a:prstGeom>
          <a:gradFill flip="none" rotWithShape="1">
            <a:gsLst>
              <a:gs pos="16000">
                <a:srgbClr val="FFBDCE"/>
              </a:gs>
              <a:gs pos="55000">
                <a:srgbClr val="D4E0F4"/>
              </a:gs>
            </a:gsLst>
            <a:lin ang="16200000" scaled="1"/>
            <a:tileRect/>
          </a:gradFill>
          <a:ln w="6350" cap="flat" cmpd="sng" algn="ctr">
            <a:solidFill>
              <a:schemeClr val="bg2"/>
            </a:solidFill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 err="1" smtClean="0">
              <a:ln>
                <a:noFill/>
              </a:ln>
              <a:solidFill>
                <a:srgbClr val="000000">
                  <a:lumMod val="95000"/>
                  <a:lumOff val="5000"/>
                </a:srgbClr>
              </a:solidFill>
              <a:effectLst/>
              <a:uLnTx/>
              <a:uFillTx/>
              <a:latin typeface="Calibri"/>
              <a:ea typeface="+mn-ea"/>
              <a:cs typeface="Calibri" pitchFamily="34" charset="0"/>
            </a:endParaRPr>
          </a:p>
        </p:txBody>
      </p:sp>
      <p:sp>
        <p:nvSpPr>
          <p:cNvPr id="149" name="Pfeil nach oben und unten 148"/>
          <p:cNvSpPr/>
          <p:nvPr/>
        </p:nvSpPr>
        <p:spPr>
          <a:xfrm rot="5400000">
            <a:off x="3732726" y="6195005"/>
            <a:ext cx="102722" cy="206130"/>
          </a:xfrm>
          <a:prstGeom prst="upDownArrow">
            <a:avLst>
              <a:gd name="adj1" fmla="val 44480"/>
              <a:gd name="adj2" fmla="val 69553"/>
            </a:avLst>
          </a:prstGeom>
          <a:gradFill flip="none" rotWithShape="1">
            <a:gsLst>
              <a:gs pos="16000">
                <a:srgbClr val="FFBDCE"/>
              </a:gs>
              <a:gs pos="55000">
                <a:srgbClr val="D4E0F4"/>
              </a:gs>
            </a:gsLst>
            <a:lin ang="16200000" scaled="1"/>
            <a:tileRect/>
          </a:gradFill>
          <a:ln w="6350" cap="flat" cmpd="sng" algn="ctr">
            <a:solidFill>
              <a:schemeClr val="bg2"/>
            </a:solidFill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 err="1" smtClean="0">
              <a:ln>
                <a:noFill/>
              </a:ln>
              <a:solidFill>
                <a:srgbClr val="000000">
                  <a:lumMod val="95000"/>
                  <a:lumOff val="5000"/>
                </a:srgbClr>
              </a:solidFill>
              <a:effectLst/>
              <a:uLnTx/>
              <a:uFillTx/>
              <a:latin typeface="Calibri"/>
              <a:ea typeface="+mn-ea"/>
              <a:cs typeface="Calibri" pitchFamily="34" charset="0"/>
            </a:endParaRPr>
          </a:p>
        </p:txBody>
      </p:sp>
      <p:pic>
        <p:nvPicPr>
          <p:cNvPr id="150" name="Picture 2" descr="http://www.springerprofessional.de/servlet/contentblob/3068270/articleImg/743858.jpg"/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5657" y="705717"/>
            <a:ext cx="1141094" cy="7607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" name="Gruppieren 9"/>
          <p:cNvGrpSpPr/>
          <p:nvPr/>
        </p:nvGrpSpPr>
        <p:grpSpPr>
          <a:xfrm>
            <a:off x="3766651" y="6516744"/>
            <a:ext cx="171417" cy="180005"/>
            <a:chOff x="9563100" y="2938371"/>
            <a:chExt cx="1200150" cy="135255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6" name="Ellipse 5"/>
            <p:cNvSpPr/>
            <p:nvPr/>
          </p:nvSpPr>
          <p:spPr bwMode="auto">
            <a:xfrm>
              <a:off x="9906000" y="3258485"/>
              <a:ext cx="609600" cy="62771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3200" b="1" i="0" u="none" strike="noStrike" cap="none" normalizeH="0" baseline="0">
                <a:ln>
                  <a:noFill/>
                </a:ln>
                <a:solidFill>
                  <a:srgbClr val="336699"/>
                </a:solidFill>
                <a:effectLst/>
                <a:latin typeface="Verdana" charset="0"/>
                <a:ea typeface="ＭＳ Ｐゴシック" charset="0"/>
                <a:cs typeface="Arial" charset="0"/>
              </a:endParaRPr>
            </a:p>
          </p:txBody>
        </p:sp>
        <p:pic>
          <p:nvPicPr>
            <p:cNvPr id="6147" name="Picture 3"/>
            <p:cNvPicPr>
              <a:picLocks noChangeAspect="1" noChangeArrowheads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aturation sat="66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63100" y="2938371"/>
              <a:ext cx="1200150" cy="1352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66" name="Gruppieren 165"/>
          <p:cNvGrpSpPr/>
          <p:nvPr/>
        </p:nvGrpSpPr>
        <p:grpSpPr>
          <a:xfrm>
            <a:off x="4096960" y="4314640"/>
            <a:ext cx="171417" cy="180005"/>
            <a:chOff x="9563100" y="2938371"/>
            <a:chExt cx="1200150" cy="135255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67" name="Ellipse 166"/>
            <p:cNvSpPr/>
            <p:nvPr/>
          </p:nvSpPr>
          <p:spPr bwMode="auto">
            <a:xfrm>
              <a:off x="9906000" y="3258485"/>
              <a:ext cx="609600" cy="62771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3200" b="1" i="0" u="none" strike="noStrike" cap="none" normalizeH="0" baseline="0">
                <a:ln>
                  <a:noFill/>
                </a:ln>
                <a:solidFill>
                  <a:srgbClr val="336699"/>
                </a:solidFill>
                <a:effectLst/>
                <a:latin typeface="Verdana" charset="0"/>
                <a:ea typeface="ＭＳ Ｐゴシック" charset="0"/>
                <a:cs typeface="Arial" charset="0"/>
              </a:endParaRPr>
            </a:p>
          </p:txBody>
        </p:sp>
        <p:pic>
          <p:nvPicPr>
            <p:cNvPr id="168" name="Picture 3"/>
            <p:cNvPicPr>
              <a:picLocks noChangeAspect="1" noChangeArrowheads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aturation sat="66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63100" y="2938371"/>
              <a:ext cx="1200150" cy="1352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69" name="Gruppieren 168"/>
          <p:cNvGrpSpPr/>
          <p:nvPr/>
        </p:nvGrpSpPr>
        <p:grpSpPr>
          <a:xfrm>
            <a:off x="4256016" y="4316870"/>
            <a:ext cx="171417" cy="180005"/>
            <a:chOff x="9563100" y="2938371"/>
            <a:chExt cx="1200150" cy="135255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70" name="Ellipse 169"/>
            <p:cNvSpPr/>
            <p:nvPr/>
          </p:nvSpPr>
          <p:spPr bwMode="auto">
            <a:xfrm>
              <a:off x="9906000" y="3258485"/>
              <a:ext cx="609600" cy="62771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3200" b="1" i="0" u="none" strike="noStrike" cap="none" normalizeH="0" baseline="0">
                <a:ln>
                  <a:noFill/>
                </a:ln>
                <a:solidFill>
                  <a:srgbClr val="336699"/>
                </a:solidFill>
                <a:effectLst/>
                <a:latin typeface="Verdana" charset="0"/>
                <a:ea typeface="ＭＳ Ｐゴシック" charset="0"/>
                <a:cs typeface="Arial" charset="0"/>
              </a:endParaRPr>
            </a:p>
          </p:txBody>
        </p:sp>
        <p:pic>
          <p:nvPicPr>
            <p:cNvPr id="171" name="Picture 3"/>
            <p:cNvPicPr>
              <a:picLocks noChangeAspect="1" noChangeArrowheads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aturation sat="66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63100" y="2938371"/>
              <a:ext cx="1200150" cy="1352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72" name="Gruppieren 171"/>
          <p:cNvGrpSpPr/>
          <p:nvPr/>
        </p:nvGrpSpPr>
        <p:grpSpPr>
          <a:xfrm>
            <a:off x="4412561" y="4316870"/>
            <a:ext cx="171417" cy="180005"/>
            <a:chOff x="9563100" y="2938371"/>
            <a:chExt cx="1200150" cy="135255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73" name="Ellipse 172"/>
            <p:cNvSpPr/>
            <p:nvPr/>
          </p:nvSpPr>
          <p:spPr bwMode="auto">
            <a:xfrm>
              <a:off x="9906000" y="3258485"/>
              <a:ext cx="609600" cy="62771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3200" b="1" i="0" u="none" strike="noStrike" cap="none" normalizeH="0" baseline="0">
                <a:ln>
                  <a:noFill/>
                </a:ln>
                <a:solidFill>
                  <a:srgbClr val="336699"/>
                </a:solidFill>
                <a:effectLst/>
                <a:latin typeface="Verdana" charset="0"/>
                <a:ea typeface="ＭＳ Ｐゴシック" charset="0"/>
                <a:cs typeface="Arial" charset="0"/>
              </a:endParaRPr>
            </a:p>
          </p:txBody>
        </p:sp>
        <p:pic>
          <p:nvPicPr>
            <p:cNvPr id="174" name="Picture 3"/>
            <p:cNvPicPr>
              <a:picLocks noChangeAspect="1" noChangeArrowheads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aturation sat="66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63100" y="2938371"/>
              <a:ext cx="1200150" cy="1352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75" name="Gruppieren 174"/>
          <p:cNvGrpSpPr/>
          <p:nvPr/>
        </p:nvGrpSpPr>
        <p:grpSpPr>
          <a:xfrm>
            <a:off x="4450574" y="5190060"/>
            <a:ext cx="171417" cy="180005"/>
            <a:chOff x="9563100" y="2938371"/>
            <a:chExt cx="1200150" cy="135255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76" name="Ellipse 175"/>
            <p:cNvSpPr/>
            <p:nvPr/>
          </p:nvSpPr>
          <p:spPr bwMode="auto">
            <a:xfrm>
              <a:off x="9906000" y="3258485"/>
              <a:ext cx="609600" cy="62771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3200" b="1" i="0" u="none" strike="noStrike" cap="none" normalizeH="0" baseline="0">
                <a:ln>
                  <a:noFill/>
                </a:ln>
                <a:solidFill>
                  <a:srgbClr val="336699"/>
                </a:solidFill>
                <a:effectLst/>
                <a:latin typeface="Verdana" charset="0"/>
                <a:ea typeface="ＭＳ Ｐゴシック" charset="0"/>
                <a:cs typeface="Arial" charset="0"/>
              </a:endParaRPr>
            </a:p>
          </p:txBody>
        </p:sp>
        <p:pic>
          <p:nvPicPr>
            <p:cNvPr id="177" name="Picture 3"/>
            <p:cNvPicPr>
              <a:picLocks noChangeAspect="1" noChangeArrowheads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aturation sat="66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63100" y="2938371"/>
              <a:ext cx="1200150" cy="1352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78" name="Gruppieren 177"/>
          <p:cNvGrpSpPr/>
          <p:nvPr/>
        </p:nvGrpSpPr>
        <p:grpSpPr>
          <a:xfrm>
            <a:off x="4609630" y="5185363"/>
            <a:ext cx="171417" cy="180005"/>
            <a:chOff x="9563100" y="2938371"/>
            <a:chExt cx="1200150" cy="135255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79" name="Ellipse 178"/>
            <p:cNvSpPr/>
            <p:nvPr/>
          </p:nvSpPr>
          <p:spPr bwMode="auto">
            <a:xfrm>
              <a:off x="9906000" y="3258485"/>
              <a:ext cx="609600" cy="62771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3200" b="1" i="0" u="none" strike="noStrike" cap="none" normalizeH="0" baseline="0">
                <a:ln>
                  <a:noFill/>
                </a:ln>
                <a:solidFill>
                  <a:srgbClr val="336699"/>
                </a:solidFill>
                <a:effectLst/>
                <a:latin typeface="Verdana" charset="0"/>
                <a:ea typeface="ＭＳ Ｐゴシック" charset="0"/>
                <a:cs typeface="Arial" charset="0"/>
              </a:endParaRPr>
            </a:p>
          </p:txBody>
        </p:sp>
        <p:pic>
          <p:nvPicPr>
            <p:cNvPr id="180" name="Picture 3"/>
            <p:cNvPicPr>
              <a:picLocks noChangeAspect="1" noChangeArrowheads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aturation sat="66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63100" y="2938371"/>
              <a:ext cx="1200150" cy="1352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81" name="Gruppieren 180"/>
          <p:cNvGrpSpPr/>
          <p:nvPr/>
        </p:nvGrpSpPr>
        <p:grpSpPr>
          <a:xfrm>
            <a:off x="4766175" y="5185363"/>
            <a:ext cx="171417" cy="180005"/>
            <a:chOff x="9563100" y="2938371"/>
            <a:chExt cx="1200150" cy="135255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82" name="Ellipse 181"/>
            <p:cNvSpPr/>
            <p:nvPr/>
          </p:nvSpPr>
          <p:spPr bwMode="auto">
            <a:xfrm>
              <a:off x="9906000" y="3258485"/>
              <a:ext cx="609600" cy="62771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3200" b="1" i="0" u="none" strike="noStrike" cap="none" normalizeH="0" baseline="0">
                <a:ln>
                  <a:noFill/>
                </a:ln>
                <a:solidFill>
                  <a:srgbClr val="336699"/>
                </a:solidFill>
                <a:effectLst/>
                <a:latin typeface="Verdana" charset="0"/>
                <a:ea typeface="ＭＳ Ｐゴシック" charset="0"/>
                <a:cs typeface="Arial" charset="0"/>
              </a:endParaRPr>
            </a:p>
          </p:txBody>
        </p:sp>
        <p:pic>
          <p:nvPicPr>
            <p:cNvPr id="183" name="Picture 3"/>
            <p:cNvPicPr>
              <a:picLocks noChangeAspect="1" noChangeArrowheads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aturation sat="66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63100" y="2938371"/>
              <a:ext cx="1200150" cy="1352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84" name="Gruppieren 183"/>
          <p:cNvGrpSpPr/>
          <p:nvPr/>
        </p:nvGrpSpPr>
        <p:grpSpPr>
          <a:xfrm>
            <a:off x="4090068" y="5674168"/>
            <a:ext cx="171417" cy="180005"/>
            <a:chOff x="9563100" y="2938371"/>
            <a:chExt cx="1200150" cy="135255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85" name="Ellipse 184"/>
            <p:cNvSpPr/>
            <p:nvPr/>
          </p:nvSpPr>
          <p:spPr bwMode="auto">
            <a:xfrm>
              <a:off x="9906000" y="3258485"/>
              <a:ext cx="609600" cy="62771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3200" b="1" i="0" u="none" strike="noStrike" cap="none" normalizeH="0" baseline="0">
                <a:ln>
                  <a:noFill/>
                </a:ln>
                <a:solidFill>
                  <a:srgbClr val="336699"/>
                </a:solidFill>
                <a:effectLst/>
                <a:latin typeface="Verdana" charset="0"/>
                <a:ea typeface="ＭＳ Ｐゴシック" charset="0"/>
                <a:cs typeface="Arial" charset="0"/>
              </a:endParaRPr>
            </a:p>
          </p:txBody>
        </p:sp>
        <p:pic>
          <p:nvPicPr>
            <p:cNvPr id="186" name="Picture 3"/>
            <p:cNvPicPr>
              <a:picLocks noChangeAspect="1" noChangeArrowheads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aturation sat="66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63100" y="2938371"/>
              <a:ext cx="1200150" cy="1352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87" name="Gruppieren 186"/>
          <p:cNvGrpSpPr/>
          <p:nvPr/>
        </p:nvGrpSpPr>
        <p:grpSpPr>
          <a:xfrm>
            <a:off x="4249124" y="5669471"/>
            <a:ext cx="171417" cy="180005"/>
            <a:chOff x="9563100" y="2938371"/>
            <a:chExt cx="1200150" cy="135255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88" name="Ellipse 187"/>
            <p:cNvSpPr/>
            <p:nvPr/>
          </p:nvSpPr>
          <p:spPr bwMode="auto">
            <a:xfrm>
              <a:off x="9906000" y="3258485"/>
              <a:ext cx="609600" cy="62771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3200" b="1" i="0" u="none" strike="noStrike" cap="none" normalizeH="0" baseline="0">
                <a:ln>
                  <a:noFill/>
                </a:ln>
                <a:solidFill>
                  <a:srgbClr val="336699"/>
                </a:solidFill>
                <a:effectLst/>
                <a:latin typeface="Verdana" charset="0"/>
                <a:ea typeface="ＭＳ Ｐゴシック" charset="0"/>
                <a:cs typeface="Arial" charset="0"/>
              </a:endParaRPr>
            </a:p>
          </p:txBody>
        </p:sp>
        <p:pic>
          <p:nvPicPr>
            <p:cNvPr id="189" name="Picture 3"/>
            <p:cNvPicPr>
              <a:picLocks noChangeAspect="1" noChangeArrowheads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aturation sat="66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63100" y="2938371"/>
              <a:ext cx="1200150" cy="1352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90" name="Gruppieren 189"/>
          <p:cNvGrpSpPr/>
          <p:nvPr/>
        </p:nvGrpSpPr>
        <p:grpSpPr>
          <a:xfrm>
            <a:off x="4405669" y="5669471"/>
            <a:ext cx="171417" cy="180005"/>
            <a:chOff x="9563100" y="2938371"/>
            <a:chExt cx="1200150" cy="135255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91" name="Ellipse 190"/>
            <p:cNvSpPr/>
            <p:nvPr/>
          </p:nvSpPr>
          <p:spPr bwMode="auto">
            <a:xfrm>
              <a:off x="9906000" y="3258485"/>
              <a:ext cx="609600" cy="62771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3200" b="1" i="0" u="none" strike="noStrike" cap="none" normalizeH="0" baseline="0">
                <a:ln>
                  <a:noFill/>
                </a:ln>
                <a:solidFill>
                  <a:srgbClr val="336699"/>
                </a:solidFill>
                <a:effectLst/>
                <a:latin typeface="Verdana" charset="0"/>
                <a:ea typeface="ＭＳ Ｐゴシック" charset="0"/>
                <a:cs typeface="Arial" charset="0"/>
              </a:endParaRPr>
            </a:p>
          </p:txBody>
        </p:sp>
        <p:pic>
          <p:nvPicPr>
            <p:cNvPr id="192" name="Picture 3"/>
            <p:cNvPicPr>
              <a:picLocks noChangeAspect="1" noChangeArrowheads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aturation sat="66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63100" y="2938371"/>
              <a:ext cx="1200150" cy="1352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93" name="Gruppieren 192"/>
          <p:cNvGrpSpPr/>
          <p:nvPr/>
        </p:nvGrpSpPr>
        <p:grpSpPr>
          <a:xfrm>
            <a:off x="4090068" y="6216874"/>
            <a:ext cx="171417" cy="180005"/>
            <a:chOff x="9563100" y="2938371"/>
            <a:chExt cx="1200150" cy="135255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94" name="Ellipse 193"/>
            <p:cNvSpPr/>
            <p:nvPr/>
          </p:nvSpPr>
          <p:spPr bwMode="auto">
            <a:xfrm>
              <a:off x="9906000" y="3258485"/>
              <a:ext cx="609600" cy="62771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3200" b="1" i="0" u="none" strike="noStrike" cap="none" normalizeH="0" baseline="0">
                <a:ln>
                  <a:noFill/>
                </a:ln>
                <a:solidFill>
                  <a:srgbClr val="336699"/>
                </a:solidFill>
                <a:effectLst/>
                <a:latin typeface="Verdana" charset="0"/>
                <a:ea typeface="ＭＳ Ｐゴシック" charset="0"/>
                <a:cs typeface="Arial" charset="0"/>
              </a:endParaRPr>
            </a:p>
          </p:txBody>
        </p:sp>
        <p:pic>
          <p:nvPicPr>
            <p:cNvPr id="195" name="Picture 3"/>
            <p:cNvPicPr>
              <a:picLocks noChangeAspect="1" noChangeArrowheads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aturation sat="66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63100" y="2938371"/>
              <a:ext cx="1200150" cy="1352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96" name="Gruppieren 195"/>
          <p:cNvGrpSpPr/>
          <p:nvPr/>
        </p:nvGrpSpPr>
        <p:grpSpPr>
          <a:xfrm>
            <a:off x="4249124" y="6219104"/>
            <a:ext cx="171417" cy="180005"/>
            <a:chOff x="9563100" y="2938371"/>
            <a:chExt cx="1200150" cy="135255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97" name="Ellipse 196"/>
            <p:cNvSpPr/>
            <p:nvPr/>
          </p:nvSpPr>
          <p:spPr bwMode="auto">
            <a:xfrm>
              <a:off x="9906000" y="3258485"/>
              <a:ext cx="609600" cy="62771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3200" b="1" i="0" u="none" strike="noStrike" cap="none" normalizeH="0" baseline="0">
                <a:ln>
                  <a:noFill/>
                </a:ln>
                <a:solidFill>
                  <a:srgbClr val="336699"/>
                </a:solidFill>
                <a:effectLst/>
                <a:latin typeface="Verdana" charset="0"/>
                <a:ea typeface="ＭＳ Ｐゴシック" charset="0"/>
                <a:cs typeface="Arial" charset="0"/>
              </a:endParaRPr>
            </a:p>
          </p:txBody>
        </p:sp>
        <p:pic>
          <p:nvPicPr>
            <p:cNvPr id="198" name="Picture 3"/>
            <p:cNvPicPr>
              <a:picLocks noChangeAspect="1" noChangeArrowheads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aturation sat="66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63100" y="2938371"/>
              <a:ext cx="1200150" cy="1352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99" name="Gruppieren 198"/>
          <p:cNvGrpSpPr/>
          <p:nvPr/>
        </p:nvGrpSpPr>
        <p:grpSpPr>
          <a:xfrm>
            <a:off x="4405669" y="6219104"/>
            <a:ext cx="171417" cy="180005"/>
            <a:chOff x="9563100" y="2938371"/>
            <a:chExt cx="1200150" cy="135255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00" name="Ellipse 199"/>
            <p:cNvSpPr/>
            <p:nvPr/>
          </p:nvSpPr>
          <p:spPr bwMode="auto">
            <a:xfrm>
              <a:off x="9906000" y="3258485"/>
              <a:ext cx="609600" cy="62771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3200" b="1" i="0" u="none" strike="noStrike" cap="none" normalizeH="0" baseline="0">
                <a:ln>
                  <a:noFill/>
                </a:ln>
                <a:solidFill>
                  <a:srgbClr val="336699"/>
                </a:solidFill>
                <a:effectLst/>
                <a:latin typeface="Verdana" charset="0"/>
                <a:ea typeface="ＭＳ Ｐゴシック" charset="0"/>
                <a:cs typeface="Arial" charset="0"/>
              </a:endParaRPr>
            </a:p>
          </p:txBody>
        </p:sp>
        <p:pic>
          <p:nvPicPr>
            <p:cNvPr id="201" name="Picture 3"/>
            <p:cNvPicPr>
              <a:picLocks noChangeAspect="1" noChangeArrowheads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aturation sat="66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63100" y="2938371"/>
              <a:ext cx="1200150" cy="1352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02" name="Gruppieren 201"/>
          <p:cNvGrpSpPr/>
          <p:nvPr/>
        </p:nvGrpSpPr>
        <p:grpSpPr>
          <a:xfrm>
            <a:off x="5936734" y="2556277"/>
            <a:ext cx="171417" cy="180005"/>
            <a:chOff x="9563100" y="2938371"/>
            <a:chExt cx="1200150" cy="135255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03" name="Ellipse 202"/>
            <p:cNvSpPr/>
            <p:nvPr/>
          </p:nvSpPr>
          <p:spPr bwMode="auto">
            <a:xfrm>
              <a:off x="9906000" y="3258485"/>
              <a:ext cx="609600" cy="62771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3200" b="1" i="0" u="none" strike="noStrike" cap="none" normalizeH="0" baseline="0">
                <a:ln>
                  <a:noFill/>
                </a:ln>
                <a:solidFill>
                  <a:srgbClr val="336699"/>
                </a:solidFill>
                <a:effectLst/>
                <a:latin typeface="Verdana" charset="0"/>
                <a:ea typeface="ＭＳ Ｐゴシック" charset="0"/>
                <a:cs typeface="Arial" charset="0"/>
              </a:endParaRPr>
            </a:p>
          </p:txBody>
        </p:sp>
        <p:pic>
          <p:nvPicPr>
            <p:cNvPr id="204" name="Picture 3"/>
            <p:cNvPicPr>
              <a:picLocks noChangeAspect="1" noChangeArrowheads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aturation sat="66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63100" y="2938371"/>
              <a:ext cx="1200150" cy="1352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05" name="Gruppieren 204"/>
          <p:cNvGrpSpPr/>
          <p:nvPr/>
        </p:nvGrpSpPr>
        <p:grpSpPr>
          <a:xfrm>
            <a:off x="6093279" y="2556277"/>
            <a:ext cx="171417" cy="180005"/>
            <a:chOff x="9563100" y="2938371"/>
            <a:chExt cx="1200150" cy="135255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06" name="Ellipse 205"/>
            <p:cNvSpPr/>
            <p:nvPr/>
          </p:nvSpPr>
          <p:spPr bwMode="auto">
            <a:xfrm>
              <a:off x="9906000" y="3258485"/>
              <a:ext cx="609600" cy="62771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3200" b="1" i="0" u="none" strike="noStrike" cap="none" normalizeH="0" baseline="0">
                <a:ln>
                  <a:noFill/>
                </a:ln>
                <a:solidFill>
                  <a:srgbClr val="336699"/>
                </a:solidFill>
                <a:effectLst/>
                <a:latin typeface="Verdana" charset="0"/>
                <a:ea typeface="ＭＳ Ｐゴシック" charset="0"/>
                <a:cs typeface="Arial" charset="0"/>
              </a:endParaRPr>
            </a:p>
          </p:txBody>
        </p:sp>
        <p:pic>
          <p:nvPicPr>
            <p:cNvPr id="207" name="Picture 3"/>
            <p:cNvPicPr>
              <a:picLocks noChangeAspect="1" noChangeArrowheads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aturation sat="66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63100" y="2938371"/>
              <a:ext cx="1200150" cy="1352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14" name="Gruppieren 213"/>
          <p:cNvGrpSpPr/>
          <p:nvPr/>
        </p:nvGrpSpPr>
        <p:grpSpPr>
          <a:xfrm>
            <a:off x="5930598" y="3337592"/>
            <a:ext cx="171417" cy="180005"/>
            <a:chOff x="9563100" y="2938371"/>
            <a:chExt cx="1200150" cy="135255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15" name="Ellipse 214"/>
            <p:cNvSpPr/>
            <p:nvPr/>
          </p:nvSpPr>
          <p:spPr bwMode="auto">
            <a:xfrm>
              <a:off x="9906000" y="3258485"/>
              <a:ext cx="609600" cy="62771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3200" b="1" i="0" u="none" strike="noStrike" cap="none" normalizeH="0" baseline="0">
                <a:ln>
                  <a:noFill/>
                </a:ln>
                <a:solidFill>
                  <a:srgbClr val="336699"/>
                </a:solidFill>
                <a:effectLst/>
                <a:latin typeface="Verdana" charset="0"/>
                <a:ea typeface="ＭＳ Ｐゴシック" charset="0"/>
                <a:cs typeface="Arial" charset="0"/>
              </a:endParaRPr>
            </a:p>
          </p:txBody>
        </p:sp>
        <p:pic>
          <p:nvPicPr>
            <p:cNvPr id="216" name="Picture 3"/>
            <p:cNvPicPr>
              <a:picLocks noChangeAspect="1" noChangeArrowheads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aturation sat="66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63100" y="2938371"/>
              <a:ext cx="1200150" cy="1352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17" name="Gruppieren 216"/>
          <p:cNvGrpSpPr/>
          <p:nvPr/>
        </p:nvGrpSpPr>
        <p:grpSpPr>
          <a:xfrm>
            <a:off x="6087143" y="3337592"/>
            <a:ext cx="171417" cy="180005"/>
            <a:chOff x="9563100" y="2938371"/>
            <a:chExt cx="1200150" cy="135255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18" name="Ellipse 217"/>
            <p:cNvSpPr/>
            <p:nvPr/>
          </p:nvSpPr>
          <p:spPr bwMode="auto">
            <a:xfrm>
              <a:off x="9906000" y="3258485"/>
              <a:ext cx="609600" cy="62771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3200" b="1" i="0" u="none" strike="noStrike" cap="none" normalizeH="0" baseline="0">
                <a:ln>
                  <a:noFill/>
                </a:ln>
                <a:solidFill>
                  <a:srgbClr val="336699"/>
                </a:solidFill>
                <a:effectLst/>
                <a:latin typeface="Verdana" charset="0"/>
                <a:ea typeface="ＭＳ Ｐゴシック" charset="0"/>
                <a:cs typeface="Arial" charset="0"/>
              </a:endParaRPr>
            </a:p>
          </p:txBody>
        </p:sp>
        <p:pic>
          <p:nvPicPr>
            <p:cNvPr id="219" name="Picture 3"/>
            <p:cNvPicPr>
              <a:picLocks noChangeAspect="1" noChangeArrowheads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aturation sat="66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63100" y="2938371"/>
              <a:ext cx="1200150" cy="1352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26" name="Gruppieren 225"/>
          <p:cNvGrpSpPr/>
          <p:nvPr/>
        </p:nvGrpSpPr>
        <p:grpSpPr>
          <a:xfrm>
            <a:off x="6002685" y="4308242"/>
            <a:ext cx="171417" cy="180005"/>
            <a:chOff x="9563100" y="2938371"/>
            <a:chExt cx="1200150" cy="135255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27" name="Ellipse 226"/>
            <p:cNvSpPr/>
            <p:nvPr/>
          </p:nvSpPr>
          <p:spPr bwMode="auto">
            <a:xfrm>
              <a:off x="9906000" y="3258485"/>
              <a:ext cx="609600" cy="62771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3200" b="1" i="0" u="none" strike="noStrike" cap="none" normalizeH="0" baseline="0">
                <a:ln>
                  <a:noFill/>
                </a:ln>
                <a:solidFill>
                  <a:srgbClr val="336699"/>
                </a:solidFill>
                <a:effectLst/>
                <a:latin typeface="Verdana" charset="0"/>
                <a:ea typeface="ＭＳ Ｐゴシック" charset="0"/>
                <a:cs typeface="Arial" charset="0"/>
              </a:endParaRPr>
            </a:p>
          </p:txBody>
        </p:sp>
        <p:pic>
          <p:nvPicPr>
            <p:cNvPr id="228" name="Picture 3"/>
            <p:cNvPicPr>
              <a:picLocks noChangeAspect="1" noChangeArrowheads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aturation sat="66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63100" y="2938371"/>
              <a:ext cx="1200150" cy="1352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3" name="Gruppieren 12"/>
          <p:cNvGrpSpPr/>
          <p:nvPr/>
        </p:nvGrpSpPr>
        <p:grpSpPr>
          <a:xfrm>
            <a:off x="6018533" y="4878612"/>
            <a:ext cx="152400" cy="175185"/>
            <a:chOff x="8237514" y="992186"/>
            <a:chExt cx="152400" cy="17518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234" name="Picture 5"/>
            <p:cNvPicPr>
              <a:picLocks noChangeAspect="1" noChangeArrowheads="1"/>
            </p:cNvPicPr>
            <p:nvPr/>
          </p:nvPicPr>
          <p:blipFill>
            <a:blip r:embed="rId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37514" y="992186"/>
              <a:ext cx="152400" cy="1751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33" name="Ellipse 232"/>
            <p:cNvSpPr/>
            <p:nvPr/>
          </p:nvSpPr>
          <p:spPr bwMode="auto">
            <a:xfrm>
              <a:off x="8265711" y="1019129"/>
              <a:ext cx="91155" cy="90976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de-DE" sz="800" dirty="0">
                  <a:solidFill>
                    <a:schemeClr val="bg1"/>
                  </a:solidFill>
                  <a:latin typeface="Verdana" charset="0"/>
                  <a:ea typeface="ＭＳ Ｐゴシック" charset="0"/>
                  <a:cs typeface="Arial" charset="0"/>
                </a:rPr>
                <a:t>0</a:t>
              </a:r>
              <a:endParaRPr kumimoji="0" lang="en-US" sz="8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Verdana" charset="0"/>
                <a:ea typeface="ＭＳ Ｐゴシック" charset="0"/>
                <a:cs typeface="Arial" charset="0"/>
              </a:endParaRPr>
            </a:p>
          </p:txBody>
        </p:sp>
      </p:grpSp>
      <p:grpSp>
        <p:nvGrpSpPr>
          <p:cNvPr id="238" name="Gruppieren 237"/>
          <p:cNvGrpSpPr/>
          <p:nvPr/>
        </p:nvGrpSpPr>
        <p:grpSpPr>
          <a:xfrm>
            <a:off x="6019941" y="5211301"/>
            <a:ext cx="152400" cy="175185"/>
            <a:chOff x="8237514" y="992186"/>
            <a:chExt cx="152400" cy="17518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239" name="Picture 5"/>
            <p:cNvPicPr>
              <a:picLocks noChangeAspect="1" noChangeArrowheads="1"/>
            </p:cNvPicPr>
            <p:nvPr/>
          </p:nvPicPr>
          <p:blipFill>
            <a:blip r:embed="rId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37514" y="992186"/>
              <a:ext cx="152400" cy="1751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40" name="Ellipse 239"/>
            <p:cNvSpPr/>
            <p:nvPr/>
          </p:nvSpPr>
          <p:spPr bwMode="auto">
            <a:xfrm>
              <a:off x="8265711" y="1019129"/>
              <a:ext cx="91155" cy="90976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de-DE" sz="800" dirty="0">
                  <a:solidFill>
                    <a:schemeClr val="bg1"/>
                  </a:solidFill>
                  <a:latin typeface="Verdana" charset="0"/>
                  <a:ea typeface="ＭＳ Ｐゴシック" charset="0"/>
                  <a:cs typeface="Arial" charset="0"/>
                </a:rPr>
                <a:t>0</a:t>
              </a:r>
              <a:endParaRPr kumimoji="0" lang="en-US" sz="8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Verdana" charset="0"/>
                <a:ea typeface="ＭＳ Ｐゴシック" charset="0"/>
                <a:cs typeface="Arial" charset="0"/>
              </a:endParaRPr>
            </a:p>
          </p:txBody>
        </p:sp>
      </p:grpSp>
      <p:grpSp>
        <p:nvGrpSpPr>
          <p:cNvPr id="241" name="Gruppieren 240"/>
          <p:cNvGrpSpPr/>
          <p:nvPr/>
        </p:nvGrpSpPr>
        <p:grpSpPr>
          <a:xfrm>
            <a:off x="6021379" y="5675241"/>
            <a:ext cx="152400" cy="175185"/>
            <a:chOff x="8237514" y="992186"/>
            <a:chExt cx="152400" cy="17518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242" name="Picture 5"/>
            <p:cNvPicPr>
              <a:picLocks noChangeAspect="1" noChangeArrowheads="1"/>
            </p:cNvPicPr>
            <p:nvPr/>
          </p:nvPicPr>
          <p:blipFill>
            <a:blip r:embed="rId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37514" y="992186"/>
              <a:ext cx="152400" cy="1751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43" name="Ellipse 242"/>
            <p:cNvSpPr/>
            <p:nvPr/>
          </p:nvSpPr>
          <p:spPr bwMode="auto">
            <a:xfrm>
              <a:off x="8265711" y="1019129"/>
              <a:ext cx="91155" cy="90976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de-DE" sz="800" dirty="0">
                  <a:solidFill>
                    <a:schemeClr val="bg1"/>
                  </a:solidFill>
                  <a:latin typeface="Verdana" charset="0"/>
                  <a:ea typeface="ＭＳ Ｐゴシック" charset="0"/>
                  <a:cs typeface="Arial" charset="0"/>
                </a:rPr>
                <a:t>0</a:t>
              </a:r>
              <a:endParaRPr kumimoji="0" lang="en-US" sz="8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Verdana" charset="0"/>
                <a:ea typeface="ＭＳ Ｐゴシック" charset="0"/>
                <a:cs typeface="Arial" charset="0"/>
              </a:endParaRPr>
            </a:p>
          </p:txBody>
        </p:sp>
      </p:grpSp>
      <p:grpSp>
        <p:nvGrpSpPr>
          <p:cNvPr id="244" name="Gruppieren 243"/>
          <p:cNvGrpSpPr/>
          <p:nvPr/>
        </p:nvGrpSpPr>
        <p:grpSpPr>
          <a:xfrm>
            <a:off x="6023108" y="6222263"/>
            <a:ext cx="152400" cy="175185"/>
            <a:chOff x="8237514" y="992186"/>
            <a:chExt cx="152400" cy="17518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245" name="Picture 5"/>
            <p:cNvPicPr>
              <a:picLocks noChangeAspect="1" noChangeArrowheads="1"/>
            </p:cNvPicPr>
            <p:nvPr/>
          </p:nvPicPr>
          <p:blipFill>
            <a:blip r:embed="rId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37514" y="992186"/>
              <a:ext cx="152400" cy="1751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46" name="Ellipse 245"/>
            <p:cNvSpPr/>
            <p:nvPr/>
          </p:nvSpPr>
          <p:spPr bwMode="auto">
            <a:xfrm>
              <a:off x="8265711" y="1019129"/>
              <a:ext cx="91155" cy="90976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de-DE" sz="800" dirty="0">
                  <a:solidFill>
                    <a:schemeClr val="bg1"/>
                  </a:solidFill>
                  <a:latin typeface="Verdana" charset="0"/>
                  <a:ea typeface="ＭＳ Ｐゴシック" charset="0"/>
                  <a:cs typeface="Arial" charset="0"/>
                </a:rPr>
                <a:t>0</a:t>
              </a:r>
              <a:endParaRPr kumimoji="0" lang="en-US" sz="8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Verdana" charset="0"/>
                <a:ea typeface="ＭＳ Ｐゴシック" charset="0"/>
                <a:cs typeface="Arial" charset="0"/>
              </a:endParaRPr>
            </a:p>
          </p:txBody>
        </p:sp>
      </p:grpSp>
      <p:grpSp>
        <p:nvGrpSpPr>
          <p:cNvPr id="247" name="Gruppieren 246"/>
          <p:cNvGrpSpPr/>
          <p:nvPr/>
        </p:nvGrpSpPr>
        <p:grpSpPr>
          <a:xfrm>
            <a:off x="7348185" y="2556113"/>
            <a:ext cx="171417" cy="180005"/>
            <a:chOff x="9563100" y="2938371"/>
            <a:chExt cx="1200150" cy="135255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48" name="Ellipse 247"/>
            <p:cNvSpPr/>
            <p:nvPr/>
          </p:nvSpPr>
          <p:spPr bwMode="auto">
            <a:xfrm>
              <a:off x="9906000" y="3258485"/>
              <a:ext cx="609600" cy="62771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3200" b="1" i="0" u="none" strike="noStrike" cap="none" normalizeH="0" baseline="0">
                <a:ln>
                  <a:noFill/>
                </a:ln>
                <a:solidFill>
                  <a:srgbClr val="336699"/>
                </a:solidFill>
                <a:effectLst/>
                <a:latin typeface="Verdana" charset="0"/>
                <a:ea typeface="ＭＳ Ｐゴシック" charset="0"/>
                <a:cs typeface="Arial" charset="0"/>
              </a:endParaRPr>
            </a:p>
          </p:txBody>
        </p:sp>
        <p:pic>
          <p:nvPicPr>
            <p:cNvPr id="249" name="Picture 3"/>
            <p:cNvPicPr>
              <a:picLocks noChangeAspect="1" noChangeArrowheads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aturation sat="66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63100" y="2938371"/>
              <a:ext cx="1200150" cy="1352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59" name="Gruppieren 258"/>
          <p:cNvGrpSpPr/>
          <p:nvPr/>
        </p:nvGrpSpPr>
        <p:grpSpPr>
          <a:xfrm>
            <a:off x="7261839" y="3337428"/>
            <a:ext cx="171417" cy="180005"/>
            <a:chOff x="9563100" y="2938371"/>
            <a:chExt cx="1200150" cy="135255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60" name="Ellipse 259"/>
            <p:cNvSpPr/>
            <p:nvPr/>
          </p:nvSpPr>
          <p:spPr bwMode="auto">
            <a:xfrm>
              <a:off x="9906000" y="3258485"/>
              <a:ext cx="609600" cy="62771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3200" b="1" i="0" u="none" strike="noStrike" cap="none" normalizeH="0" baseline="0">
                <a:ln>
                  <a:noFill/>
                </a:ln>
                <a:solidFill>
                  <a:srgbClr val="336699"/>
                </a:solidFill>
                <a:effectLst/>
                <a:latin typeface="Verdana" charset="0"/>
                <a:ea typeface="ＭＳ Ｐゴシック" charset="0"/>
                <a:cs typeface="Arial" charset="0"/>
              </a:endParaRPr>
            </a:p>
          </p:txBody>
        </p:sp>
        <p:pic>
          <p:nvPicPr>
            <p:cNvPr id="261" name="Picture 3"/>
            <p:cNvPicPr>
              <a:picLocks noChangeAspect="1" noChangeArrowheads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aturation sat="66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63100" y="2938371"/>
              <a:ext cx="1200150" cy="1352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62" name="Gruppieren 261"/>
          <p:cNvGrpSpPr/>
          <p:nvPr/>
        </p:nvGrpSpPr>
        <p:grpSpPr>
          <a:xfrm>
            <a:off x="7418384" y="3337428"/>
            <a:ext cx="171417" cy="180005"/>
            <a:chOff x="9563100" y="2938371"/>
            <a:chExt cx="1200150" cy="135255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63" name="Ellipse 262"/>
            <p:cNvSpPr/>
            <p:nvPr/>
          </p:nvSpPr>
          <p:spPr bwMode="auto">
            <a:xfrm>
              <a:off x="9906000" y="3258485"/>
              <a:ext cx="609600" cy="62771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3200" b="1" i="0" u="none" strike="noStrike" cap="none" normalizeH="0" baseline="0">
                <a:ln>
                  <a:noFill/>
                </a:ln>
                <a:solidFill>
                  <a:srgbClr val="336699"/>
                </a:solidFill>
                <a:effectLst/>
                <a:latin typeface="Verdana" charset="0"/>
                <a:ea typeface="ＭＳ Ｐゴシック" charset="0"/>
                <a:cs typeface="Arial" charset="0"/>
              </a:endParaRPr>
            </a:p>
          </p:txBody>
        </p:sp>
        <p:pic>
          <p:nvPicPr>
            <p:cNvPr id="264" name="Picture 3"/>
            <p:cNvPicPr>
              <a:picLocks noChangeAspect="1" noChangeArrowheads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aturation sat="66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63100" y="2938371"/>
              <a:ext cx="1200150" cy="1352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71" name="Gruppieren 270"/>
          <p:cNvGrpSpPr/>
          <p:nvPr/>
        </p:nvGrpSpPr>
        <p:grpSpPr>
          <a:xfrm>
            <a:off x="7333926" y="4308078"/>
            <a:ext cx="171417" cy="180005"/>
            <a:chOff x="9563100" y="2938371"/>
            <a:chExt cx="1200150" cy="135255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72" name="Ellipse 271"/>
            <p:cNvSpPr/>
            <p:nvPr/>
          </p:nvSpPr>
          <p:spPr bwMode="auto">
            <a:xfrm>
              <a:off x="9906000" y="3258485"/>
              <a:ext cx="609600" cy="62771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3200" b="1" i="0" u="none" strike="noStrike" cap="none" normalizeH="0" baseline="0">
                <a:ln>
                  <a:noFill/>
                </a:ln>
                <a:solidFill>
                  <a:srgbClr val="336699"/>
                </a:solidFill>
                <a:effectLst/>
                <a:latin typeface="Verdana" charset="0"/>
                <a:ea typeface="ＭＳ Ｐゴシック" charset="0"/>
                <a:cs typeface="Arial" charset="0"/>
              </a:endParaRPr>
            </a:p>
          </p:txBody>
        </p:sp>
        <p:pic>
          <p:nvPicPr>
            <p:cNvPr id="273" name="Picture 3"/>
            <p:cNvPicPr>
              <a:picLocks noChangeAspect="1" noChangeArrowheads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aturation sat="66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63100" y="2938371"/>
              <a:ext cx="1200150" cy="1352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74" name="Gruppieren 273"/>
          <p:cNvGrpSpPr/>
          <p:nvPr/>
        </p:nvGrpSpPr>
        <p:grpSpPr>
          <a:xfrm>
            <a:off x="7349774" y="4878448"/>
            <a:ext cx="152400" cy="175185"/>
            <a:chOff x="8237514" y="992186"/>
            <a:chExt cx="152400" cy="17518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275" name="Picture 5"/>
            <p:cNvPicPr>
              <a:picLocks noChangeAspect="1" noChangeArrowheads="1"/>
            </p:cNvPicPr>
            <p:nvPr/>
          </p:nvPicPr>
          <p:blipFill>
            <a:blip r:embed="rId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37514" y="992186"/>
              <a:ext cx="152400" cy="1751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76" name="Ellipse 275"/>
            <p:cNvSpPr/>
            <p:nvPr/>
          </p:nvSpPr>
          <p:spPr bwMode="auto">
            <a:xfrm>
              <a:off x="8265711" y="1019129"/>
              <a:ext cx="91155" cy="90976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de-DE" sz="800" dirty="0">
                  <a:solidFill>
                    <a:schemeClr val="bg1"/>
                  </a:solidFill>
                  <a:latin typeface="Verdana" charset="0"/>
                  <a:ea typeface="ＭＳ Ｐゴシック" charset="0"/>
                  <a:cs typeface="Arial" charset="0"/>
                </a:rPr>
                <a:t>0</a:t>
              </a:r>
              <a:endParaRPr kumimoji="0" lang="en-US" sz="8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Verdana" charset="0"/>
                <a:ea typeface="ＭＳ Ｐゴシック" charset="0"/>
                <a:cs typeface="Arial" charset="0"/>
              </a:endParaRPr>
            </a:p>
          </p:txBody>
        </p:sp>
      </p:grpSp>
      <p:grpSp>
        <p:nvGrpSpPr>
          <p:cNvPr id="277" name="Gruppieren 276"/>
          <p:cNvGrpSpPr/>
          <p:nvPr/>
        </p:nvGrpSpPr>
        <p:grpSpPr>
          <a:xfrm>
            <a:off x="7351182" y="5211137"/>
            <a:ext cx="152400" cy="175185"/>
            <a:chOff x="8237514" y="992186"/>
            <a:chExt cx="152400" cy="17518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278" name="Picture 5"/>
            <p:cNvPicPr>
              <a:picLocks noChangeAspect="1" noChangeArrowheads="1"/>
            </p:cNvPicPr>
            <p:nvPr/>
          </p:nvPicPr>
          <p:blipFill>
            <a:blip r:embed="rId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37514" y="992186"/>
              <a:ext cx="152400" cy="1751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79" name="Ellipse 278"/>
            <p:cNvSpPr/>
            <p:nvPr/>
          </p:nvSpPr>
          <p:spPr bwMode="auto">
            <a:xfrm>
              <a:off x="8265711" y="1019129"/>
              <a:ext cx="91155" cy="90976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de-DE" sz="800" dirty="0">
                  <a:solidFill>
                    <a:schemeClr val="bg1"/>
                  </a:solidFill>
                  <a:latin typeface="Verdana" charset="0"/>
                  <a:ea typeface="ＭＳ Ｐゴシック" charset="0"/>
                  <a:cs typeface="Arial" charset="0"/>
                </a:rPr>
                <a:t>0</a:t>
              </a:r>
              <a:endParaRPr kumimoji="0" lang="en-US" sz="8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Verdana" charset="0"/>
                <a:ea typeface="ＭＳ Ｐゴシック" charset="0"/>
                <a:cs typeface="Arial" charset="0"/>
              </a:endParaRPr>
            </a:p>
          </p:txBody>
        </p:sp>
      </p:grpSp>
      <p:grpSp>
        <p:nvGrpSpPr>
          <p:cNvPr id="280" name="Gruppieren 279"/>
          <p:cNvGrpSpPr/>
          <p:nvPr/>
        </p:nvGrpSpPr>
        <p:grpSpPr>
          <a:xfrm>
            <a:off x="7352620" y="5675077"/>
            <a:ext cx="152400" cy="175185"/>
            <a:chOff x="8237514" y="992186"/>
            <a:chExt cx="152400" cy="17518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281" name="Picture 5"/>
            <p:cNvPicPr>
              <a:picLocks noChangeAspect="1" noChangeArrowheads="1"/>
            </p:cNvPicPr>
            <p:nvPr/>
          </p:nvPicPr>
          <p:blipFill>
            <a:blip r:embed="rId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37514" y="992186"/>
              <a:ext cx="152400" cy="1751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82" name="Ellipse 281"/>
            <p:cNvSpPr/>
            <p:nvPr/>
          </p:nvSpPr>
          <p:spPr bwMode="auto">
            <a:xfrm>
              <a:off x="8265711" y="1019129"/>
              <a:ext cx="91155" cy="90976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de-DE" sz="800" dirty="0">
                  <a:solidFill>
                    <a:schemeClr val="bg1"/>
                  </a:solidFill>
                  <a:latin typeface="Verdana" charset="0"/>
                  <a:ea typeface="ＭＳ Ｐゴシック" charset="0"/>
                  <a:cs typeface="Arial" charset="0"/>
                </a:rPr>
                <a:t>0</a:t>
              </a:r>
              <a:endParaRPr kumimoji="0" lang="en-US" sz="8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Verdana" charset="0"/>
                <a:ea typeface="ＭＳ Ｐゴシック" charset="0"/>
                <a:cs typeface="Arial" charset="0"/>
              </a:endParaRPr>
            </a:p>
          </p:txBody>
        </p:sp>
      </p:grpSp>
      <p:grpSp>
        <p:nvGrpSpPr>
          <p:cNvPr id="283" name="Gruppieren 282"/>
          <p:cNvGrpSpPr/>
          <p:nvPr/>
        </p:nvGrpSpPr>
        <p:grpSpPr>
          <a:xfrm>
            <a:off x="7354349" y="6222099"/>
            <a:ext cx="152400" cy="175185"/>
            <a:chOff x="8237514" y="992186"/>
            <a:chExt cx="152400" cy="17518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284" name="Picture 5"/>
            <p:cNvPicPr>
              <a:picLocks noChangeAspect="1" noChangeArrowheads="1"/>
            </p:cNvPicPr>
            <p:nvPr/>
          </p:nvPicPr>
          <p:blipFill>
            <a:blip r:embed="rId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37514" y="992186"/>
              <a:ext cx="152400" cy="1751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85" name="Ellipse 284"/>
            <p:cNvSpPr/>
            <p:nvPr/>
          </p:nvSpPr>
          <p:spPr bwMode="auto">
            <a:xfrm>
              <a:off x="8265711" y="1019129"/>
              <a:ext cx="91155" cy="90976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de-DE" sz="800" dirty="0">
                  <a:solidFill>
                    <a:schemeClr val="bg1"/>
                  </a:solidFill>
                  <a:latin typeface="Verdana" charset="0"/>
                  <a:ea typeface="ＭＳ Ｐゴシック" charset="0"/>
                  <a:cs typeface="Arial" charset="0"/>
                </a:rPr>
                <a:t>0</a:t>
              </a:r>
              <a:endParaRPr kumimoji="0" lang="en-US" sz="8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Verdana" charset="0"/>
                <a:ea typeface="ＭＳ Ｐゴシック" charset="0"/>
                <a:cs typeface="Arial" charset="0"/>
              </a:endParaRPr>
            </a:p>
          </p:txBody>
        </p:sp>
      </p:grpSp>
      <p:grpSp>
        <p:nvGrpSpPr>
          <p:cNvPr id="286" name="Gruppieren 285"/>
          <p:cNvGrpSpPr/>
          <p:nvPr/>
        </p:nvGrpSpPr>
        <p:grpSpPr>
          <a:xfrm>
            <a:off x="8766892" y="4875110"/>
            <a:ext cx="152400" cy="175185"/>
            <a:chOff x="8237514" y="992186"/>
            <a:chExt cx="152400" cy="17518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287" name="Picture 5"/>
            <p:cNvPicPr>
              <a:picLocks noChangeAspect="1" noChangeArrowheads="1"/>
            </p:cNvPicPr>
            <p:nvPr/>
          </p:nvPicPr>
          <p:blipFill>
            <a:blip r:embed="rId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37514" y="992186"/>
              <a:ext cx="152400" cy="1751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88" name="Ellipse 287"/>
            <p:cNvSpPr/>
            <p:nvPr/>
          </p:nvSpPr>
          <p:spPr bwMode="auto">
            <a:xfrm>
              <a:off x="8265711" y="1019129"/>
              <a:ext cx="91155" cy="90976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de-DE" sz="800" dirty="0">
                  <a:solidFill>
                    <a:schemeClr val="bg1"/>
                  </a:solidFill>
                  <a:latin typeface="Verdana" charset="0"/>
                  <a:ea typeface="ＭＳ Ｐゴシック" charset="0"/>
                  <a:cs typeface="Arial" charset="0"/>
                </a:rPr>
                <a:t>0</a:t>
              </a:r>
              <a:endParaRPr kumimoji="0" lang="en-US" sz="8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Verdana" charset="0"/>
                <a:ea typeface="ＭＳ Ｐゴシック" charset="0"/>
                <a:cs typeface="Arial" charset="0"/>
              </a:endParaRPr>
            </a:p>
          </p:txBody>
        </p:sp>
      </p:grpSp>
      <p:grpSp>
        <p:nvGrpSpPr>
          <p:cNvPr id="289" name="Gruppieren 288"/>
          <p:cNvGrpSpPr/>
          <p:nvPr/>
        </p:nvGrpSpPr>
        <p:grpSpPr>
          <a:xfrm>
            <a:off x="8759833" y="5207799"/>
            <a:ext cx="152400" cy="175185"/>
            <a:chOff x="8237514" y="992186"/>
            <a:chExt cx="152400" cy="17518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290" name="Picture 5"/>
            <p:cNvPicPr>
              <a:picLocks noChangeAspect="1" noChangeArrowheads="1"/>
            </p:cNvPicPr>
            <p:nvPr/>
          </p:nvPicPr>
          <p:blipFill>
            <a:blip r:embed="rId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37514" y="992186"/>
              <a:ext cx="152400" cy="1751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91" name="Ellipse 290"/>
            <p:cNvSpPr/>
            <p:nvPr/>
          </p:nvSpPr>
          <p:spPr bwMode="auto">
            <a:xfrm>
              <a:off x="8265711" y="1019129"/>
              <a:ext cx="91155" cy="90976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de-DE" sz="800" dirty="0">
                  <a:solidFill>
                    <a:schemeClr val="bg1"/>
                  </a:solidFill>
                  <a:latin typeface="Verdana" charset="0"/>
                  <a:ea typeface="ＭＳ Ｐゴシック" charset="0"/>
                  <a:cs typeface="Arial" charset="0"/>
                </a:rPr>
                <a:t>0</a:t>
              </a:r>
              <a:endParaRPr kumimoji="0" lang="en-US" sz="8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Verdana" charset="0"/>
                <a:ea typeface="ＭＳ Ｐゴシック" charset="0"/>
                <a:cs typeface="Arial" charset="0"/>
              </a:endParaRPr>
            </a:p>
          </p:txBody>
        </p:sp>
      </p:grpSp>
      <p:grpSp>
        <p:nvGrpSpPr>
          <p:cNvPr id="292" name="Gruppieren 291"/>
          <p:cNvGrpSpPr/>
          <p:nvPr/>
        </p:nvGrpSpPr>
        <p:grpSpPr>
          <a:xfrm>
            <a:off x="8761271" y="5671739"/>
            <a:ext cx="152400" cy="175185"/>
            <a:chOff x="8237514" y="992186"/>
            <a:chExt cx="152400" cy="17518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293" name="Picture 5"/>
            <p:cNvPicPr>
              <a:picLocks noChangeAspect="1" noChangeArrowheads="1"/>
            </p:cNvPicPr>
            <p:nvPr/>
          </p:nvPicPr>
          <p:blipFill>
            <a:blip r:embed="rId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37514" y="992186"/>
              <a:ext cx="152400" cy="1751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94" name="Ellipse 293"/>
            <p:cNvSpPr/>
            <p:nvPr/>
          </p:nvSpPr>
          <p:spPr bwMode="auto">
            <a:xfrm>
              <a:off x="8265711" y="1019129"/>
              <a:ext cx="91155" cy="90976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de-DE" sz="800" dirty="0">
                  <a:solidFill>
                    <a:schemeClr val="bg1"/>
                  </a:solidFill>
                  <a:latin typeface="Verdana" charset="0"/>
                  <a:ea typeface="ＭＳ Ｐゴシック" charset="0"/>
                  <a:cs typeface="Arial" charset="0"/>
                </a:rPr>
                <a:t>0</a:t>
              </a:r>
              <a:endParaRPr kumimoji="0" lang="en-US" sz="8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Verdana" charset="0"/>
                <a:ea typeface="ＭＳ Ｐゴシック" charset="0"/>
                <a:cs typeface="Arial" charset="0"/>
              </a:endParaRPr>
            </a:p>
          </p:txBody>
        </p:sp>
      </p:grpSp>
      <p:grpSp>
        <p:nvGrpSpPr>
          <p:cNvPr id="295" name="Gruppieren 294"/>
          <p:cNvGrpSpPr/>
          <p:nvPr/>
        </p:nvGrpSpPr>
        <p:grpSpPr>
          <a:xfrm>
            <a:off x="8763000" y="6218761"/>
            <a:ext cx="152400" cy="175185"/>
            <a:chOff x="8237514" y="992186"/>
            <a:chExt cx="152400" cy="17518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296" name="Picture 5"/>
            <p:cNvPicPr>
              <a:picLocks noChangeAspect="1" noChangeArrowheads="1"/>
            </p:cNvPicPr>
            <p:nvPr/>
          </p:nvPicPr>
          <p:blipFill>
            <a:blip r:embed="rId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37514" y="992186"/>
              <a:ext cx="152400" cy="1751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97" name="Ellipse 296"/>
            <p:cNvSpPr/>
            <p:nvPr/>
          </p:nvSpPr>
          <p:spPr bwMode="auto">
            <a:xfrm>
              <a:off x="8265711" y="1019129"/>
              <a:ext cx="91155" cy="90976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de-DE" sz="800" dirty="0">
                  <a:solidFill>
                    <a:schemeClr val="bg1"/>
                  </a:solidFill>
                  <a:latin typeface="Verdana" charset="0"/>
                  <a:ea typeface="ＭＳ Ｐゴシック" charset="0"/>
                  <a:cs typeface="Arial" charset="0"/>
                </a:rPr>
                <a:t>0</a:t>
              </a:r>
              <a:endParaRPr kumimoji="0" lang="en-US" sz="8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Verdana" charset="0"/>
                <a:ea typeface="ＭＳ Ｐゴシック" charset="0"/>
                <a:cs typeface="Arial" charset="0"/>
              </a:endParaRPr>
            </a:p>
          </p:txBody>
        </p:sp>
      </p:grpSp>
      <p:grpSp>
        <p:nvGrpSpPr>
          <p:cNvPr id="298" name="Gruppieren 297"/>
          <p:cNvGrpSpPr/>
          <p:nvPr/>
        </p:nvGrpSpPr>
        <p:grpSpPr>
          <a:xfrm>
            <a:off x="8758845" y="2561097"/>
            <a:ext cx="152400" cy="175185"/>
            <a:chOff x="8237514" y="992186"/>
            <a:chExt cx="152400" cy="17518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299" name="Picture 5"/>
            <p:cNvPicPr>
              <a:picLocks noChangeAspect="1" noChangeArrowheads="1"/>
            </p:cNvPicPr>
            <p:nvPr/>
          </p:nvPicPr>
          <p:blipFill>
            <a:blip r:embed="rId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37514" y="992186"/>
              <a:ext cx="152400" cy="1751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00" name="Ellipse 299"/>
            <p:cNvSpPr/>
            <p:nvPr/>
          </p:nvSpPr>
          <p:spPr bwMode="auto">
            <a:xfrm>
              <a:off x="8265711" y="1019129"/>
              <a:ext cx="91155" cy="90976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de-DE" sz="800" dirty="0">
                  <a:solidFill>
                    <a:schemeClr val="bg1"/>
                  </a:solidFill>
                  <a:latin typeface="Verdana" charset="0"/>
                  <a:ea typeface="ＭＳ Ｐゴシック" charset="0"/>
                  <a:cs typeface="Arial" charset="0"/>
                </a:rPr>
                <a:t>0</a:t>
              </a:r>
              <a:endParaRPr kumimoji="0" lang="en-US" sz="8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Verdana" charset="0"/>
                <a:ea typeface="ＭＳ Ｐゴシック" charset="0"/>
                <a:cs typeface="Arial" charset="0"/>
              </a:endParaRPr>
            </a:p>
          </p:txBody>
        </p:sp>
      </p:grpSp>
      <p:grpSp>
        <p:nvGrpSpPr>
          <p:cNvPr id="304" name="Gruppieren 303"/>
          <p:cNvGrpSpPr/>
          <p:nvPr/>
        </p:nvGrpSpPr>
        <p:grpSpPr>
          <a:xfrm>
            <a:off x="8769856" y="3239617"/>
            <a:ext cx="152400" cy="175185"/>
            <a:chOff x="8237514" y="992186"/>
            <a:chExt cx="152400" cy="17518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305" name="Picture 5"/>
            <p:cNvPicPr>
              <a:picLocks noChangeAspect="1" noChangeArrowheads="1"/>
            </p:cNvPicPr>
            <p:nvPr/>
          </p:nvPicPr>
          <p:blipFill>
            <a:blip r:embed="rId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37514" y="992186"/>
              <a:ext cx="152400" cy="1751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06" name="Ellipse 305"/>
            <p:cNvSpPr/>
            <p:nvPr/>
          </p:nvSpPr>
          <p:spPr bwMode="auto">
            <a:xfrm>
              <a:off x="8265711" y="1019129"/>
              <a:ext cx="91155" cy="90976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de-DE" sz="800" dirty="0">
                  <a:solidFill>
                    <a:schemeClr val="bg1"/>
                  </a:solidFill>
                  <a:latin typeface="Verdana" charset="0"/>
                  <a:ea typeface="ＭＳ Ｐゴシック" charset="0"/>
                  <a:cs typeface="Arial" charset="0"/>
                </a:rPr>
                <a:t>0</a:t>
              </a:r>
              <a:endParaRPr kumimoji="0" lang="en-US" sz="8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Verdana" charset="0"/>
                <a:ea typeface="ＭＳ Ｐゴシック" charset="0"/>
                <a:cs typeface="Arial" charset="0"/>
              </a:endParaRPr>
            </a:p>
          </p:txBody>
        </p:sp>
      </p:grpSp>
      <p:grpSp>
        <p:nvGrpSpPr>
          <p:cNvPr id="310" name="Gruppieren 309"/>
          <p:cNvGrpSpPr/>
          <p:nvPr/>
        </p:nvGrpSpPr>
        <p:grpSpPr>
          <a:xfrm>
            <a:off x="8722895" y="4293583"/>
            <a:ext cx="171417" cy="180005"/>
            <a:chOff x="9563100" y="2938371"/>
            <a:chExt cx="1200150" cy="135255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311" name="Ellipse 310"/>
            <p:cNvSpPr/>
            <p:nvPr/>
          </p:nvSpPr>
          <p:spPr bwMode="auto">
            <a:xfrm>
              <a:off x="9906000" y="3258485"/>
              <a:ext cx="609600" cy="62771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3200" b="1" i="0" u="none" strike="noStrike" cap="none" normalizeH="0" baseline="0">
                <a:ln>
                  <a:noFill/>
                </a:ln>
                <a:solidFill>
                  <a:srgbClr val="336699"/>
                </a:solidFill>
                <a:effectLst/>
                <a:latin typeface="Verdana" charset="0"/>
                <a:ea typeface="ＭＳ Ｐゴシック" charset="0"/>
                <a:cs typeface="Arial" charset="0"/>
              </a:endParaRPr>
            </a:p>
          </p:txBody>
        </p:sp>
        <p:pic>
          <p:nvPicPr>
            <p:cNvPr id="312" name="Picture 3"/>
            <p:cNvPicPr>
              <a:picLocks noChangeAspect="1" noChangeArrowheads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aturation sat="66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63100" y="2938371"/>
              <a:ext cx="1200150" cy="1352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5" name="Textfeld 14"/>
          <p:cNvSpPr txBox="1"/>
          <p:nvPr/>
        </p:nvSpPr>
        <p:spPr>
          <a:xfrm>
            <a:off x="3880899" y="6460275"/>
            <a:ext cx="84350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/>
              <a:t>∑ = 12</a:t>
            </a:r>
          </a:p>
        </p:txBody>
      </p:sp>
      <p:sp>
        <p:nvSpPr>
          <p:cNvPr id="313" name="Textfeld 312"/>
          <p:cNvSpPr txBox="1"/>
          <p:nvPr/>
        </p:nvSpPr>
        <p:spPr>
          <a:xfrm>
            <a:off x="5304540" y="6468090"/>
            <a:ext cx="84350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/>
              <a:t>∑ = 12</a:t>
            </a:r>
          </a:p>
        </p:txBody>
      </p:sp>
      <p:sp>
        <p:nvSpPr>
          <p:cNvPr id="314" name="Textfeld 313"/>
          <p:cNvSpPr txBox="1"/>
          <p:nvPr/>
        </p:nvSpPr>
        <p:spPr>
          <a:xfrm>
            <a:off x="6676140" y="6468090"/>
            <a:ext cx="71526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/>
              <a:t>∑ = 8</a:t>
            </a:r>
          </a:p>
        </p:txBody>
      </p:sp>
      <p:sp>
        <p:nvSpPr>
          <p:cNvPr id="315" name="Textfeld 314"/>
          <p:cNvSpPr txBox="1"/>
          <p:nvPr/>
        </p:nvSpPr>
        <p:spPr>
          <a:xfrm>
            <a:off x="7956084" y="6469784"/>
            <a:ext cx="71526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/>
              <a:t>∑ = 2</a:t>
            </a:r>
          </a:p>
        </p:txBody>
      </p:sp>
      <p:grpSp>
        <p:nvGrpSpPr>
          <p:cNvPr id="316" name="Gruppieren 315"/>
          <p:cNvGrpSpPr/>
          <p:nvPr/>
        </p:nvGrpSpPr>
        <p:grpSpPr>
          <a:xfrm>
            <a:off x="5201897" y="6533678"/>
            <a:ext cx="171417" cy="180005"/>
            <a:chOff x="9563100" y="2938371"/>
            <a:chExt cx="1200150" cy="135255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317" name="Ellipse 316"/>
            <p:cNvSpPr/>
            <p:nvPr/>
          </p:nvSpPr>
          <p:spPr bwMode="auto">
            <a:xfrm>
              <a:off x="9906000" y="3258485"/>
              <a:ext cx="609600" cy="62771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3200" b="1" i="0" u="none" strike="noStrike" cap="none" normalizeH="0" baseline="0">
                <a:ln>
                  <a:noFill/>
                </a:ln>
                <a:solidFill>
                  <a:srgbClr val="336699"/>
                </a:solidFill>
                <a:effectLst/>
                <a:latin typeface="Verdana" charset="0"/>
                <a:ea typeface="ＭＳ Ｐゴシック" charset="0"/>
                <a:cs typeface="Arial" charset="0"/>
              </a:endParaRPr>
            </a:p>
          </p:txBody>
        </p:sp>
        <p:pic>
          <p:nvPicPr>
            <p:cNvPr id="318" name="Picture 3"/>
            <p:cNvPicPr>
              <a:picLocks noChangeAspect="1" noChangeArrowheads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aturation sat="66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63100" y="2938371"/>
              <a:ext cx="1200150" cy="1352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319" name="Gruppieren 318"/>
          <p:cNvGrpSpPr/>
          <p:nvPr/>
        </p:nvGrpSpPr>
        <p:grpSpPr>
          <a:xfrm>
            <a:off x="6568749" y="6540092"/>
            <a:ext cx="171417" cy="180005"/>
            <a:chOff x="9563100" y="2938371"/>
            <a:chExt cx="1200150" cy="135255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320" name="Ellipse 319"/>
            <p:cNvSpPr/>
            <p:nvPr/>
          </p:nvSpPr>
          <p:spPr bwMode="auto">
            <a:xfrm>
              <a:off x="9906000" y="3258485"/>
              <a:ext cx="609600" cy="62771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3200" b="1" i="0" u="none" strike="noStrike" cap="none" normalizeH="0" baseline="0">
                <a:ln>
                  <a:noFill/>
                </a:ln>
                <a:solidFill>
                  <a:srgbClr val="336699"/>
                </a:solidFill>
                <a:effectLst/>
                <a:latin typeface="Verdana" charset="0"/>
                <a:ea typeface="ＭＳ Ｐゴシック" charset="0"/>
                <a:cs typeface="Arial" charset="0"/>
              </a:endParaRPr>
            </a:p>
          </p:txBody>
        </p:sp>
        <p:pic>
          <p:nvPicPr>
            <p:cNvPr id="321" name="Picture 3"/>
            <p:cNvPicPr>
              <a:picLocks noChangeAspect="1" noChangeArrowheads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aturation sat="66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63100" y="2938371"/>
              <a:ext cx="1200150" cy="1352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322" name="Gruppieren 321"/>
          <p:cNvGrpSpPr/>
          <p:nvPr/>
        </p:nvGrpSpPr>
        <p:grpSpPr>
          <a:xfrm>
            <a:off x="7845616" y="6548559"/>
            <a:ext cx="171417" cy="180005"/>
            <a:chOff x="9563100" y="2938371"/>
            <a:chExt cx="1200150" cy="135255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323" name="Ellipse 322"/>
            <p:cNvSpPr/>
            <p:nvPr/>
          </p:nvSpPr>
          <p:spPr bwMode="auto">
            <a:xfrm>
              <a:off x="9906000" y="3258485"/>
              <a:ext cx="609600" cy="62771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3200" b="1" i="0" u="none" strike="noStrike" cap="none" normalizeH="0" baseline="0">
                <a:ln>
                  <a:noFill/>
                </a:ln>
                <a:solidFill>
                  <a:srgbClr val="336699"/>
                </a:solidFill>
                <a:effectLst/>
                <a:latin typeface="Verdana" charset="0"/>
                <a:ea typeface="ＭＳ Ｐゴシック" charset="0"/>
                <a:cs typeface="Arial" charset="0"/>
              </a:endParaRPr>
            </a:p>
          </p:txBody>
        </p:sp>
        <p:pic>
          <p:nvPicPr>
            <p:cNvPr id="324" name="Picture 3"/>
            <p:cNvPicPr>
              <a:picLocks noChangeAspect="1" noChangeArrowheads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aturation sat="66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63100" y="2938371"/>
              <a:ext cx="1200150" cy="1352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325" name="Gruppieren 324"/>
          <p:cNvGrpSpPr/>
          <p:nvPr/>
        </p:nvGrpSpPr>
        <p:grpSpPr>
          <a:xfrm>
            <a:off x="8548039" y="4292868"/>
            <a:ext cx="171417" cy="180005"/>
            <a:chOff x="9563100" y="2938371"/>
            <a:chExt cx="1200150" cy="135255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326" name="Ellipse 325"/>
            <p:cNvSpPr/>
            <p:nvPr/>
          </p:nvSpPr>
          <p:spPr bwMode="auto">
            <a:xfrm>
              <a:off x="9906000" y="3258485"/>
              <a:ext cx="609600" cy="62771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3200" b="1" i="0" u="none" strike="noStrike" cap="none" normalizeH="0" baseline="0">
                <a:ln>
                  <a:noFill/>
                </a:ln>
                <a:solidFill>
                  <a:srgbClr val="336699"/>
                </a:solidFill>
                <a:effectLst/>
                <a:latin typeface="Verdana" charset="0"/>
                <a:ea typeface="ＭＳ Ｐゴシック" charset="0"/>
                <a:cs typeface="Arial" charset="0"/>
              </a:endParaRPr>
            </a:p>
          </p:txBody>
        </p:sp>
        <p:pic>
          <p:nvPicPr>
            <p:cNvPr id="327" name="Picture 3"/>
            <p:cNvPicPr>
              <a:picLocks noChangeAspect="1" noChangeArrowheads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aturation sat="66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63100" y="2938371"/>
              <a:ext cx="1200150" cy="1352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328" name="Gruppieren 327"/>
          <p:cNvGrpSpPr/>
          <p:nvPr/>
        </p:nvGrpSpPr>
        <p:grpSpPr>
          <a:xfrm>
            <a:off x="7168392" y="4302612"/>
            <a:ext cx="171417" cy="180005"/>
            <a:chOff x="9563100" y="2938371"/>
            <a:chExt cx="1200150" cy="135255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329" name="Ellipse 328"/>
            <p:cNvSpPr/>
            <p:nvPr/>
          </p:nvSpPr>
          <p:spPr bwMode="auto">
            <a:xfrm>
              <a:off x="9906000" y="3258485"/>
              <a:ext cx="609600" cy="62771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3200" b="1" i="0" u="none" strike="noStrike" cap="none" normalizeH="0" baseline="0">
                <a:ln>
                  <a:noFill/>
                </a:ln>
                <a:solidFill>
                  <a:srgbClr val="336699"/>
                </a:solidFill>
                <a:effectLst/>
                <a:latin typeface="Verdana" charset="0"/>
                <a:ea typeface="ＭＳ Ｐゴシック" charset="0"/>
                <a:cs typeface="Arial" charset="0"/>
              </a:endParaRPr>
            </a:p>
          </p:txBody>
        </p:sp>
        <p:pic>
          <p:nvPicPr>
            <p:cNvPr id="330" name="Picture 3"/>
            <p:cNvPicPr>
              <a:picLocks noChangeAspect="1" noChangeArrowheads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aturation sat="66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63100" y="2938371"/>
              <a:ext cx="1200150" cy="1352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331" name="Gruppieren 330"/>
          <p:cNvGrpSpPr/>
          <p:nvPr/>
        </p:nvGrpSpPr>
        <p:grpSpPr>
          <a:xfrm>
            <a:off x="5839269" y="4303753"/>
            <a:ext cx="171417" cy="180005"/>
            <a:chOff x="9563100" y="2938371"/>
            <a:chExt cx="1200150" cy="135255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332" name="Ellipse 331"/>
            <p:cNvSpPr/>
            <p:nvPr/>
          </p:nvSpPr>
          <p:spPr bwMode="auto">
            <a:xfrm>
              <a:off x="9906000" y="3258485"/>
              <a:ext cx="609600" cy="62771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3200" b="1" i="0" u="none" strike="noStrike" cap="none" normalizeH="0" baseline="0">
                <a:ln>
                  <a:noFill/>
                </a:ln>
                <a:solidFill>
                  <a:srgbClr val="336699"/>
                </a:solidFill>
                <a:effectLst/>
                <a:latin typeface="Verdana" charset="0"/>
                <a:ea typeface="ＭＳ Ｐゴシック" charset="0"/>
                <a:cs typeface="Arial" charset="0"/>
              </a:endParaRPr>
            </a:p>
          </p:txBody>
        </p:sp>
        <p:pic>
          <p:nvPicPr>
            <p:cNvPr id="333" name="Picture 3"/>
            <p:cNvPicPr>
              <a:picLocks noChangeAspect="1" noChangeArrowheads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aturation sat="66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63100" y="2938371"/>
              <a:ext cx="1200150" cy="1352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29" name="Textfeld 228"/>
          <p:cNvSpPr txBox="1"/>
          <p:nvPr/>
        </p:nvSpPr>
        <p:spPr>
          <a:xfrm>
            <a:off x="563791" y="6459271"/>
            <a:ext cx="263660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/>
              <a:t>Rating in the view of EU COM:</a:t>
            </a:r>
          </a:p>
        </p:txBody>
      </p:sp>
      <p:cxnSp>
        <p:nvCxnSpPr>
          <p:cNvPr id="4" name="Gerade Verbindung 3"/>
          <p:cNvCxnSpPr/>
          <p:nvPr/>
        </p:nvCxnSpPr>
        <p:spPr bwMode="auto">
          <a:xfrm>
            <a:off x="4954526" y="6506224"/>
            <a:ext cx="0" cy="227308"/>
          </a:xfrm>
          <a:prstGeom prst="line">
            <a:avLst/>
          </a:prstGeom>
          <a:solidFill>
            <a:srgbClr val="DDDDDD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230" name="Gruppieren 229"/>
          <p:cNvGrpSpPr/>
          <p:nvPr/>
        </p:nvGrpSpPr>
        <p:grpSpPr>
          <a:xfrm>
            <a:off x="5769284" y="2898022"/>
            <a:ext cx="171417" cy="180005"/>
            <a:chOff x="9563100" y="2938371"/>
            <a:chExt cx="1200150" cy="135255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31" name="Ellipse 230"/>
            <p:cNvSpPr/>
            <p:nvPr/>
          </p:nvSpPr>
          <p:spPr bwMode="auto">
            <a:xfrm>
              <a:off x="9906000" y="3258485"/>
              <a:ext cx="609600" cy="62771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3200" b="1" i="0" u="none" strike="noStrike" cap="none" normalizeH="0" baseline="0">
                <a:ln>
                  <a:noFill/>
                </a:ln>
                <a:solidFill>
                  <a:srgbClr val="336699"/>
                </a:solidFill>
                <a:effectLst/>
                <a:latin typeface="Verdana" charset="0"/>
                <a:ea typeface="ＭＳ Ｐゴシック" charset="0"/>
                <a:cs typeface="Arial" charset="0"/>
              </a:endParaRPr>
            </a:p>
          </p:txBody>
        </p:sp>
        <p:pic>
          <p:nvPicPr>
            <p:cNvPr id="232" name="Picture 3"/>
            <p:cNvPicPr>
              <a:picLocks noChangeAspect="1" noChangeArrowheads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aturation sat="66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63100" y="2938371"/>
              <a:ext cx="1200150" cy="1352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35" name="Gruppieren 234"/>
          <p:cNvGrpSpPr/>
          <p:nvPr/>
        </p:nvGrpSpPr>
        <p:grpSpPr>
          <a:xfrm>
            <a:off x="7104745" y="2898852"/>
            <a:ext cx="171417" cy="180005"/>
            <a:chOff x="9563100" y="2938371"/>
            <a:chExt cx="1200150" cy="135255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36" name="Ellipse 235"/>
            <p:cNvSpPr/>
            <p:nvPr/>
          </p:nvSpPr>
          <p:spPr bwMode="auto">
            <a:xfrm>
              <a:off x="9906000" y="3258485"/>
              <a:ext cx="609600" cy="62771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3200" b="1" i="0" u="none" strike="noStrike" cap="none" normalizeH="0" baseline="0">
                <a:ln>
                  <a:noFill/>
                </a:ln>
                <a:solidFill>
                  <a:srgbClr val="336699"/>
                </a:solidFill>
                <a:effectLst/>
                <a:latin typeface="Verdana" charset="0"/>
                <a:ea typeface="ＭＳ Ｐゴシック" charset="0"/>
                <a:cs typeface="Arial" charset="0"/>
              </a:endParaRPr>
            </a:p>
          </p:txBody>
        </p:sp>
        <p:pic>
          <p:nvPicPr>
            <p:cNvPr id="237" name="Picture 3"/>
            <p:cNvPicPr>
              <a:picLocks noChangeAspect="1" noChangeArrowheads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aturation sat="66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63100" y="2938371"/>
              <a:ext cx="1200150" cy="1352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08" name="Gruppieren 207"/>
          <p:cNvGrpSpPr/>
          <p:nvPr/>
        </p:nvGrpSpPr>
        <p:grpSpPr>
          <a:xfrm>
            <a:off x="5936454" y="2903816"/>
            <a:ext cx="171417" cy="180005"/>
            <a:chOff x="9563100" y="2938371"/>
            <a:chExt cx="1200150" cy="135255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09" name="Ellipse 208"/>
            <p:cNvSpPr/>
            <p:nvPr/>
          </p:nvSpPr>
          <p:spPr bwMode="auto">
            <a:xfrm>
              <a:off x="9906000" y="3258485"/>
              <a:ext cx="609600" cy="62771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3200" b="1" i="0" u="none" strike="noStrike" cap="none" normalizeH="0" baseline="0">
                <a:ln>
                  <a:noFill/>
                </a:ln>
                <a:solidFill>
                  <a:srgbClr val="336699"/>
                </a:solidFill>
                <a:effectLst/>
                <a:latin typeface="Verdana" charset="0"/>
                <a:ea typeface="ＭＳ Ｐゴシック" charset="0"/>
                <a:cs typeface="Arial" charset="0"/>
              </a:endParaRPr>
            </a:p>
          </p:txBody>
        </p:sp>
        <p:pic>
          <p:nvPicPr>
            <p:cNvPr id="210" name="Picture 3"/>
            <p:cNvPicPr>
              <a:picLocks noChangeAspect="1" noChangeArrowheads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aturation sat="66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63100" y="2938371"/>
              <a:ext cx="1200150" cy="1352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11" name="Gruppieren 210"/>
          <p:cNvGrpSpPr/>
          <p:nvPr/>
        </p:nvGrpSpPr>
        <p:grpSpPr>
          <a:xfrm>
            <a:off x="6092999" y="2903816"/>
            <a:ext cx="171417" cy="180005"/>
            <a:chOff x="9563100" y="2938371"/>
            <a:chExt cx="1200150" cy="135255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12" name="Ellipse 211"/>
            <p:cNvSpPr/>
            <p:nvPr/>
          </p:nvSpPr>
          <p:spPr bwMode="auto">
            <a:xfrm>
              <a:off x="9906000" y="3258485"/>
              <a:ext cx="609600" cy="62771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3200" b="1" i="0" u="none" strike="noStrike" cap="none" normalizeH="0" baseline="0">
                <a:ln>
                  <a:noFill/>
                </a:ln>
                <a:solidFill>
                  <a:srgbClr val="336699"/>
                </a:solidFill>
                <a:effectLst/>
                <a:latin typeface="Verdana" charset="0"/>
                <a:ea typeface="ＭＳ Ｐゴシック" charset="0"/>
                <a:cs typeface="Arial" charset="0"/>
              </a:endParaRPr>
            </a:p>
          </p:txBody>
        </p:sp>
        <p:pic>
          <p:nvPicPr>
            <p:cNvPr id="213" name="Picture 3"/>
            <p:cNvPicPr>
              <a:picLocks noChangeAspect="1" noChangeArrowheads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aturation sat="66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63100" y="2938371"/>
              <a:ext cx="1200150" cy="1352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50" name="Gruppieren 249"/>
          <p:cNvGrpSpPr/>
          <p:nvPr/>
        </p:nvGrpSpPr>
        <p:grpSpPr>
          <a:xfrm>
            <a:off x="5769284" y="3563060"/>
            <a:ext cx="171417" cy="180005"/>
            <a:chOff x="9563100" y="2938371"/>
            <a:chExt cx="1200150" cy="135255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51" name="Ellipse 250"/>
            <p:cNvSpPr/>
            <p:nvPr/>
          </p:nvSpPr>
          <p:spPr bwMode="auto">
            <a:xfrm>
              <a:off x="9906000" y="3258485"/>
              <a:ext cx="609600" cy="62771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3200" b="1" i="0" u="none" strike="noStrike" cap="none" normalizeH="0" baseline="0">
                <a:ln>
                  <a:noFill/>
                </a:ln>
                <a:solidFill>
                  <a:srgbClr val="336699"/>
                </a:solidFill>
                <a:effectLst/>
                <a:latin typeface="Verdana" charset="0"/>
                <a:ea typeface="ＭＳ Ｐゴシック" charset="0"/>
                <a:cs typeface="Arial" charset="0"/>
              </a:endParaRPr>
            </a:p>
          </p:txBody>
        </p:sp>
        <p:pic>
          <p:nvPicPr>
            <p:cNvPr id="252" name="Picture 3"/>
            <p:cNvPicPr>
              <a:picLocks noChangeAspect="1" noChangeArrowheads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aturation sat="66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63100" y="2938371"/>
              <a:ext cx="1200150" cy="1352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53" name="Gruppieren 252"/>
          <p:cNvGrpSpPr/>
          <p:nvPr/>
        </p:nvGrpSpPr>
        <p:grpSpPr>
          <a:xfrm>
            <a:off x="7267695" y="2903652"/>
            <a:ext cx="171417" cy="180005"/>
            <a:chOff x="9563100" y="2938371"/>
            <a:chExt cx="1200150" cy="135255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54" name="Ellipse 253"/>
            <p:cNvSpPr/>
            <p:nvPr/>
          </p:nvSpPr>
          <p:spPr bwMode="auto">
            <a:xfrm>
              <a:off x="9906000" y="3258485"/>
              <a:ext cx="609600" cy="62771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3200" b="1" i="0" u="none" strike="noStrike" cap="none" normalizeH="0" baseline="0">
                <a:ln>
                  <a:noFill/>
                </a:ln>
                <a:solidFill>
                  <a:srgbClr val="336699"/>
                </a:solidFill>
                <a:effectLst/>
                <a:latin typeface="Verdana" charset="0"/>
                <a:ea typeface="ＭＳ Ｐゴシック" charset="0"/>
                <a:cs typeface="Arial" charset="0"/>
              </a:endParaRPr>
            </a:p>
          </p:txBody>
        </p:sp>
        <p:pic>
          <p:nvPicPr>
            <p:cNvPr id="255" name="Picture 3"/>
            <p:cNvPicPr>
              <a:picLocks noChangeAspect="1" noChangeArrowheads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aturation sat="66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63100" y="2938371"/>
              <a:ext cx="1200150" cy="1352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56" name="Gruppieren 255"/>
          <p:cNvGrpSpPr/>
          <p:nvPr/>
        </p:nvGrpSpPr>
        <p:grpSpPr>
          <a:xfrm>
            <a:off x="7424240" y="2903652"/>
            <a:ext cx="171417" cy="180005"/>
            <a:chOff x="9563100" y="2938371"/>
            <a:chExt cx="1200150" cy="135255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57" name="Ellipse 256"/>
            <p:cNvSpPr/>
            <p:nvPr/>
          </p:nvSpPr>
          <p:spPr bwMode="auto">
            <a:xfrm>
              <a:off x="9906000" y="3258485"/>
              <a:ext cx="609600" cy="62771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3200" b="1" i="0" u="none" strike="noStrike" cap="none" normalizeH="0" baseline="0">
                <a:ln>
                  <a:noFill/>
                </a:ln>
                <a:solidFill>
                  <a:srgbClr val="336699"/>
                </a:solidFill>
                <a:effectLst/>
                <a:latin typeface="Verdana" charset="0"/>
                <a:ea typeface="ＭＳ Ｐゴシック" charset="0"/>
                <a:cs typeface="Arial" charset="0"/>
              </a:endParaRPr>
            </a:p>
          </p:txBody>
        </p:sp>
        <p:pic>
          <p:nvPicPr>
            <p:cNvPr id="258" name="Picture 3"/>
            <p:cNvPicPr>
              <a:picLocks noChangeAspect="1" noChangeArrowheads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aturation sat="66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63100" y="2938371"/>
              <a:ext cx="1200150" cy="1352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301" name="Gruppieren 300"/>
          <p:cNvGrpSpPr/>
          <p:nvPr/>
        </p:nvGrpSpPr>
        <p:grpSpPr>
          <a:xfrm>
            <a:off x="8760574" y="2903652"/>
            <a:ext cx="152400" cy="175185"/>
            <a:chOff x="8237514" y="992186"/>
            <a:chExt cx="152400" cy="17518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302" name="Picture 5"/>
            <p:cNvPicPr>
              <a:picLocks noChangeAspect="1" noChangeArrowheads="1"/>
            </p:cNvPicPr>
            <p:nvPr/>
          </p:nvPicPr>
          <p:blipFill>
            <a:blip r:embed="rId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37514" y="992186"/>
              <a:ext cx="152400" cy="1751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03" name="Ellipse 302"/>
            <p:cNvSpPr/>
            <p:nvPr/>
          </p:nvSpPr>
          <p:spPr bwMode="auto">
            <a:xfrm>
              <a:off x="8265711" y="1019129"/>
              <a:ext cx="91155" cy="90976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de-DE" sz="800" dirty="0">
                  <a:solidFill>
                    <a:schemeClr val="bg1"/>
                  </a:solidFill>
                  <a:latin typeface="Verdana" charset="0"/>
                  <a:ea typeface="ＭＳ Ｐゴシック" charset="0"/>
                  <a:cs typeface="Arial" charset="0"/>
                </a:rPr>
                <a:t>0</a:t>
              </a:r>
              <a:endParaRPr kumimoji="0" lang="en-US" sz="8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Verdana" charset="0"/>
                <a:ea typeface="ＭＳ Ｐゴシック" charset="0"/>
                <a:cs typeface="Arial" charset="0"/>
              </a:endParaRPr>
            </a:p>
          </p:txBody>
        </p:sp>
      </p:grpSp>
      <p:grpSp>
        <p:nvGrpSpPr>
          <p:cNvPr id="220" name="Gruppieren 219"/>
          <p:cNvGrpSpPr/>
          <p:nvPr/>
        </p:nvGrpSpPr>
        <p:grpSpPr>
          <a:xfrm>
            <a:off x="5924724" y="3566174"/>
            <a:ext cx="171417" cy="180005"/>
            <a:chOff x="9563100" y="2938371"/>
            <a:chExt cx="1200150" cy="135255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21" name="Ellipse 220"/>
            <p:cNvSpPr/>
            <p:nvPr/>
          </p:nvSpPr>
          <p:spPr bwMode="auto">
            <a:xfrm>
              <a:off x="9906000" y="3258485"/>
              <a:ext cx="609600" cy="62771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3200" b="1" i="0" u="none" strike="noStrike" cap="none" normalizeH="0" baseline="0">
                <a:ln>
                  <a:noFill/>
                </a:ln>
                <a:solidFill>
                  <a:srgbClr val="336699"/>
                </a:solidFill>
                <a:effectLst/>
                <a:latin typeface="Verdana" charset="0"/>
                <a:ea typeface="ＭＳ Ｐゴシック" charset="0"/>
                <a:cs typeface="Arial" charset="0"/>
              </a:endParaRPr>
            </a:p>
          </p:txBody>
        </p:sp>
        <p:pic>
          <p:nvPicPr>
            <p:cNvPr id="222" name="Picture 3"/>
            <p:cNvPicPr>
              <a:picLocks noChangeAspect="1" noChangeArrowheads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aturation sat="66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63100" y="2938371"/>
              <a:ext cx="1200150" cy="1352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23" name="Gruppieren 222"/>
          <p:cNvGrpSpPr/>
          <p:nvPr/>
        </p:nvGrpSpPr>
        <p:grpSpPr>
          <a:xfrm>
            <a:off x="6081269" y="3566174"/>
            <a:ext cx="171417" cy="180005"/>
            <a:chOff x="9563100" y="2938371"/>
            <a:chExt cx="1200150" cy="135255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24" name="Ellipse 223"/>
            <p:cNvSpPr/>
            <p:nvPr/>
          </p:nvSpPr>
          <p:spPr bwMode="auto">
            <a:xfrm>
              <a:off x="9906000" y="3258485"/>
              <a:ext cx="609600" cy="62771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3200" b="1" i="0" u="none" strike="noStrike" cap="none" normalizeH="0" baseline="0">
                <a:ln>
                  <a:noFill/>
                </a:ln>
                <a:solidFill>
                  <a:srgbClr val="336699"/>
                </a:solidFill>
                <a:effectLst/>
                <a:latin typeface="Verdana" charset="0"/>
                <a:ea typeface="ＭＳ Ｐゴシック" charset="0"/>
                <a:cs typeface="Arial" charset="0"/>
              </a:endParaRPr>
            </a:p>
          </p:txBody>
        </p:sp>
        <p:pic>
          <p:nvPicPr>
            <p:cNvPr id="225" name="Picture 3"/>
            <p:cNvPicPr>
              <a:picLocks noChangeAspect="1" noChangeArrowheads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aturation sat="66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63100" y="2938371"/>
              <a:ext cx="1200150" cy="1352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7" name="Textfeld 6"/>
          <p:cNvSpPr txBox="1"/>
          <p:nvPr/>
        </p:nvSpPr>
        <p:spPr>
          <a:xfrm>
            <a:off x="3852358" y="2134423"/>
            <a:ext cx="1008609" cy="168172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  <a:reflection blurRad="6350" stA="52000" endA="300" endPos="35000" dir="5400000" sy="-100000" algn="bl" rotWithShape="0"/>
          </a:effectLst>
        </p:spPr>
        <p:txBody>
          <a:bodyPr wrap="none" rtlCol="0" anchor="ctr">
            <a:spAutoFit/>
          </a:bodyPr>
          <a:lstStyle/>
          <a:p>
            <a:r>
              <a:rPr lang="de-DE" sz="1000" dirty="0" smtClean="0"/>
              <a:t>!ROOMERS!</a:t>
            </a:r>
            <a:endParaRPr lang="en-US" sz="1000" dirty="0" smtClean="0"/>
          </a:p>
        </p:txBody>
      </p:sp>
    </p:spTree>
    <p:extLst>
      <p:ext uri="{BB962C8B-B14F-4D97-AF65-F5344CB8AC3E}">
        <p14:creationId xmlns:p14="http://schemas.microsoft.com/office/powerpoint/2010/main" val="32616096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 bwMode="auto">
          <a:xfrm>
            <a:off x="609600" y="1297168"/>
            <a:ext cx="8153399" cy="5256032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180000" tIns="14400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lvl="1">
              <a:spcAft>
                <a:spcPts val="600"/>
              </a:spcAft>
              <a:buClr>
                <a:schemeClr val="bg1">
                  <a:lumMod val="65000"/>
                </a:schemeClr>
              </a:buClr>
            </a:pPr>
            <a:endParaRPr lang="en-US" sz="100" b="0" dirty="0" smtClean="0"/>
          </a:p>
        </p:txBody>
      </p:sp>
      <p:sp>
        <p:nvSpPr>
          <p:cNvPr id="8" name="Rechteck 7"/>
          <p:cNvSpPr/>
          <p:nvPr/>
        </p:nvSpPr>
        <p:spPr>
          <a:xfrm>
            <a:off x="807719" y="1127892"/>
            <a:ext cx="3405059" cy="338554"/>
          </a:xfrm>
          <a:prstGeom prst="rect">
            <a:avLst/>
          </a:prstGeom>
          <a:solidFill>
            <a:schemeClr val="bg1"/>
          </a:solidFill>
        </p:spPr>
        <p:txBody>
          <a:bodyPr wrap="square" rIns="0">
            <a:spAutoFit/>
          </a:bodyPr>
          <a:lstStyle/>
          <a:p>
            <a:pPr>
              <a:spcAft>
                <a:spcPts val="300"/>
              </a:spcAft>
              <a:buClr>
                <a:schemeClr val="bg1">
                  <a:lumMod val="65000"/>
                </a:schemeClr>
              </a:buClr>
            </a:pPr>
            <a:r>
              <a:rPr lang="en-US" sz="1600" dirty="0" smtClean="0"/>
              <a:t>Feedback status</a:t>
            </a:r>
            <a:endParaRPr lang="en-US" sz="160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 err="1" smtClean="0"/>
              <a:t>Infos</a:t>
            </a:r>
            <a:endParaRPr lang="en-US" sz="24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BD4307-8E25-4063-B042-91C9BB9E4C20}" type="slidenum">
              <a:rPr lang="de-DE" smtClean="0"/>
              <a:pPr/>
              <a:t>2</a:t>
            </a:fld>
            <a:endParaRPr lang="de-DE" dirty="0"/>
          </a:p>
        </p:txBody>
      </p:sp>
      <p:grpSp>
        <p:nvGrpSpPr>
          <p:cNvPr id="5" name="Gruppieren 4"/>
          <p:cNvGrpSpPr/>
          <p:nvPr/>
        </p:nvGrpSpPr>
        <p:grpSpPr>
          <a:xfrm>
            <a:off x="7761688" y="363792"/>
            <a:ext cx="775321" cy="649343"/>
            <a:chOff x="9811328" y="3035535"/>
            <a:chExt cx="1321363" cy="1139938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3" name="Gleichschenkliges Dreieck 2"/>
            <p:cNvSpPr/>
            <p:nvPr/>
          </p:nvSpPr>
          <p:spPr bwMode="auto">
            <a:xfrm>
              <a:off x="9811328" y="3106378"/>
              <a:ext cx="1309312" cy="1035995"/>
            </a:xfrm>
            <a:prstGeom prst="triangle">
              <a:avLst>
                <a:gd name="adj" fmla="val 49711"/>
              </a:avLst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3200" b="1" i="0" u="none" strike="noStrike" cap="none" normalizeH="0" baseline="0">
                <a:ln>
                  <a:noFill/>
                </a:ln>
                <a:solidFill>
                  <a:srgbClr val="336699"/>
                </a:solidFill>
                <a:effectLst/>
                <a:latin typeface="Verdana" charset="0"/>
                <a:ea typeface="ＭＳ Ｐゴシック" charset="0"/>
                <a:cs typeface="Arial" charset="0"/>
              </a:endParaRPr>
            </a:p>
          </p:txBody>
        </p:sp>
        <p:pic>
          <p:nvPicPr>
            <p:cNvPr id="2050" name="Picture 2" descr="File:Danger of slipping (Israel road sign).png">
              <a:hlinkClick r:id="rId2"/>
            </p:cNvPr>
            <p:cNvPicPr>
              <a:picLocks noChangeAspect="1" noChangeArrowheads="1"/>
            </p:cNvPicPr>
            <p:nvPr/>
          </p:nvPicPr>
          <p:blipFill>
            <a:blip r:embed="rId3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823379" y="3035535"/>
              <a:ext cx="1309312" cy="1139938"/>
            </a:xfrm>
            <a:prstGeom prst="rect">
              <a:avLst/>
            </a:prstGeom>
            <a:noFill/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6" name="Gruppieren 20"/>
          <p:cNvGrpSpPr>
            <a:grpSpLocks/>
          </p:cNvGrpSpPr>
          <p:nvPr/>
        </p:nvGrpSpPr>
        <p:grpSpPr bwMode="auto">
          <a:xfrm>
            <a:off x="457200" y="1732609"/>
            <a:ext cx="8458200" cy="4210991"/>
            <a:chOff x="5088442" y="1898310"/>
            <a:chExt cx="8654672" cy="5253485"/>
          </a:xfrm>
        </p:grpSpPr>
        <p:pic>
          <p:nvPicPr>
            <p:cNvPr id="37" name="Picture 7" descr="http://alternatewrites.com/wp-content/uploads/2012/06/post-it-note-with-a-pin.jpg"/>
            <p:cNvPicPr>
              <a:picLocks noChangeAspect="1" noChangeArrowheads="1"/>
            </p:cNvPicPr>
            <p:nvPr/>
          </p:nvPicPr>
          <p:blipFill rotWithShape="1">
            <a:blip r:embed="rId4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478" t="3989" r="2994" b="3295"/>
            <a:stretch/>
          </p:blipFill>
          <p:spPr bwMode="auto">
            <a:xfrm>
              <a:off x="5088442" y="1898310"/>
              <a:ext cx="8654672" cy="5253485"/>
            </a:xfrm>
            <a:prstGeom prst="rect">
              <a:avLst/>
            </a:prstGeom>
            <a:noFill/>
            <a:scene3d>
              <a:camera prst="orthographicFront">
                <a:rot lat="0" lon="1080000" rev="0"/>
              </a:camera>
              <a:lightRig rig="threePt" dir="t"/>
            </a:scene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8" name="Textfeld 15"/>
            <p:cNvSpPr txBox="1">
              <a:spLocks noChangeArrowheads="1"/>
            </p:cNvSpPr>
            <p:nvPr/>
          </p:nvSpPr>
          <p:spPr bwMode="auto">
            <a:xfrm rot="21348083">
              <a:off x="7626112" y="2933738"/>
              <a:ext cx="3932132" cy="7487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rIns="90000">
              <a:spAutoFit/>
            </a:bodyPr>
            <a:lstStyle>
              <a:lvl1pPr eaLnBrk="0" hangingPunct="0">
                <a:spcAft>
                  <a:spcPts val="600"/>
                </a:spcAft>
                <a:defRPr sz="1400" b="1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eaLnBrk="0" hangingPunct="0">
                <a:spcAft>
                  <a:spcPts val="600"/>
                </a:spcAft>
                <a:buClr>
                  <a:schemeClr val="tx2"/>
                </a:buClr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eaLnBrk="0" hangingPunct="0">
                <a:spcAft>
                  <a:spcPts val="600"/>
                </a:spcAft>
                <a:buClr>
                  <a:schemeClr val="tx2"/>
                </a:buClr>
                <a:buFont typeface="Symbol" pitchFamily="18" charset="2"/>
                <a:buChar char="-"/>
                <a:defRPr sz="1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eaLnBrk="0" hangingPunct="0">
                <a:spcAft>
                  <a:spcPts val="600"/>
                </a:spcAft>
                <a:buClr>
                  <a:schemeClr val="tx2"/>
                </a:buClr>
                <a:buFont typeface="Symbol" pitchFamily="18" charset="2"/>
                <a:buChar char="-"/>
                <a:defRPr sz="14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eaLnBrk="0" hangingPunct="0">
                <a:spcAft>
                  <a:spcPts val="600"/>
                </a:spcAft>
                <a:buClr>
                  <a:schemeClr val="tx2"/>
                </a:buClr>
                <a:buFont typeface="Arial" charset="0"/>
                <a:buChar char="»"/>
                <a:defRPr sz="14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Font typeface="Arial" charset="0"/>
                <a:buChar char="»"/>
                <a:defRPr sz="14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Font typeface="Arial" charset="0"/>
                <a:buChar char="»"/>
                <a:defRPr sz="14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Font typeface="Arial" charset="0"/>
                <a:buChar char="»"/>
                <a:defRPr sz="14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Font typeface="Arial" charset="0"/>
                <a:buChar char="»"/>
                <a:defRPr sz="14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eaLnBrk="1" hangingPunct="1"/>
              <a:r>
                <a:rPr lang="en-US" altLang="de-DE" i="1" dirty="0" err="1" smtClean="0">
                  <a:latin typeface="+mn-lt"/>
                </a:rPr>
                <a:t>Informale</a:t>
              </a:r>
              <a:r>
                <a:rPr lang="en-US" altLang="de-DE" i="1" dirty="0" smtClean="0">
                  <a:latin typeface="+mn-lt"/>
                </a:rPr>
                <a:t>  meeting  11.1.2015</a:t>
              </a:r>
            </a:p>
            <a:p>
              <a:pPr eaLnBrk="1" hangingPunct="1"/>
              <a:r>
                <a:rPr lang="en-US" altLang="de-DE" i="1" dirty="0" smtClean="0">
                  <a:latin typeface="+mn-lt"/>
                </a:rPr>
                <a:t>Paul Greening -  Nikolaus Steininger</a:t>
              </a:r>
              <a:endParaRPr lang="en-US" altLang="de-DE" i="1" dirty="0">
                <a:latin typeface="+mn-lt"/>
              </a:endParaRPr>
            </a:p>
          </p:txBody>
        </p:sp>
        <p:sp>
          <p:nvSpPr>
            <p:cNvPr id="39" name="Textfeld 17"/>
            <p:cNvSpPr txBox="1">
              <a:spLocks noChangeArrowheads="1"/>
            </p:cNvSpPr>
            <p:nvPr/>
          </p:nvSpPr>
          <p:spPr bwMode="auto">
            <a:xfrm rot="21348083">
              <a:off x="6292791" y="3953322"/>
              <a:ext cx="6323945" cy="256300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36000" rIns="36000">
              <a:spAutoFit/>
            </a:bodyPr>
            <a:lstStyle>
              <a:lvl1pPr eaLnBrk="0" hangingPunct="0">
                <a:spcAft>
                  <a:spcPts val="600"/>
                </a:spcAft>
                <a:defRPr sz="1400" b="1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eaLnBrk="0" hangingPunct="0">
                <a:spcAft>
                  <a:spcPts val="600"/>
                </a:spcAft>
                <a:buClr>
                  <a:schemeClr val="tx2"/>
                </a:buClr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eaLnBrk="0" hangingPunct="0">
                <a:spcAft>
                  <a:spcPts val="600"/>
                </a:spcAft>
                <a:buClr>
                  <a:schemeClr val="tx2"/>
                </a:buClr>
                <a:buFont typeface="Symbol" pitchFamily="18" charset="2"/>
                <a:buChar char="-"/>
                <a:defRPr sz="1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eaLnBrk="0" hangingPunct="0">
                <a:spcAft>
                  <a:spcPts val="600"/>
                </a:spcAft>
                <a:buClr>
                  <a:schemeClr val="tx2"/>
                </a:buClr>
                <a:buFont typeface="Symbol" pitchFamily="18" charset="2"/>
                <a:buChar char="-"/>
                <a:defRPr sz="14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eaLnBrk="0" hangingPunct="0">
                <a:spcAft>
                  <a:spcPts val="600"/>
                </a:spcAft>
                <a:buClr>
                  <a:schemeClr val="tx2"/>
                </a:buClr>
                <a:buFont typeface="Arial" charset="0"/>
                <a:buChar char="»"/>
                <a:defRPr sz="14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Font typeface="Arial" charset="0"/>
                <a:buChar char="»"/>
                <a:defRPr sz="14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Font typeface="Arial" charset="0"/>
                <a:buChar char="»"/>
                <a:defRPr sz="14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Font typeface="Arial" charset="0"/>
                <a:buChar char="»"/>
                <a:defRPr sz="14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Font typeface="Arial" charset="0"/>
                <a:buChar char="»"/>
                <a:defRPr sz="14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marL="92075" indent="-92075" eaLnBrk="1" hangingPunct="1">
                <a:lnSpc>
                  <a:spcPts val="1700"/>
                </a:lnSpc>
                <a:spcAft>
                  <a:spcPts val="0"/>
                </a:spcAft>
                <a:buClr>
                  <a:schemeClr val="bg2"/>
                </a:buClr>
                <a:buFont typeface="Wingdings" panose="05000000000000000000" pitchFamily="2" charset="2"/>
                <a:buChar char="§"/>
              </a:pPr>
              <a:r>
                <a:rPr lang="en-US" altLang="de-DE" sz="1000" b="0" i="1" dirty="0" smtClean="0">
                  <a:latin typeface="+mn-lt"/>
                </a:rPr>
                <a:t>No need for compromise in the view of Mr. Steininger</a:t>
              </a:r>
            </a:p>
            <a:p>
              <a:pPr marL="92075" indent="-92075" eaLnBrk="1" hangingPunct="1">
                <a:lnSpc>
                  <a:spcPts val="1700"/>
                </a:lnSpc>
                <a:spcAft>
                  <a:spcPts val="0"/>
                </a:spcAft>
                <a:buClr>
                  <a:schemeClr val="bg2"/>
                </a:buClr>
                <a:buFont typeface="Wingdings" panose="05000000000000000000" pitchFamily="2" charset="2"/>
                <a:buChar char="§"/>
              </a:pPr>
              <a:r>
                <a:rPr lang="en-US" altLang="de-DE" sz="1000" b="0" i="1" dirty="0" err="1" smtClean="0">
                  <a:latin typeface="+mn-lt"/>
                </a:rPr>
                <a:t>Liklyhood</a:t>
              </a:r>
              <a:r>
                <a:rPr lang="en-US" altLang="de-DE" sz="1000" b="0" i="1" dirty="0" smtClean="0">
                  <a:latin typeface="+mn-lt"/>
                </a:rPr>
                <a:t> adjustments in package 1: </a:t>
              </a:r>
            </a:p>
            <a:p>
              <a:pPr marL="835025" lvl="1" indent="-92075" eaLnBrk="1" hangingPunct="1">
                <a:lnSpc>
                  <a:spcPts val="1700"/>
                </a:lnSpc>
                <a:spcAft>
                  <a:spcPts val="0"/>
                </a:spcAft>
                <a:buClr>
                  <a:schemeClr val="bg2"/>
                </a:buClr>
              </a:pPr>
              <a:r>
                <a:rPr lang="en-US" altLang="de-DE" sz="1000" b="0" i="1" dirty="0" smtClean="0">
                  <a:latin typeface="+mn-lt"/>
                </a:rPr>
                <a:t>BC Temperature: proposal of </a:t>
              </a:r>
              <a:r>
                <a:rPr lang="en-US" altLang="de-DE" sz="1000" b="0" i="1" dirty="0" err="1" smtClean="0">
                  <a:latin typeface="+mn-lt"/>
                </a:rPr>
                <a:t>spain</a:t>
              </a:r>
              <a:endParaRPr lang="en-US" altLang="de-DE" sz="1000" b="0" i="1" dirty="0" smtClean="0">
                <a:latin typeface="+mn-lt"/>
              </a:endParaRPr>
            </a:p>
            <a:p>
              <a:pPr marL="835025" lvl="1" indent="-92075" eaLnBrk="1" hangingPunct="1">
                <a:lnSpc>
                  <a:spcPts val="1700"/>
                </a:lnSpc>
                <a:spcAft>
                  <a:spcPts val="0"/>
                </a:spcAft>
                <a:buClr>
                  <a:schemeClr val="bg2"/>
                </a:buClr>
              </a:pPr>
              <a:r>
                <a:rPr lang="en-US" altLang="de-DE" sz="1000" b="0" i="1" dirty="0" smtClean="0">
                  <a:latin typeface="+mn-lt"/>
                </a:rPr>
                <a:t>2 step introduction , details in package 2 but AT step 1 9/2018 &amp; 2 step delaying by 1 year to  NT 9/2021 AT 9/2022</a:t>
              </a:r>
            </a:p>
            <a:p>
              <a:pPr marL="835025" lvl="1" indent="-92075" eaLnBrk="1" hangingPunct="1">
                <a:lnSpc>
                  <a:spcPts val="1700"/>
                </a:lnSpc>
                <a:spcAft>
                  <a:spcPts val="0"/>
                </a:spcAft>
                <a:buClr>
                  <a:schemeClr val="bg2"/>
                </a:buClr>
              </a:pPr>
              <a:r>
                <a:rPr lang="en-US" altLang="de-DE" sz="1000" b="0" i="1" dirty="0" smtClean="0">
                  <a:latin typeface="+mn-lt"/>
                </a:rPr>
                <a:t>2 step CFs  linked to the technology : CF step 1 LNT  CF step2 SCR, details in package 2</a:t>
              </a:r>
            </a:p>
            <a:p>
              <a:pPr marL="835025" lvl="1" indent="-92075" eaLnBrk="1" hangingPunct="1">
                <a:lnSpc>
                  <a:spcPts val="1700"/>
                </a:lnSpc>
                <a:spcAft>
                  <a:spcPts val="0"/>
                </a:spcAft>
                <a:buClr>
                  <a:schemeClr val="bg2"/>
                </a:buClr>
              </a:pPr>
              <a:r>
                <a:rPr lang="en-US" altLang="de-DE" sz="1000" b="0" i="1" dirty="0" smtClean="0">
                  <a:latin typeface="+mn-lt"/>
                </a:rPr>
                <a:t>Open for additional BCs if Task force team confirms the need, integrated in package 2</a:t>
              </a:r>
              <a:endParaRPr lang="en-US" altLang="de-DE" sz="1000" b="0" i="1" dirty="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353687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/>
        </p:nvSpPr>
        <p:spPr bwMode="auto">
          <a:xfrm>
            <a:off x="609600" y="1297168"/>
            <a:ext cx="8153399" cy="5484632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180000" tIns="144000" rIns="91440" bIns="45720" numCol="1" rtlCol="0" anchor="t" anchorCtr="0" compatLnSpc="1">
            <a:prstTxWarp prst="textNoShape">
              <a:avLst/>
            </a:prstTxWarp>
          </a:bodyPr>
          <a:lstStyle/>
          <a:p>
            <a:pPr marL="285750" lvl="1" indent="-285750"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Wingdings" panose="05000000000000000000" pitchFamily="2" charset="2"/>
              <a:buChar char="§"/>
            </a:pPr>
            <a:endParaRPr lang="en-US" sz="100" b="0" dirty="0" smtClean="0"/>
          </a:p>
          <a:p>
            <a:pPr marL="285750" lvl="1" indent="-285750"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b="0" dirty="0"/>
              <a:t>Feedback of </a:t>
            </a:r>
            <a:r>
              <a:rPr lang="en-US" sz="1400" dirty="0" smtClean="0"/>
              <a:t>10</a:t>
            </a:r>
            <a:r>
              <a:rPr lang="en-US" sz="1400" b="0" dirty="0" smtClean="0"/>
              <a:t> </a:t>
            </a:r>
            <a:r>
              <a:rPr lang="en-US" sz="1400" b="0" dirty="0"/>
              <a:t>Manufacturer</a:t>
            </a:r>
          </a:p>
          <a:p>
            <a:pPr marL="742950" lvl="1" indent="-285750">
              <a:spcAft>
                <a:spcPts val="600"/>
              </a:spcAft>
              <a:buClr>
                <a:schemeClr val="bg1">
                  <a:lumMod val="65000"/>
                </a:schemeClr>
              </a:buClr>
              <a:buFontTx/>
              <a:buChar char="-"/>
            </a:pPr>
            <a:endParaRPr lang="en-US" sz="1400" b="0" dirty="0"/>
          </a:p>
        </p:txBody>
      </p:sp>
      <p:sp>
        <p:nvSpPr>
          <p:cNvPr id="33" name="Rechteck 32"/>
          <p:cNvSpPr/>
          <p:nvPr/>
        </p:nvSpPr>
        <p:spPr bwMode="auto">
          <a:xfrm>
            <a:off x="381000" y="1542650"/>
            <a:ext cx="8577731" cy="503869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3200" b="1" i="0" u="none" strike="noStrike" cap="none" normalizeH="0" baseline="0">
              <a:ln>
                <a:noFill/>
              </a:ln>
              <a:solidFill>
                <a:srgbClr val="336699"/>
              </a:solidFill>
              <a:effectLst/>
              <a:latin typeface="Verdana" charset="0"/>
              <a:ea typeface="ＭＳ Ｐゴシック" charset="0"/>
              <a:cs typeface="Arial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Decision Template </a:t>
            </a:r>
            <a:br>
              <a:rPr lang="en-US" sz="2400" dirty="0"/>
            </a:br>
            <a:r>
              <a:rPr lang="en-US" sz="2400" dirty="0"/>
              <a:t>"</a:t>
            </a:r>
            <a:r>
              <a:rPr lang="en-US" sz="2400" dirty="0" smtClean="0"/>
              <a:t>Negotiationparameter</a:t>
            </a:r>
            <a:r>
              <a:rPr lang="en-US" sz="2400" dirty="0"/>
              <a:t>” </a:t>
            </a:r>
            <a:r>
              <a:rPr lang="en-US" sz="2400" dirty="0" smtClean="0"/>
              <a:t>(3/5</a:t>
            </a:r>
            <a:r>
              <a:rPr lang="en-US" sz="2400" dirty="0"/>
              <a:t>)</a:t>
            </a:r>
            <a:endParaRPr lang="en-US" sz="2600" dirty="0"/>
          </a:p>
        </p:txBody>
      </p:sp>
      <p:sp>
        <p:nvSpPr>
          <p:cNvPr id="9" name="Rechteck 8"/>
          <p:cNvSpPr/>
          <p:nvPr/>
        </p:nvSpPr>
        <p:spPr>
          <a:xfrm>
            <a:off x="807719" y="1127892"/>
            <a:ext cx="6278881" cy="338554"/>
          </a:xfrm>
          <a:prstGeom prst="rect">
            <a:avLst/>
          </a:prstGeom>
          <a:solidFill>
            <a:schemeClr val="bg1"/>
          </a:solidFill>
        </p:spPr>
        <p:txBody>
          <a:bodyPr wrap="square" rIns="0">
            <a:spAutoFit/>
          </a:bodyPr>
          <a:lstStyle/>
          <a:p>
            <a:pPr>
              <a:spcAft>
                <a:spcPts val="300"/>
              </a:spcAft>
              <a:buClr>
                <a:schemeClr val="bg1">
                  <a:lumMod val="65000"/>
                </a:schemeClr>
              </a:buClr>
            </a:pPr>
            <a:r>
              <a:rPr lang="en-US" sz="1600" dirty="0" smtClean="0"/>
              <a:t>ACEA-Walk-In-Position </a:t>
            </a:r>
            <a:r>
              <a:rPr lang="en-US" sz="1600" dirty="0"/>
              <a:t>vs. </a:t>
            </a:r>
            <a:r>
              <a:rPr lang="en-US" sz="1600" dirty="0" smtClean="0"/>
              <a:t>EU-COM-Position - Results</a:t>
            </a:r>
            <a:endParaRPr lang="en-US" sz="1600" b="0" dirty="0"/>
          </a:p>
        </p:txBody>
      </p:sp>
      <p:graphicFrame>
        <p:nvGraphicFramePr>
          <p:cNvPr id="4" name="Tabel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8690281"/>
              </p:ext>
            </p:extLst>
          </p:nvPr>
        </p:nvGraphicFramePr>
        <p:xfrm>
          <a:off x="457201" y="1596531"/>
          <a:ext cx="8567999" cy="4866168"/>
        </p:xfrm>
        <a:graphic>
          <a:graphicData uri="http://schemas.openxmlformats.org/drawingml/2006/table">
            <a:tbl>
              <a:tblPr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tblPr>
              <a:tblGrid>
                <a:gridCol w="994499"/>
                <a:gridCol w="1139100"/>
                <a:gridCol w="592583"/>
                <a:gridCol w="855217"/>
                <a:gridCol w="76200"/>
                <a:gridCol w="1219200"/>
                <a:gridCol w="1243201"/>
                <a:gridCol w="1224000"/>
                <a:gridCol w="87792"/>
                <a:gridCol w="1136207"/>
              </a:tblGrid>
              <a:tr h="308469">
                <a:tc gridSpan="4">
                  <a:txBody>
                    <a:bodyPr/>
                    <a:lstStyle/>
                    <a:p>
                      <a:pPr algn="r" fontAlgn="b"/>
                      <a: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Compromises - including political influences:</a:t>
                      </a:r>
                      <a:endParaRPr 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 anchor="b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18632" marR="0" marT="18632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18632" marR="0" marT="18632" marB="0" anchor="b">
                    <a:lnL>
                      <a:noFill/>
                    </a:lnL>
                    <a:lnR>
                      <a:noFill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fontAlgn="b"/>
                      <a:endParaRPr 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 anchor="b">
                    <a:lnL>
                      <a:noFill/>
                    </a:lnL>
                    <a:lnR>
                      <a:noFill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Difference EU COM to </a:t>
                      </a:r>
                      <a:r>
                        <a:rPr lang="pt-BR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1</a:t>
                      </a:r>
                    </a:p>
                    <a:p>
                      <a:pPr algn="l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(close to COM with </a:t>
                      </a:r>
                    </a:p>
                    <a:p>
                      <a:pPr algn="l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important</a:t>
                      </a:r>
                      <a:r>
                        <a:rPr lang="en-US" sz="5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lements</a:t>
                      </a:r>
                      <a:r>
                        <a:rPr lang="en-US" sz="5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of ACEA)</a:t>
                      </a:r>
                    </a:p>
                  </a:txBody>
                  <a:tcPr marL="18632" marR="0" marT="1863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Difference C1 to C2</a:t>
                      </a:r>
                    </a:p>
                  </a:txBody>
                  <a:tcPr marL="18632" marR="0" marT="1863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6FF3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Difference C2 to C3</a:t>
                      </a:r>
                    </a:p>
                  </a:txBody>
                  <a:tcPr marL="18632" marR="0" marT="1863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1" i="0" u="none" strike="noStrike">
                          <a:solidFill>
                            <a:srgbClr val="C00000"/>
                          </a:solidFill>
                          <a:effectLst/>
                          <a:latin typeface="Arial"/>
                        </a:rPr>
                        <a:t>Consolidated Manufacturer Compromise-Position</a:t>
                      </a:r>
                    </a:p>
                  </a:txBody>
                  <a:tcPr marL="18632" marR="0" marT="1863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</a:tr>
              <a:tr h="122197"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endParaRPr lang="en-US" sz="7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8632" marR="0" marT="18632" marB="0" anchor="ctr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700" dirty="0"/>
                    </a:p>
                  </a:txBody>
                  <a:tcPr marL="18632" marR="0" marT="18632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700" dirty="0"/>
                    </a:p>
                  </a:txBody>
                  <a:tcPr marL="18632" marR="0" marT="1863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ew</a:t>
                      </a:r>
                    </a:p>
                  </a:txBody>
                  <a:tcPr marL="18632" marR="0" marT="1863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 anchor="b">
                    <a:lnL>
                      <a:noFill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</a:tr>
              <a:tr h="377885"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endParaRPr lang="en-US" sz="7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8632" marR="0" marT="18632" marB="0" anchor="ctr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800"/>
                    </a:p>
                  </a:txBody>
                  <a:tcPr marL="18632" marR="0" marT="18632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800"/>
                    </a:p>
                  </a:txBody>
                  <a:tcPr marL="18632" marR="0" marT="1863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 fontAlgn="b"/>
                      <a:endParaRPr lang="en-US" sz="700" b="1" i="0" u="none" strike="noStrike" dirty="0" smtClean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fontAlgn="b"/>
                      <a:endParaRPr 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>
                      <a:noFill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45887"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Parameter </a:t>
                      </a:r>
                    </a:p>
                  </a:txBody>
                  <a:tcPr marL="18632" marR="0" marT="18632" marB="0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1" i="0" u="none" strike="noStrike" dirty="0">
                          <a:solidFill>
                            <a:srgbClr val="1F497D"/>
                          </a:solidFill>
                          <a:effectLst/>
                          <a:latin typeface="Arial"/>
                        </a:rPr>
                        <a:t>ACEA-Walk-In </a:t>
                      </a:r>
                      <a:endParaRPr lang="en-US" sz="1200" b="1" i="0" u="none" strike="noStrike" dirty="0" smtClean="0">
                        <a:solidFill>
                          <a:srgbClr val="1F497D"/>
                        </a:solidFill>
                        <a:effectLst/>
                        <a:latin typeface="Arial"/>
                      </a:endParaRPr>
                    </a:p>
                    <a:p>
                      <a:pPr algn="l" fontAlgn="t"/>
                      <a:r>
                        <a:rPr lang="en-US" sz="1200" b="1" i="0" u="none" strike="noStrike" dirty="0" smtClean="0">
                          <a:solidFill>
                            <a:srgbClr val="1F497D"/>
                          </a:solidFill>
                          <a:effectLst/>
                          <a:latin typeface="Arial"/>
                        </a:rPr>
                        <a:t>Position</a:t>
                      </a:r>
                      <a:endParaRPr lang="en-US" sz="1200" b="1" i="0" u="none" strike="noStrike" dirty="0">
                        <a:solidFill>
                          <a:srgbClr val="1F497D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800" b="1" i="0" u="none" strike="noStrike" dirty="0">
                          <a:solidFill>
                            <a:srgbClr val="1F497D"/>
                          </a:solidFill>
                          <a:effectLst/>
                          <a:latin typeface="Arial"/>
                        </a:rPr>
                        <a:t>Feedback </a:t>
                      </a:r>
                      <a:r>
                        <a:rPr lang="en-US" sz="700" b="0" i="0" u="none" strike="noStrike" dirty="0">
                          <a:solidFill>
                            <a:srgbClr val="1F497D"/>
                          </a:solidFill>
                          <a:effectLst/>
                          <a:latin typeface="Arial"/>
                        </a:rPr>
                        <a:t>[numbers]</a:t>
                      </a:r>
                      <a:endParaRPr lang="en-US" sz="800" b="1" i="0" u="none" strike="noStrike" dirty="0">
                        <a:solidFill>
                          <a:srgbClr val="1F497D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U-COM-Position 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18632" marR="0" marT="18632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CEA Compromise C1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CEA Compromise C2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CEA Compromise C3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/>
                        </a:rPr>
                        <a:t>Consolidated Manufacturer </a:t>
                      </a:r>
                      <a:br>
                        <a:rPr lang="en-US" sz="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/>
                        </a:rPr>
                      </a:br>
                      <a:r>
                        <a:rPr lang="en-US" sz="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/>
                        </a:rPr>
                        <a:t>Compromise-Position  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</a:tr>
              <a:tr h="145359">
                <a:tc rowSpan="3">
                  <a:txBody>
                    <a:bodyPr/>
                    <a:lstStyle/>
                    <a:p>
                      <a:pPr algn="l" fontAlgn="t"/>
                      <a:r>
                        <a:rPr lang="en-US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erodynamic</a:t>
                      </a:r>
                    </a:p>
                  </a:txBody>
                  <a:tcPr marL="18632" marR="0" marT="18632" marB="0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o restriction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1</a:t>
                      </a:r>
                    </a:p>
                  </a:txBody>
                  <a:tcPr marL="18632" marR="0" marT="1863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DCE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o restriction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18632" marR="0" marT="1863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o 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estriction</a:t>
                      </a:r>
                    </a:p>
                    <a:p>
                      <a:pPr algn="l" fontAlgn="ctr"/>
                      <a:endParaRPr lang="en-US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  <a:p>
                      <a:pPr algn="l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o aftermarket </a:t>
                      </a:r>
                    </a:p>
                    <a:p>
                      <a:pPr algn="l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quipment!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o 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estriction</a:t>
                      </a:r>
                    </a:p>
                    <a:p>
                      <a:pPr algn="l" fontAlgn="ctr"/>
                      <a:endParaRPr lang="en-US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  <a:p>
                      <a:pPr algn="l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o aftermarket </a:t>
                      </a:r>
                    </a:p>
                    <a:p>
                      <a:pPr algn="l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quipment!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o 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estriction</a:t>
                      </a:r>
                    </a:p>
                    <a:p>
                      <a:pPr algn="l" fontAlgn="t"/>
                      <a:endParaRPr lang="en-US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  <a:p>
                      <a:pPr algn="l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o aftermarket </a:t>
                      </a:r>
                    </a:p>
                    <a:p>
                      <a:pPr algn="l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quipment!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18632" marR="0" marT="1863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 fontAlgn="ctr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o aftermarket </a:t>
                      </a:r>
                      <a:endParaRPr lang="en-US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  <a:p>
                      <a:pPr algn="l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quipment</a:t>
                      </a: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!</a:t>
                      </a:r>
                    </a:p>
                  </a:txBody>
                  <a:tcPr marL="18632" marR="0" marT="18632" marB="0" anchor="ctr">
                    <a:lnL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</a:tr>
              <a:tr h="145359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1</a:t>
                      </a:r>
                    </a:p>
                  </a:txBody>
                  <a:tcPr marL="18632" marR="0" marT="1863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</a:tr>
              <a:tr h="145359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dirty="0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8</a:t>
                      </a:r>
                    </a:p>
                  </a:txBody>
                  <a:tcPr marL="18632" marR="0" marT="1863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6FF33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</a:tr>
              <a:tr h="145359">
                <a:tc rowSpan="3">
                  <a:txBody>
                    <a:bodyPr/>
                    <a:lstStyle/>
                    <a:p>
                      <a:pPr algn="l" fontAlgn="t"/>
                      <a:r>
                        <a:rPr 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Driving style</a:t>
                      </a:r>
                    </a:p>
                  </a:txBody>
                  <a:tcPr marL="18632" marR="0" marT="18632" marB="0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o pedal pumping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4</a:t>
                      </a:r>
                    </a:p>
                  </a:txBody>
                  <a:tcPr marL="18632" marR="0" marT="1863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DCE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o restriction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18632" marR="0" marT="1863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o pedal pumping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o pedal pumping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o pedal pumping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18632" marR="0" marT="1863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o pedal pumping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DCE"/>
                    </a:solidFill>
                  </a:tcPr>
                </a:tc>
              </a:tr>
              <a:tr h="145359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6</a:t>
                      </a:r>
                    </a:p>
                  </a:txBody>
                  <a:tcPr marL="18632" marR="0" marT="1863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</a:tr>
              <a:tr h="145359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dirty="0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en-US" sz="700" b="1" i="0" u="none" strike="noStrike" dirty="0" smtClean="0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-</a:t>
                      </a:r>
                      <a:endParaRPr lang="en-US" sz="700" b="1" i="0" u="none" strike="noStrike" dirty="0">
                        <a:solidFill>
                          <a:srgbClr val="1F497D"/>
                        </a:solidFill>
                        <a:effectLst/>
                        <a:latin typeface="Calibri"/>
                      </a:endParaRPr>
                    </a:p>
                  </a:txBody>
                  <a:tcPr marL="18632" marR="0" marT="1863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6FF33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</a:tr>
              <a:tr h="145359">
                <a:tc rowSpan="3">
                  <a:txBody>
                    <a:bodyPr/>
                    <a:lstStyle/>
                    <a:p>
                      <a:pPr algn="l" fontAlgn="t"/>
                      <a:r>
                        <a:rPr 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Predominant Mode </a:t>
                      </a:r>
                    </a:p>
                  </a:txBody>
                  <a:tcPr marL="18632" marR="0" marT="18632" marB="0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default on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4</a:t>
                      </a:r>
                    </a:p>
                  </a:txBody>
                  <a:tcPr marL="18632" marR="0" marT="1863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DCE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o restriction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18632" marR="0" marT="1863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o off road modes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default on if statistic data &gt;90% 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use</a:t>
                      </a:r>
                    </a:p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o off road modes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6FF33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default on if statistic data &gt;90% 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use</a:t>
                      </a:r>
                    </a:p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o off road modes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6FF33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18632" marR="0" marT="1863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ecommenation default on (moderate); linked with n_rel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  <a:tr h="145359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5</a:t>
                      </a:r>
                    </a:p>
                  </a:txBody>
                  <a:tcPr marL="18632" marR="0" marT="1863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</a:tr>
              <a:tr h="145359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1</a:t>
                      </a:r>
                    </a:p>
                  </a:txBody>
                  <a:tcPr marL="18632" marR="0" marT="1863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6FF33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</a:tr>
              <a:tr h="145359">
                <a:tc rowSpan="3">
                  <a:txBody>
                    <a:bodyPr/>
                    <a:lstStyle/>
                    <a:p>
                      <a:pPr algn="l" fontAlgn="t"/>
                      <a:r>
                        <a:rPr 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Usage of additional consumer </a:t>
                      </a:r>
                    </a:p>
                  </a:txBody>
                  <a:tcPr marL="18632" marR="0" marT="18632" marB="0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o restriction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1</a:t>
                      </a:r>
                    </a:p>
                  </a:txBody>
                  <a:tcPr marL="18632" marR="0" marT="1863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DCE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o restriction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18632" marR="0" marT="1863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o restriction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o restriction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o restriction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18632" marR="0" marT="1863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o aftermarket equipment, sensible usage (not full AC and window/seat heating in hot climate)</a:t>
                      </a:r>
                    </a:p>
                  </a:txBody>
                  <a:tcPr marL="18632" marR="0" marT="18632" marB="0" anchor="ctr">
                    <a:lnL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</a:tr>
              <a:tr h="145359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dirty="0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en-US" sz="700" b="1" i="0" u="none" strike="noStrike" dirty="0" smtClean="0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-</a:t>
                      </a:r>
                      <a:endParaRPr lang="en-US" sz="700" b="1" i="0" u="none" strike="noStrike" dirty="0">
                        <a:solidFill>
                          <a:srgbClr val="1F497D"/>
                        </a:solidFill>
                        <a:effectLst/>
                        <a:latin typeface="Calibri"/>
                      </a:endParaRPr>
                    </a:p>
                  </a:txBody>
                  <a:tcPr marL="18632" marR="0" marT="1863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</a:tr>
              <a:tr h="225880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9</a:t>
                      </a:r>
                    </a:p>
                  </a:txBody>
                  <a:tcPr marL="18632" marR="0" marT="1863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6FF33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</a:tr>
              <a:tr h="145359">
                <a:tc rowSpan="3">
                  <a:txBody>
                    <a:bodyPr/>
                    <a:lstStyle/>
                    <a:p>
                      <a:pPr algn="l" fontAlgn="t"/>
                      <a:r>
                        <a:rPr 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egenerationevents </a:t>
                      </a:r>
                    </a:p>
                  </a:txBody>
                  <a:tcPr marL="18632" marR="0" marT="18632" marB="0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xcluded</a:t>
                      </a:r>
                      <a:b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</a:b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2</a:t>
                      </a:r>
                    </a:p>
                  </a:txBody>
                  <a:tcPr marL="18632" marR="0" marT="1863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DCE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xcluded</a:t>
                      </a:r>
                      <a:b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</a:b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18632" marR="0" marT="1863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xcluded</a:t>
                      </a:r>
                      <a:b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</a:b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xcluded</a:t>
                      </a:r>
                      <a:b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</a:b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xcluded</a:t>
                      </a:r>
                      <a:b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</a:b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18632" marR="0" marT="1863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 fontAlgn="ctr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xcluded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</a:tr>
              <a:tr h="145359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dirty="0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8632" marR="0" marT="1863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</a:tr>
              <a:tr h="145359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8</a:t>
                      </a:r>
                    </a:p>
                  </a:txBody>
                  <a:tcPr marL="18632" marR="0" marT="1863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6FF33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</a:tr>
              <a:tr h="145359">
                <a:tc rowSpan="3">
                  <a:txBody>
                    <a:bodyPr/>
                    <a:lstStyle/>
                    <a:p>
                      <a:pPr algn="l" fontAlgn="t"/>
                      <a:r>
                        <a:rPr 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ngine warm-up phase</a:t>
                      </a:r>
                    </a:p>
                  </a:txBody>
                  <a:tcPr marL="18632" marR="0" marT="18632" marB="0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0 °C T</a:t>
                      </a:r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ool </a:t>
                      </a:r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or 5 minutes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3</a:t>
                      </a:r>
                    </a:p>
                  </a:txBody>
                  <a:tcPr marL="18632" marR="0" marT="1863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DCE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0 °C </a:t>
                      </a:r>
                      <a:r>
                        <a:rPr lang="en-US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</a:t>
                      </a:r>
                      <a:r>
                        <a:rPr lang="en-US" sz="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ool</a:t>
                      </a: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or 5 minutes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18632" marR="0" marT="1863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0 °C T</a:t>
                      </a:r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ool</a:t>
                      </a:r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or 5 minutes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0 °C T</a:t>
                      </a:r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ool</a:t>
                      </a:r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or 5 minutes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0 °C </a:t>
                      </a:r>
                      <a:r>
                        <a:rPr lang="en-US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</a:t>
                      </a:r>
                      <a:r>
                        <a:rPr lang="en-US" sz="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ool</a:t>
                      </a: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or 5 minutes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18632" marR="0" marT="1863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</a:tr>
              <a:tr h="145359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1</a:t>
                      </a:r>
                    </a:p>
                  </a:txBody>
                  <a:tcPr marL="18632" marR="0" marT="1863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</a:tr>
              <a:tr h="145359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6</a:t>
                      </a:r>
                    </a:p>
                  </a:txBody>
                  <a:tcPr marL="18632" marR="0" marT="1863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6FF33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</a:tr>
              <a:tr h="145359">
                <a:tc rowSpan="3">
                  <a:txBody>
                    <a:bodyPr/>
                    <a:lstStyle/>
                    <a:p>
                      <a:pPr algn="l" fontAlgn="t"/>
                      <a:r>
                        <a:rPr 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Fuel</a:t>
                      </a:r>
                    </a:p>
                  </a:txBody>
                  <a:tcPr marL="18632" marR="0" marT="18632" marB="0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DIN EN 590 Fuel </a:t>
                      </a:r>
                      <a:b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</a:br>
                      <a:r>
                        <a:rPr lang="en-US" sz="700" b="0" i="0" u="none" strike="noStrike">
                          <a:solidFill>
                            <a:srgbClr val="B9002D"/>
                          </a:solidFill>
                          <a:effectLst/>
                          <a:latin typeface="Arial"/>
                        </a:rPr>
                        <a:t>Gasoline:DIN EN 228, limitation of PM-Index</a:t>
                      </a:r>
                      <a:r>
                        <a:rPr lang="en-US" sz="700" b="1" i="0" u="none" strike="noStrike">
                          <a:solidFill>
                            <a:srgbClr val="B9002D"/>
                          </a:solidFill>
                          <a:effectLst/>
                          <a:latin typeface="Arial"/>
                        </a:rPr>
                        <a:t>!?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2</a:t>
                      </a:r>
                    </a:p>
                  </a:txBody>
                  <a:tcPr marL="18632" marR="0" marT="1863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DCE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DIN EN 228/590 Fuel 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18632" marR="0" marT="1863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DIN 590 Fuel ( Diesel Fuel)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DIN 590 Fuel ( Diesel Fuel)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DIN 590 Fuel ( Diesel Fuel)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18632" marR="0" marT="1863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Fuel analysis mandatory to confirm EN 228/590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  <a:tr h="145359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1</a:t>
                      </a:r>
                    </a:p>
                  </a:txBody>
                  <a:tcPr marL="18632" marR="0" marT="1863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</a:tr>
              <a:tr h="145359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7</a:t>
                      </a:r>
                    </a:p>
                  </a:txBody>
                  <a:tcPr marL="18632" marR="0" marT="1863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6FF33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</a:tr>
              <a:tr h="145359">
                <a:tc rowSpan="3">
                  <a:txBody>
                    <a:bodyPr/>
                    <a:lstStyle/>
                    <a:p>
                      <a:pPr algn="l" fontAlgn="t"/>
                      <a:r>
                        <a:rPr lang="en-US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upplies</a:t>
                      </a:r>
                    </a:p>
                  </a:txBody>
                  <a:tcPr marL="18632" marR="0" marT="18632" marB="0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OEM quality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1</a:t>
                      </a:r>
                    </a:p>
                  </a:txBody>
                  <a:tcPr marL="18632" marR="0" marT="1863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DCE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OEM quality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18632" marR="0" marT="1863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OEM quality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OEM quality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OEM quality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18632" marR="0" marT="1863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OEM quality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6FF33"/>
                    </a:solidFill>
                  </a:tcPr>
                </a:tc>
              </a:tr>
              <a:tr h="145359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dirty="0" smtClean="0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-</a:t>
                      </a:r>
                      <a:r>
                        <a:rPr lang="en-US" sz="700" b="1" i="0" u="none" strike="noStrike" dirty="0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8632" marR="0" marT="1863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</a:tr>
              <a:tr h="145359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dirty="0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9</a:t>
                      </a:r>
                    </a:p>
                  </a:txBody>
                  <a:tcPr marL="18632" marR="0" marT="1863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6FF33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8" name="Rechteck 7"/>
          <p:cNvSpPr/>
          <p:nvPr/>
        </p:nvSpPr>
        <p:spPr>
          <a:xfrm>
            <a:off x="635764" y="1400343"/>
            <a:ext cx="3098036" cy="335011"/>
          </a:xfrm>
          <a:prstGeom prst="rect">
            <a:avLst/>
          </a:prstGeom>
          <a:solidFill>
            <a:schemeClr val="bg1"/>
          </a:solidFill>
        </p:spPr>
        <p:txBody>
          <a:bodyPr wrap="square" anchor="b">
            <a:noAutofit/>
          </a:bodyPr>
          <a:lstStyle/>
          <a:p>
            <a:pPr marL="285750" lvl="1" indent="-285750">
              <a:spcAft>
                <a:spcPts val="600"/>
              </a:spcAft>
              <a:buClr>
                <a:srgbClr val="FFFFFF">
                  <a:lumMod val="65000"/>
                </a:srgbClr>
              </a:buClr>
              <a:buFont typeface="Wingdings" panose="05000000000000000000" pitchFamily="2" charset="2"/>
              <a:buChar char="§"/>
            </a:pPr>
            <a:endParaRPr lang="en-US" sz="100" b="0" dirty="0"/>
          </a:p>
          <a:p>
            <a:pPr marL="285750" lvl="1" indent="-285750">
              <a:spcAft>
                <a:spcPts val="600"/>
              </a:spcAft>
              <a:buClr>
                <a:srgbClr val="FFFFFF">
                  <a:lumMod val="65000"/>
                </a:srgbClr>
              </a:buClr>
              <a:buFont typeface="Wingdings" panose="05000000000000000000" pitchFamily="2" charset="2"/>
              <a:buChar char="§"/>
            </a:pPr>
            <a:r>
              <a:rPr lang="en-US" sz="1400" b="0" dirty="0"/>
              <a:t>Feedback of </a:t>
            </a:r>
            <a:r>
              <a:rPr lang="en-US" sz="1400" dirty="0"/>
              <a:t>10</a:t>
            </a:r>
            <a:r>
              <a:rPr lang="en-US" sz="1400" b="0" dirty="0"/>
              <a:t> Manufacturer</a:t>
            </a:r>
          </a:p>
        </p:txBody>
      </p:sp>
      <p:graphicFrame>
        <p:nvGraphicFramePr>
          <p:cNvPr id="16" name="Tabelle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32110691"/>
              </p:ext>
            </p:extLst>
          </p:nvPr>
        </p:nvGraphicFramePr>
        <p:xfrm>
          <a:off x="3821248" y="6619535"/>
          <a:ext cx="694545" cy="139065"/>
        </p:xfrm>
        <a:graphic>
          <a:graphicData uri="http://schemas.openxmlformats.org/drawingml/2006/table">
            <a:tbl>
              <a:tblPr/>
              <a:tblGrid>
                <a:gridCol w="694545"/>
              </a:tblGrid>
              <a:tr h="13906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 smtClean="0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Negotiable</a:t>
                      </a:r>
                      <a:endParaRPr lang="en-US" sz="800" b="0" i="0" u="none" strike="noStrike" dirty="0">
                        <a:solidFill>
                          <a:srgbClr val="1F497D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6FF33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21" name="Tabelle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6167330"/>
              </p:ext>
            </p:extLst>
          </p:nvPr>
        </p:nvGraphicFramePr>
        <p:xfrm>
          <a:off x="1603828" y="6621780"/>
          <a:ext cx="577187" cy="133754"/>
        </p:xfrm>
        <a:graphic>
          <a:graphicData uri="http://schemas.openxmlformats.org/drawingml/2006/table">
            <a:tbl>
              <a:tblPr/>
              <a:tblGrid>
                <a:gridCol w="577187"/>
              </a:tblGrid>
              <a:tr h="13375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 smtClean="0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Must </a:t>
                      </a:r>
                      <a:r>
                        <a:rPr lang="en-US" sz="800" b="0" i="0" u="none" strike="noStrike" dirty="0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have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DCE"/>
                    </a:solidFill>
                  </a:tcPr>
                </a:tc>
              </a:tr>
            </a:tbl>
          </a:graphicData>
        </a:graphic>
      </p:graphicFrame>
      <p:sp>
        <p:nvSpPr>
          <p:cNvPr id="27" name="Rechteck 26"/>
          <p:cNvSpPr/>
          <p:nvPr/>
        </p:nvSpPr>
        <p:spPr>
          <a:xfrm>
            <a:off x="550334" y="6581346"/>
            <a:ext cx="1053494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defTabSz="457200" fontAlgn="b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1F497D"/>
                </a:solidFill>
                <a:latin typeface="Arial"/>
                <a:ea typeface="ＭＳ Ｐゴシック"/>
              </a:rPr>
              <a:t>Theory of </a:t>
            </a:r>
            <a:r>
              <a:rPr lang="en-US" sz="800" dirty="0" smtClean="0">
                <a:solidFill>
                  <a:srgbClr val="1F497D"/>
                </a:solidFill>
                <a:latin typeface="Arial"/>
                <a:ea typeface="ＭＳ Ｐゴシック"/>
              </a:rPr>
              <a:t>colors </a:t>
            </a:r>
            <a:r>
              <a:rPr lang="en-US" sz="800" dirty="0">
                <a:solidFill>
                  <a:srgbClr val="1F497D"/>
                </a:solidFill>
                <a:latin typeface="Arial"/>
                <a:ea typeface="ＭＳ Ｐゴシック"/>
              </a:rPr>
              <a:t>:</a:t>
            </a:r>
          </a:p>
        </p:txBody>
      </p:sp>
      <p:graphicFrame>
        <p:nvGraphicFramePr>
          <p:cNvPr id="28" name="Tabelle 2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31158220"/>
              </p:ext>
            </p:extLst>
          </p:nvPr>
        </p:nvGraphicFramePr>
        <p:xfrm>
          <a:off x="2225262" y="6623496"/>
          <a:ext cx="1564381" cy="129540"/>
        </p:xfrm>
        <a:graphic>
          <a:graphicData uri="http://schemas.openxmlformats.org/drawingml/2006/table">
            <a:tbl>
              <a:tblPr/>
              <a:tblGrid>
                <a:gridCol w="1564381"/>
              </a:tblGrid>
              <a:tr h="8631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 smtClean="0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Give </a:t>
                      </a:r>
                      <a:r>
                        <a:rPr lang="en-US" sz="800" b="0" i="0" u="none" strike="noStrike" dirty="0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up if </a:t>
                      </a:r>
                      <a:r>
                        <a:rPr lang="en-US" sz="800" b="0" i="0" u="none" strike="noStrike" dirty="0" smtClean="0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absolutely </a:t>
                      </a:r>
                      <a:r>
                        <a:rPr lang="en-US" sz="800" b="0" i="0" u="none" strike="noStrike" dirty="0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unsustainable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pic>
        <p:nvPicPr>
          <p:cNvPr id="34" name="Picture 4" descr="E:\1000_P3_Intern\1100_Chartbibo-Methoden\icons\ok\pencil_drawing_blue_check_mark_1600_clr.png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75767" y="737942"/>
            <a:ext cx="960721" cy="8406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Textfeld 38"/>
          <p:cNvSpPr txBox="1"/>
          <p:nvPr/>
        </p:nvSpPr>
        <p:spPr>
          <a:xfrm>
            <a:off x="5061284" y="3494198"/>
            <a:ext cx="344966" cy="307777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r>
              <a:rPr lang="de-DE" sz="1400" dirty="0" smtClean="0">
                <a:solidFill>
                  <a:schemeClr val="tx1"/>
                </a:solidFill>
                <a:sym typeface="Wingdings"/>
              </a:rPr>
              <a:t>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40" name="Textfeld 39"/>
          <p:cNvSpPr txBox="1"/>
          <p:nvPr/>
        </p:nvSpPr>
        <p:spPr>
          <a:xfrm>
            <a:off x="6295474" y="3500721"/>
            <a:ext cx="344966" cy="307777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r>
              <a:rPr lang="de-DE" sz="1400" dirty="0" smtClean="0">
                <a:solidFill>
                  <a:schemeClr val="tx1"/>
                </a:solidFill>
                <a:sym typeface="Wingdings"/>
              </a:rPr>
              <a:t>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41" name="Textfeld 40"/>
          <p:cNvSpPr txBox="1"/>
          <p:nvPr/>
        </p:nvSpPr>
        <p:spPr>
          <a:xfrm>
            <a:off x="7535718" y="3500721"/>
            <a:ext cx="344966" cy="307777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r>
              <a:rPr lang="de-DE" sz="1400" dirty="0" smtClean="0">
                <a:solidFill>
                  <a:schemeClr val="tx1"/>
                </a:solidFill>
                <a:sym typeface="Wingdings"/>
              </a:rPr>
              <a:t>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43" name="Textfeld 42"/>
          <p:cNvSpPr txBox="1"/>
          <p:nvPr/>
        </p:nvSpPr>
        <p:spPr>
          <a:xfrm>
            <a:off x="5061284" y="3955408"/>
            <a:ext cx="344966" cy="307777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r>
              <a:rPr lang="de-DE" sz="1400" dirty="0" smtClean="0">
                <a:solidFill>
                  <a:schemeClr val="tx1"/>
                </a:solidFill>
                <a:sym typeface="Wingdings"/>
              </a:rPr>
              <a:t>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44" name="Textfeld 43"/>
          <p:cNvSpPr txBox="1"/>
          <p:nvPr/>
        </p:nvSpPr>
        <p:spPr>
          <a:xfrm>
            <a:off x="6295474" y="3961931"/>
            <a:ext cx="344966" cy="307777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r>
              <a:rPr lang="de-DE" sz="1400" dirty="0" smtClean="0">
                <a:solidFill>
                  <a:schemeClr val="tx1"/>
                </a:solidFill>
                <a:sym typeface="Wingdings"/>
              </a:rPr>
              <a:t>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45" name="Textfeld 44"/>
          <p:cNvSpPr txBox="1"/>
          <p:nvPr/>
        </p:nvSpPr>
        <p:spPr>
          <a:xfrm>
            <a:off x="7535718" y="3961931"/>
            <a:ext cx="344966" cy="307777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r>
              <a:rPr lang="de-DE" sz="1400" dirty="0" smtClean="0">
                <a:solidFill>
                  <a:schemeClr val="tx1"/>
                </a:solidFill>
                <a:sym typeface="Wingdings"/>
              </a:rPr>
              <a:t>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59" name="Textfeld 58"/>
          <p:cNvSpPr txBox="1"/>
          <p:nvPr/>
        </p:nvSpPr>
        <p:spPr>
          <a:xfrm>
            <a:off x="5059089" y="5780198"/>
            <a:ext cx="344966" cy="307777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r>
              <a:rPr lang="de-DE" sz="1400" dirty="0" smtClean="0">
                <a:solidFill>
                  <a:schemeClr val="tx1"/>
                </a:solidFill>
                <a:sym typeface="Wingdings"/>
              </a:rPr>
              <a:t>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60" name="Textfeld 59"/>
          <p:cNvSpPr txBox="1"/>
          <p:nvPr/>
        </p:nvSpPr>
        <p:spPr>
          <a:xfrm>
            <a:off x="6293279" y="5786721"/>
            <a:ext cx="344966" cy="307777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r>
              <a:rPr lang="de-DE" sz="1400" dirty="0" smtClean="0">
                <a:solidFill>
                  <a:schemeClr val="tx1"/>
                </a:solidFill>
                <a:sym typeface="Wingdings"/>
              </a:rPr>
              <a:t>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61" name="Textfeld 60"/>
          <p:cNvSpPr txBox="1"/>
          <p:nvPr/>
        </p:nvSpPr>
        <p:spPr>
          <a:xfrm>
            <a:off x="7533523" y="5786721"/>
            <a:ext cx="344966" cy="307777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r>
              <a:rPr lang="de-DE" sz="1400" dirty="0" smtClean="0">
                <a:solidFill>
                  <a:schemeClr val="tx1"/>
                </a:solidFill>
                <a:sym typeface="Wingdings"/>
              </a:rPr>
              <a:t>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grpSp>
        <p:nvGrpSpPr>
          <p:cNvPr id="73" name="Gruppieren 72"/>
          <p:cNvGrpSpPr/>
          <p:nvPr/>
        </p:nvGrpSpPr>
        <p:grpSpPr>
          <a:xfrm>
            <a:off x="3743881" y="4778693"/>
            <a:ext cx="466794" cy="523220"/>
            <a:chOff x="9525000" y="4140226"/>
            <a:chExt cx="466794" cy="523220"/>
          </a:xfrm>
        </p:grpSpPr>
        <p:sp>
          <p:nvSpPr>
            <p:cNvPr id="74" name="Textfeld 73"/>
            <p:cNvSpPr txBox="1"/>
            <p:nvPr/>
          </p:nvSpPr>
          <p:spPr>
            <a:xfrm>
              <a:off x="9525000" y="4270462"/>
              <a:ext cx="344966" cy="307777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rtlCol="0">
              <a:spAutoFit/>
            </a:bodyPr>
            <a:lstStyle/>
            <a:p>
              <a:r>
                <a:rPr lang="de-DE" sz="1400" dirty="0" smtClean="0">
                  <a:solidFill>
                    <a:schemeClr val="tx1"/>
                  </a:solidFill>
                  <a:sym typeface="Wingdings"/>
                </a:rPr>
                <a:t></a:t>
              </a:r>
              <a:endParaRPr lang="de-DE" sz="14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75" name="Rechteck 74"/>
            <p:cNvSpPr/>
            <p:nvPr/>
          </p:nvSpPr>
          <p:spPr>
            <a:xfrm>
              <a:off x="9525000" y="4140226"/>
              <a:ext cx="466794" cy="523220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>
              <a:spAutoFit/>
            </a:bodyPr>
            <a:lstStyle/>
            <a:p>
              <a:r>
                <a:rPr lang="de-DE" sz="2800" b="0" dirty="0">
                  <a:solidFill>
                    <a:srgbClr val="00B0F0"/>
                  </a:solidFill>
                  <a:sym typeface="Wingdings"/>
                </a:rPr>
                <a:t></a:t>
              </a:r>
              <a:endParaRPr lang="de-DE" sz="2800" b="0" dirty="0">
                <a:solidFill>
                  <a:srgbClr val="00B0F0"/>
                </a:solidFill>
              </a:endParaRPr>
            </a:p>
          </p:txBody>
        </p:sp>
      </p:grpSp>
      <p:grpSp>
        <p:nvGrpSpPr>
          <p:cNvPr id="76" name="Gruppieren 75"/>
          <p:cNvGrpSpPr/>
          <p:nvPr/>
        </p:nvGrpSpPr>
        <p:grpSpPr>
          <a:xfrm>
            <a:off x="3740248" y="5207819"/>
            <a:ext cx="466794" cy="523220"/>
            <a:chOff x="9525000" y="4140226"/>
            <a:chExt cx="466794" cy="523220"/>
          </a:xfrm>
        </p:grpSpPr>
        <p:sp>
          <p:nvSpPr>
            <p:cNvPr id="77" name="Textfeld 76"/>
            <p:cNvSpPr txBox="1"/>
            <p:nvPr/>
          </p:nvSpPr>
          <p:spPr>
            <a:xfrm>
              <a:off x="9525000" y="4270462"/>
              <a:ext cx="344966" cy="307777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rtlCol="0">
              <a:spAutoFit/>
            </a:bodyPr>
            <a:lstStyle/>
            <a:p>
              <a:r>
                <a:rPr lang="de-DE" sz="1400" dirty="0" smtClean="0">
                  <a:solidFill>
                    <a:schemeClr val="tx1"/>
                  </a:solidFill>
                  <a:sym typeface="Wingdings"/>
                </a:rPr>
                <a:t></a:t>
              </a:r>
              <a:endParaRPr lang="de-DE" sz="14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78" name="Rechteck 77"/>
            <p:cNvSpPr/>
            <p:nvPr/>
          </p:nvSpPr>
          <p:spPr>
            <a:xfrm>
              <a:off x="9525000" y="4140226"/>
              <a:ext cx="466794" cy="523220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>
              <a:spAutoFit/>
            </a:bodyPr>
            <a:lstStyle/>
            <a:p>
              <a:r>
                <a:rPr lang="de-DE" sz="2800" b="0" dirty="0">
                  <a:solidFill>
                    <a:srgbClr val="00B0F0"/>
                  </a:solidFill>
                  <a:sym typeface="Wingdings"/>
                </a:rPr>
                <a:t></a:t>
              </a:r>
              <a:endParaRPr lang="de-DE" sz="2800" b="0" dirty="0">
                <a:solidFill>
                  <a:srgbClr val="00B0F0"/>
                </a:solidFill>
              </a:endParaRPr>
            </a:p>
          </p:txBody>
        </p:sp>
      </p:grpSp>
      <p:grpSp>
        <p:nvGrpSpPr>
          <p:cNvPr id="79" name="Gruppieren 78"/>
          <p:cNvGrpSpPr/>
          <p:nvPr/>
        </p:nvGrpSpPr>
        <p:grpSpPr>
          <a:xfrm>
            <a:off x="3743502" y="6067638"/>
            <a:ext cx="466794" cy="523220"/>
            <a:chOff x="9525000" y="4131759"/>
            <a:chExt cx="466794" cy="523220"/>
          </a:xfrm>
        </p:grpSpPr>
        <p:sp>
          <p:nvSpPr>
            <p:cNvPr id="80" name="Textfeld 79"/>
            <p:cNvSpPr txBox="1"/>
            <p:nvPr/>
          </p:nvSpPr>
          <p:spPr>
            <a:xfrm>
              <a:off x="9525000" y="4270462"/>
              <a:ext cx="344966" cy="307777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rtlCol="0">
              <a:spAutoFit/>
            </a:bodyPr>
            <a:lstStyle/>
            <a:p>
              <a:r>
                <a:rPr lang="de-DE" sz="1400" dirty="0" smtClean="0">
                  <a:solidFill>
                    <a:schemeClr val="tx1"/>
                  </a:solidFill>
                  <a:sym typeface="Wingdings"/>
                </a:rPr>
                <a:t></a:t>
              </a:r>
              <a:endParaRPr lang="de-DE" sz="14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81" name="Rechteck 80"/>
            <p:cNvSpPr/>
            <p:nvPr/>
          </p:nvSpPr>
          <p:spPr>
            <a:xfrm>
              <a:off x="9525000" y="4131759"/>
              <a:ext cx="466794" cy="523220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>
              <a:spAutoFit/>
            </a:bodyPr>
            <a:lstStyle/>
            <a:p>
              <a:r>
                <a:rPr lang="de-DE" sz="2800" b="0" dirty="0">
                  <a:solidFill>
                    <a:srgbClr val="00B0F0"/>
                  </a:solidFill>
                  <a:sym typeface="Wingdings"/>
                </a:rPr>
                <a:t></a:t>
              </a:r>
              <a:endParaRPr lang="de-DE" sz="2800" b="0" dirty="0">
                <a:solidFill>
                  <a:srgbClr val="00B0F0"/>
                </a:solidFill>
              </a:endParaRPr>
            </a:p>
          </p:txBody>
        </p:sp>
      </p:grpSp>
      <p:grpSp>
        <p:nvGrpSpPr>
          <p:cNvPr id="47" name="Gruppieren 46"/>
          <p:cNvGrpSpPr/>
          <p:nvPr/>
        </p:nvGrpSpPr>
        <p:grpSpPr>
          <a:xfrm>
            <a:off x="5441620" y="6412383"/>
            <a:ext cx="466794" cy="523220"/>
            <a:chOff x="9525000" y="4140226"/>
            <a:chExt cx="466794" cy="523220"/>
          </a:xfrm>
        </p:grpSpPr>
        <p:sp>
          <p:nvSpPr>
            <p:cNvPr id="48" name="Textfeld 47"/>
            <p:cNvSpPr txBox="1"/>
            <p:nvPr/>
          </p:nvSpPr>
          <p:spPr>
            <a:xfrm>
              <a:off x="9525000" y="4270462"/>
              <a:ext cx="344966" cy="307777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rtlCol="0">
              <a:spAutoFit/>
            </a:bodyPr>
            <a:lstStyle/>
            <a:p>
              <a:r>
                <a:rPr lang="de-DE" sz="1400" dirty="0" smtClean="0">
                  <a:solidFill>
                    <a:schemeClr val="tx1"/>
                  </a:solidFill>
                  <a:sym typeface="Wingdings"/>
                </a:rPr>
                <a:t></a:t>
              </a:r>
              <a:endParaRPr lang="de-DE" sz="14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49" name="Rechteck 48"/>
            <p:cNvSpPr/>
            <p:nvPr/>
          </p:nvSpPr>
          <p:spPr>
            <a:xfrm>
              <a:off x="9525000" y="4140226"/>
              <a:ext cx="466794" cy="523220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>
              <a:spAutoFit/>
            </a:bodyPr>
            <a:lstStyle/>
            <a:p>
              <a:r>
                <a:rPr lang="de-DE" sz="2800" b="0" dirty="0">
                  <a:solidFill>
                    <a:srgbClr val="00B0F0"/>
                  </a:solidFill>
                  <a:sym typeface="Wingdings"/>
                </a:rPr>
                <a:t></a:t>
              </a:r>
              <a:endParaRPr lang="de-DE" sz="2800" b="0" dirty="0">
                <a:solidFill>
                  <a:srgbClr val="00B0F0"/>
                </a:solidFill>
              </a:endParaRPr>
            </a:p>
          </p:txBody>
        </p:sp>
      </p:grpSp>
      <p:sp>
        <p:nvSpPr>
          <p:cNvPr id="50" name="Freeform 29"/>
          <p:cNvSpPr>
            <a:spLocks/>
          </p:cNvSpPr>
          <p:nvPr/>
        </p:nvSpPr>
        <p:spPr bwMode="gray">
          <a:xfrm rot="349485">
            <a:off x="6882850" y="6605706"/>
            <a:ext cx="228356" cy="161306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CC0000"/>
          </a:solidFill>
          <a:ln w="6350">
            <a:solidFill>
              <a:srgbClr val="CC0000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de-DE" u="sng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51" name="Rechteck 50"/>
          <p:cNvSpPr/>
          <p:nvPr/>
        </p:nvSpPr>
        <p:spPr>
          <a:xfrm>
            <a:off x="5026102" y="6579078"/>
            <a:ext cx="572593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defTabSz="457200" fontAlgn="b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1F497D"/>
                </a:solidFill>
                <a:latin typeface="Arial"/>
                <a:ea typeface="ＭＳ Ｐゴシック"/>
              </a:rPr>
              <a:t>Agreed:</a:t>
            </a:r>
            <a:endParaRPr lang="en-US" sz="800" dirty="0">
              <a:solidFill>
                <a:srgbClr val="1F497D"/>
              </a:solidFill>
              <a:latin typeface="Arial"/>
              <a:ea typeface="ＭＳ Ｐゴシック"/>
            </a:endParaRPr>
          </a:p>
        </p:txBody>
      </p:sp>
      <p:sp>
        <p:nvSpPr>
          <p:cNvPr id="52" name="Rechteck 51"/>
          <p:cNvSpPr/>
          <p:nvPr/>
        </p:nvSpPr>
        <p:spPr>
          <a:xfrm>
            <a:off x="6034595" y="6579085"/>
            <a:ext cx="89960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defTabSz="457200" fontAlgn="b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1F497D"/>
                </a:solidFill>
                <a:latin typeface="Arial"/>
                <a:ea typeface="ＭＳ Ｐゴシック"/>
              </a:rPr>
              <a:t>Under Review:</a:t>
            </a:r>
            <a:endParaRPr lang="en-US" sz="800" dirty="0">
              <a:solidFill>
                <a:srgbClr val="1F497D"/>
              </a:solidFill>
              <a:latin typeface="Arial"/>
              <a:ea typeface="ＭＳ Ｐゴシック"/>
            </a:endParaRPr>
          </a:p>
        </p:txBody>
      </p:sp>
      <p:sp>
        <p:nvSpPr>
          <p:cNvPr id="53" name="Pfeil nach rechts 52"/>
          <p:cNvSpPr/>
          <p:nvPr/>
        </p:nvSpPr>
        <p:spPr>
          <a:xfrm rot="10800000">
            <a:off x="6324600" y="2115367"/>
            <a:ext cx="837601" cy="251402"/>
          </a:xfrm>
          <a:prstGeom prst="rightArrow">
            <a:avLst>
              <a:gd name="adj1" fmla="val 58411"/>
              <a:gd name="adj2" fmla="val 55011"/>
            </a:avLst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65000"/>
                </a:schemeClr>
              </a:gs>
            </a:gsLst>
            <a:lin ang="0" scaled="1"/>
            <a:tileRect/>
          </a:gradFill>
          <a:ln w="762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Font typeface="Wingdings" pitchFamily="2" charset="2"/>
              <a:buNone/>
            </a:pPr>
            <a:endParaRPr lang="de-DE" sz="1400" dirty="0" err="1" smtClean="0">
              <a:solidFill>
                <a:schemeClr val="tx1">
                  <a:lumMod val="95000"/>
                  <a:lumOff val="5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54" name="Textfeld 53"/>
          <p:cNvSpPr txBox="1"/>
          <p:nvPr/>
        </p:nvSpPr>
        <p:spPr>
          <a:xfrm>
            <a:off x="6781800" y="2113351"/>
            <a:ext cx="69762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 smtClean="0"/>
              <a:t>Level 1</a:t>
            </a:r>
          </a:p>
        </p:txBody>
      </p:sp>
      <p:sp>
        <p:nvSpPr>
          <p:cNvPr id="55" name="Pfeil nach rechts 54"/>
          <p:cNvSpPr/>
          <p:nvPr/>
        </p:nvSpPr>
        <p:spPr>
          <a:xfrm rot="10800000">
            <a:off x="5049703" y="2112228"/>
            <a:ext cx="837601" cy="251402"/>
          </a:xfrm>
          <a:prstGeom prst="rightArrow">
            <a:avLst>
              <a:gd name="adj1" fmla="val 58411"/>
              <a:gd name="adj2" fmla="val 55011"/>
            </a:avLst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65000"/>
                </a:schemeClr>
              </a:gs>
            </a:gsLst>
            <a:lin ang="0" scaled="1"/>
            <a:tileRect/>
          </a:gradFill>
          <a:ln w="762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Font typeface="Wingdings" pitchFamily="2" charset="2"/>
              <a:buNone/>
            </a:pPr>
            <a:endParaRPr lang="de-DE" sz="1400" dirty="0" err="1" smtClean="0">
              <a:solidFill>
                <a:schemeClr val="tx1">
                  <a:lumMod val="95000"/>
                  <a:lumOff val="5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56" name="Textfeld 55"/>
          <p:cNvSpPr txBox="1"/>
          <p:nvPr/>
        </p:nvSpPr>
        <p:spPr>
          <a:xfrm>
            <a:off x="5595561" y="2112850"/>
            <a:ext cx="69762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 smtClean="0"/>
              <a:t>Level 2</a:t>
            </a:r>
          </a:p>
        </p:txBody>
      </p:sp>
      <p:sp>
        <p:nvSpPr>
          <p:cNvPr id="57" name="Pfeil nach rechts 56"/>
          <p:cNvSpPr/>
          <p:nvPr/>
        </p:nvSpPr>
        <p:spPr>
          <a:xfrm rot="10800000">
            <a:off x="4114659" y="2117301"/>
            <a:ext cx="781188" cy="241769"/>
          </a:xfrm>
          <a:prstGeom prst="rightArrow">
            <a:avLst>
              <a:gd name="adj1" fmla="val 100000"/>
              <a:gd name="adj2" fmla="val 0"/>
            </a:avLst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65000"/>
                </a:schemeClr>
              </a:gs>
            </a:gsLst>
            <a:lin ang="0" scaled="1"/>
            <a:tileRect/>
          </a:gradFill>
          <a:ln w="762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Font typeface="Wingdings" pitchFamily="2" charset="2"/>
              <a:buNone/>
            </a:pPr>
            <a:endParaRPr lang="de-DE" sz="1400" dirty="0" err="1" smtClean="0">
              <a:solidFill>
                <a:schemeClr val="tx1">
                  <a:lumMod val="95000"/>
                  <a:lumOff val="5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58" name="Textfeld 57"/>
          <p:cNvSpPr txBox="1"/>
          <p:nvPr/>
        </p:nvSpPr>
        <p:spPr>
          <a:xfrm>
            <a:off x="4334294" y="2110977"/>
            <a:ext cx="69762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 smtClean="0"/>
              <a:t>Level 3</a:t>
            </a:r>
          </a:p>
        </p:txBody>
      </p:sp>
      <p:sp>
        <p:nvSpPr>
          <p:cNvPr id="63" name="Textfeld 62"/>
          <p:cNvSpPr txBox="1"/>
          <p:nvPr/>
        </p:nvSpPr>
        <p:spPr>
          <a:xfrm>
            <a:off x="2374242" y="2110332"/>
            <a:ext cx="175721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/>
              <a:t>Levels of Negotiation:</a:t>
            </a:r>
          </a:p>
        </p:txBody>
      </p:sp>
      <p:sp>
        <p:nvSpPr>
          <p:cNvPr id="64" name="Pfeil nach rechts 63"/>
          <p:cNvSpPr/>
          <p:nvPr/>
        </p:nvSpPr>
        <p:spPr>
          <a:xfrm rot="10800000">
            <a:off x="7544399" y="2117301"/>
            <a:ext cx="837601" cy="251402"/>
          </a:xfrm>
          <a:prstGeom prst="rightArrow">
            <a:avLst>
              <a:gd name="adj1" fmla="val 58411"/>
              <a:gd name="adj2" fmla="val 55011"/>
            </a:avLst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65000"/>
                </a:schemeClr>
              </a:gs>
            </a:gsLst>
            <a:lin ang="0" scaled="1"/>
            <a:tileRect/>
          </a:gradFill>
          <a:ln w="762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Font typeface="Wingdings" pitchFamily="2" charset="2"/>
              <a:buNone/>
            </a:pPr>
            <a:endParaRPr lang="de-DE" sz="1400" dirty="0" err="1" smtClean="0">
              <a:solidFill>
                <a:schemeClr val="tx1">
                  <a:lumMod val="95000"/>
                  <a:lumOff val="5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7534374" y="3346491"/>
            <a:ext cx="466794" cy="52322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>
            <a:spAutoFit/>
          </a:bodyPr>
          <a:lstStyle/>
          <a:p>
            <a:r>
              <a:rPr lang="de-DE" sz="2800" b="0" dirty="0">
                <a:solidFill>
                  <a:srgbClr val="00B0F0"/>
                </a:solidFill>
                <a:sym typeface="Wingdings"/>
              </a:rPr>
              <a:t></a:t>
            </a:r>
            <a:endParaRPr lang="de-DE" sz="2800" b="0" dirty="0">
              <a:solidFill>
                <a:srgbClr val="00B0F0"/>
              </a:solidFill>
            </a:endParaRPr>
          </a:p>
        </p:txBody>
      </p:sp>
      <p:grpSp>
        <p:nvGrpSpPr>
          <p:cNvPr id="66" name="Gruppieren 65"/>
          <p:cNvGrpSpPr/>
          <p:nvPr/>
        </p:nvGrpSpPr>
        <p:grpSpPr>
          <a:xfrm>
            <a:off x="3742267" y="2931178"/>
            <a:ext cx="466794" cy="523220"/>
            <a:chOff x="9525000" y="4140226"/>
            <a:chExt cx="466794" cy="523220"/>
          </a:xfrm>
        </p:grpSpPr>
        <p:sp>
          <p:nvSpPr>
            <p:cNvPr id="82" name="Textfeld 81"/>
            <p:cNvSpPr txBox="1"/>
            <p:nvPr/>
          </p:nvSpPr>
          <p:spPr>
            <a:xfrm>
              <a:off x="9525000" y="4270462"/>
              <a:ext cx="344966" cy="307777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rtlCol="0">
              <a:spAutoFit/>
            </a:bodyPr>
            <a:lstStyle/>
            <a:p>
              <a:r>
                <a:rPr lang="de-DE" sz="1400" dirty="0" smtClean="0">
                  <a:solidFill>
                    <a:schemeClr val="tx1"/>
                  </a:solidFill>
                  <a:sym typeface="Wingdings"/>
                </a:rPr>
                <a:t></a:t>
              </a:r>
              <a:endParaRPr lang="de-DE" sz="14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83" name="Rechteck 82"/>
            <p:cNvSpPr/>
            <p:nvPr/>
          </p:nvSpPr>
          <p:spPr>
            <a:xfrm>
              <a:off x="9525000" y="4140226"/>
              <a:ext cx="466794" cy="523220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>
              <a:spAutoFit/>
            </a:bodyPr>
            <a:lstStyle/>
            <a:p>
              <a:r>
                <a:rPr lang="de-DE" sz="2800" b="0" dirty="0">
                  <a:solidFill>
                    <a:srgbClr val="00B0F0"/>
                  </a:solidFill>
                  <a:sym typeface="Wingdings"/>
                </a:rPr>
                <a:t></a:t>
              </a:r>
              <a:endParaRPr lang="de-DE" sz="2800" b="0" dirty="0">
                <a:solidFill>
                  <a:srgbClr val="00B0F0"/>
                </a:solidFill>
              </a:endParaRPr>
            </a:p>
          </p:txBody>
        </p:sp>
      </p:grpSp>
      <p:grpSp>
        <p:nvGrpSpPr>
          <p:cNvPr id="84" name="Gruppieren 83"/>
          <p:cNvGrpSpPr/>
          <p:nvPr/>
        </p:nvGrpSpPr>
        <p:grpSpPr>
          <a:xfrm>
            <a:off x="3742267" y="4353577"/>
            <a:ext cx="466794" cy="523220"/>
            <a:chOff x="9525000" y="4140226"/>
            <a:chExt cx="466794" cy="523220"/>
          </a:xfrm>
        </p:grpSpPr>
        <p:sp>
          <p:nvSpPr>
            <p:cNvPr id="85" name="Textfeld 84"/>
            <p:cNvSpPr txBox="1"/>
            <p:nvPr/>
          </p:nvSpPr>
          <p:spPr>
            <a:xfrm>
              <a:off x="9525000" y="4270462"/>
              <a:ext cx="344966" cy="307777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rtlCol="0">
              <a:spAutoFit/>
            </a:bodyPr>
            <a:lstStyle/>
            <a:p>
              <a:r>
                <a:rPr lang="de-DE" sz="1400" dirty="0" smtClean="0">
                  <a:solidFill>
                    <a:schemeClr val="tx1"/>
                  </a:solidFill>
                  <a:sym typeface="Wingdings"/>
                </a:rPr>
                <a:t></a:t>
              </a:r>
              <a:endParaRPr lang="de-DE" sz="14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86" name="Rechteck 85"/>
            <p:cNvSpPr/>
            <p:nvPr/>
          </p:nvSpPr>
          <p:spPr>
            <a:xfrm>
              <a:off x="9525000" y="4140226"/>
              <a:ext cx="466794" cy="523220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>
              <a:spAutoFit/>
            </a:bodyPr>
            <a:lstStyle/>
            <a:p>
              <a:r>
                <a:rPr lang="de-DE" sz="2800" b="0" dirty="0">
                  <a:solidFill>
                    <a:srgbClr val="00B0F0"/>
                  </a:solidFill>
                  <a:sym typeface="Wingdings"/>
                </a:rPr>
                <a:t></a:t>
              </a:r>
              <a:endParaRPr lang="de-DE" sz="2800" b="0" dirty="0">
                <a:solidFill>
                  <a:srgbClr val="00B0F0"/>
                </a:solidFill>
              </a:endParaRPr>
            </a:p>
          </p:txBody>
        </p:sp>
      </p:grpSp>
      <p:sp>
        <p:nvSpPr>
          <p:cNvPr id="87" name="Rechteck 86"/>
          <p:cNvSpPr/>
          <p:nvPr/>
        </p:nvSpPr>
        <p:spPr>
          <a:xfrm>
            <a:off x="6289605" y="3361264"/>
            <a:ext cx="466794" cy="52322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>
            <a:spAutoFit/>
          </a:bodyPr>
          <a:lstStyle/>
          <a:p>
            <a:r>
              <a:rPr lang="de-DE" sz="2800" b="0" dirty="0">
                <a:solidFill>
                  <a:srgbClr val="00B0F0"/>
                </a:solidFill>
                <a:sym typeface="Wingdings"/>
              </a:rPr>
              <a:t></a:t>
            </a:r>
            <a:endParaRPr lang="de-DE" sz="2800" b="0" dirty="0">
              <a:solidFill>
                <a:srgbClr val="00B0F0"/>
              </a:solidFill>
            </a:endParaRPr>
          </a:p>
        </p:txBody>
      </p:sp>
      <p:sp>
        <p:nvSpPr>
          <p:cNvPr id="88" name="Rechteck 87"/>
          <p:cNvSpPr/>
          <p:nvPr/>
        </p:nvSpPr>
        <p:spPr>
          <a:xfrm>
            <a:off x="5061941" y="3352797"/>
            <a:ext cx="466794" cy="52322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>
            <a:spAutoFit/>
          </a:bodyPr>
          <a:lstStyle/>
          <a:p>
            <a:r>
              <a:rPr lang="de-DE" sz="2800" b="0" dirty="0">
                <a:solidFill>
                  <a:srgbClr val="00B0F0"/>
                </a:solidFill>
                <a:sym typeface="Wingdings"/>
              </a:rPr>
              <a:t></a:t>
            </a:r>
            <a:endParaRPr lang="de-DE" sz="2800" b="0" dirty="0">
              <a:solidFill>
                <a:srgbClr val="00B0F0"/>
              </a:solidFill>
            </a:endParaRPr>
          </a:p>
        </p:txBody>
      </p:sp>
      <p:sp>
        <p:nvSpPr>
          <p:cNvPr id="89" name="Rechteck 88"/>
          <p:cNvSpPr/>
          <p:nvPr/>
        </p:nvSpPr>
        <p:spPr>
          <a:xfrm>
            <a:off x="7535501" y="3805407"/>
            <a:ext cx="466794" cy="52322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>
            <a:spAutoFit/>
          </a:bodyPr>
          <a:lstStyle/>
          <a:p>
            <a:r>
              <a:rPr lang="de-DE" sz="2800" b="0" dirty="0">
                <a:solidFill>
                  <a:srgbClr val="00B0F0"/>
                </a:solidFill>
                <a:sym typeface="Wingdings"/>
              </a:rPr>
              <a:t></a:t>
            </a:r>
            <a:endParaRPr lang="de-DE" sz="2800" b="0" dirty="0">
              <a:solidFill>
                <a:srgbClr val="00B0F0"/>
              </a:solidFill>
            </a:endParaRPr>
          </a:p>
        </p:txBody>
      </p:sp>
      <p:sp>
        <p:nvSpPr>
          <p:cNvPr id="90" name="Rechteck 89"/>
          <p:cNvSpPr/>
          <p:nvPr/>
        </p:nvSpPr>
        <p:spPr>
          <a:xfrm>
            <a:off x="6290732" y="3820180"/>
            <a:ext cx="466794" cy="52322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>
            <a:spAutoFit/>
          </a:bodyPr>
          <a:lstStyle/>
          <a:p>
            <a:r>
              <a:rPr lang="de-DE" sz="2800" b="0" dirty="0">
                <a:solidFill>
                  <a:srgbClr val="00B0F0"/>
                </a:solidFill>
                <a:sym typeface="Wingdings"/>
              </a:rPr>
              <a:t></a:t>
            </a:r>
            <a:endParaRPr lang="de-DE" sz="2800" b="0" dirty="0">
              <a:solidFill>
                <a:srgbClr val="00B0F0"/>
              </a:solidFill>
            </a:endParaRPr>
          </a:p>
        </p:txBody>
      </p:sp>
      <p:sp>
        <p:nvSpPr>
          <p:cNvPr id="91" name="Rechteck 90"/>
          <p:cNvSpPr/>
          <p:nvPr/>
        </p:nvSpPr>
        <p:spPr>
          <a:xfrm>
            <a:off x="5063068" y="3811713"/>
            <a:ext cx="466794" cy="52322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>
            <a:spAutoFit/>
          </a:bodyPr>
          <a:lstStyle/>
          <a:p>
            <a:r>
              <a:rPr lang="de-DE" sz="2800" b="0" dirty="0">
                <a:solidFill>
                  <a:srgbClr val="00B0F0"/>
                </a:solidFill>
                <a:sym typeface="Wingdings"/>
              </a:rPr>
              <a:t></a:t>
            </a:r>
            <a:endParaRPr lang="de-DE" sz="2800" b="0" dirty="0">
              <a:solidFill>
                <a:srgbClr val="00B0F0"/>
              </a:solidFill>
            </a:endParaRPr>
          </a:p>
        </p:txBody>
      </p:sp>
      <p:sp>
        <p:nvSpPr>
          <p:cNvPr id="92" name="Rechteck 91"/>
          <p:cNvSpPr/>
          <p:nvPr/>
        </p:nvSpPr>
        <p:spPr>
          <a:xfrm>
            <a:off x="7535501" y="5641175"/>
            <a:ext cx="466794" cy="52322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>
            <a:spAutoFit/>
          </a:bodyPr>
          <a:lstStyle/>
          <a:p>
            <a:r>
              <a:rPr lang="de-DE" sz="2800" b="0" dirty="0">
                <a:solidFill>
                  <a:srgbClr val="00B0F0"/>
                </a:solidFill>
                <a:sym typeface="Wingdings"/>
              </a:rPr>
              <a:t></a:t>
            </a:r>
            <a:endParaRPr lang="de-DE" sz="2800" b="0" dirty="0">
              <a:solidFill>
                <a:srgbClr val="00B0F0"/>
              </a:solidFill>
            </a:endParaRPr>
          </a:p>
        </p:txBody>
      </p:sp>
      <p:sp>
        <p:nvSpPr>
          <p:cNvPr id="93" name="Rechteck 92"/>
          <p:cNvSpPr/>
          <p:nvPr/>
        </p:nvSpPr>
        <p:spPr>
          <a:xfrm>
            <a:off x="6290732" y="5647481"/>
            <a:ext cx="466794" cy="52322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>
            <a:spAutoFit/>
          </a:bodyPr>
          <a:lstStyle/>
          <a:p>
            <a:r>
              <a:rPr lang="de-DE" sz="2800" b="0" dirty="0">
                <a:solidFill>
                  <a:srgbClr val="00B0F0"/>
                </a:solidFill>
                <a:sym typeface="Wingdings"/>
              </a:rPr>
              <a:t></a:t>
            </a:r>
            <a:endParaRPr lang="de-DE" sz="2800" b="0" dirty="0">
              <a:solidFill>
                <a:srgbClr val="00B0F0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5063068" y="5639014"/>
            <a:ext cx="466794" cy="52322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>
            <a:spAutoFit/>
          </a:bodyPr>
          <a:lstStyle/>
          <a:p>
            <a:r>
              <a:rPr lang="de-DE" sz="2800" b="0" dirty="0">
                <a:solidFill>
                  <a:srgbClr val="00B0F0"/>
                </a:solidFill>
                <a:sym typeface="Wingdings"/>
              </a:rPr>
              <a:t></a:t>
            </a:r>
            <a:endParaRPr lang="de-DE" sz="2800" b="0" dirty="0">
              <a:solidFill>
                <a:srgbClr val="00B0F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20066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/>
        </p:nvSpPr>
        <p:spPr bwMode="auto">
          <a:xfrm>
            <a:off x="609600" y="1297168"/>
            <a:ext cx="8153399" cy="5484632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180000" tIns="144000" rIns="91440" bIns="45720" numCol="1" rtlCol="0" anchor="t" anchorCtr="0" compatLnSpc="1">
            <a:prstTxWarp prst="textNoShape">
              <a:avLst/>
            </a:prstTxWarp>
          </a:bodyPr>
          <a:lstStyle/>
          <a:p>
            <a:pPr marL="285750" lvl="1" indent="-285750"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Wingdings" panose="05000000000000000000" pitchFamily="2" charset="2"/>
              <a:buChar char="§"/>
            </a:pPr>
            <a:endParaRPr lang="en-US" sz="100" b="0" dirty="0" smtClean="0"/>
          </a:p>
          <a:p>
            <a:pPr marL="285750" lvl="1" indent="-285750"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b="0" dirty="0"/>
              <a:t>Feedback of </a:t>
            </a:r>
            <a:r>
              <a:rPr lang="en-US" sz="1400" dirty="0" smtClean="0"/>
              <a:t>10</a:t>
            </a:r>
            <a:r>
              <a:rPr lang="en-US" sz="1400" b="0" dirty="0" smtClean="0"/>
              <a:t> </a:t>
            </a:r>
            <a:r>
              <a:rPr lang="en-US" sz="1400" b="0" dirty="0"/>
              <a:t>Manufacturer</a:t>
            </a:r>
          </a:p>
          <a:p>
            <a:pPr marL="742950" lvl="1" indent="-285750">
              <a:spcAft>
                <a:spcPts val="600"/>
              </a:spcAft>
              <a:buClr>
                <a:schemeClr val="bg1">
                  <a:lumMod val="65000"/>
                </a:schemeClr>
              </a:buClr>
              <a:buFontTx/>
              <a:buChar char="-"/>
            </a:pPr>
            <a:endParaRPr lang="en-US" sz="1400" b="0" dirty="0"/>
          </a:p>
        </p:txBody>
      </p:sp>
      <p:sp>
        <p:nvSpPr>
          <p:cNvPr id="16" name="Rechteck 15"/>
          <p:cNvSpPr/>
          <p:nvPr/>
        </p:nvSpPr>
        <p:spPr bwMode="auto">
          <a:xfrm>
            <a:off x="381000" y="1542650"/>
            <a:ext cx="8577731" cy="503869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3200" b="1" i="0" u="none" strike="noStrike" cap="none" normalizeH="0" baseline="0">
              <a:ln>
                <a:noFill/>
              </a:ln>
              <a:solidFill>
                <a:srgbClr val="336699"/>
              </a:solidFill>
              <a:effectLst/>
              <a:latin typeface="Verdana" charset="0"/>
              <a:ea typeface="ＭＳ Ｐゴシック" charset="0"/>
              <a:cs typeface="Arial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Decision Template </a:t>
            </a:r>
            <a:br>
              <a:rPr lang="en-US" sz="2400" dirty="0"/>
            </a:br>
            <a:r>
              <a:rPr lang="en-US" sz="2400" dirty="0"/>
              <a:t>"</a:t>
            </a:r>
            <a:r>
              <a:rPr lang="en-US" sz="2400" dirty="0" smtClean="0"/>
              <a:t>Negotiationparameter</a:t>
            </a:r>
            <a:r>
              <a:rPr lang="en-US" sz="2400" dirty="0"/>
              <a:t>” </a:t>
            </a:r>
            <a:r>
              <a:rPr lang="en-US" sz="2400" dirty="0" smtClean="0"/>
              <a:t>(4/5</a:t>
            </a:r>
            <a:r>
              <a:rPr lang="en-US" sz="2400" dirty="0"/>
              <a:t>)</a:t>
            </a:r>
            <a:endParaRPr lang="en-US" sz="2600" dirty="0"/>
          </a:p>
        </p:txBody>
      </p:sp>
      <p:sp>
        <p:nvSpPr>
          <p:cNvPr id="9" name="Rechteck 8"/>
          <p:cNvSpPr/>
          <p:nvPr/>
        </p:nvSpPr>
        <p:spPr>
          <a:xfrm>
            <a:off x="807719" y="1127892"/>
            <a:ext cx="6278881" cy="338554"/>
          </a:xfrm>
          <a:prstGeom prst="rect">
            <a:avLst/>
          </a:prstGeom>
          <a:solidFill>
            <a:schemeClr val="bg1"/>
          </a:solidFill>
        </p:spPr>
        <p:txBody>
          <a:bodyPr wrap="square" rIns="0">
            <a:spAutoFit/>
          </a:bodyPr>
          <a:lstStyle/>
          <a:p>
            <a:pPr>
              <a:spcAft>
                <a:spcPts val="300"/>
              </a:spcAft>
              <a:buClr>
                <a:schemeClr val="bg1">
                  <a:lumMod val="65000"/>
                </a:schemeClr>
              </a:buClr>
            </a:pPr>
            <a:r>
              <a:rPr lang="en-US" sz="1600" dirty="0" smtClean="0"/>
              <a:t>ACEA-Walk-In-Position </a:t>
            </a:r>
            <a:r>
              <a:rPr lang="en-US" sz="1600" dirty="0"/>
              <a:t>vs. </a:t>
            </a:r>
            <a:r>
              <a:rPr lang="en-US" sz="1600" dirty="0" smtClean="0"/>
              <a:t>EU-COM-Position - Results</a:t>
            </a:r>
            <a:endParaRPr lang="en-US" sz="1600" b="0" dirty="0"/>
          </a:p>
        </p:txBody>
      </p:sp>
      <p:graphicFrame>
        <p:nvGraphicFramePr>
          <p:cNvPr id="4" name="Tabel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66261920"/>
              </p:ext>
            </p:extLst>
          </p:nvPr>
        </p:nvGraphicFramePr>
        <p:xfrm>
          <a:off x="457201" y="1596524"/>
          <a:ext cx="8567999" cy="4964588"/>
        </p:xfrm>
        <a:graphic>
          <a:graphicData uri="http://schemas.openxmlformats.org/drawingml/2006/table">
            <a:tbl>
              <a:tblPr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tblPr>
              <a:tblGrid>
                <a:gridCol w="994499"/>
                <a:gridCol w="1139100"/>
                <a:gridCol w="592583"/>
                <a:gridCol w="855217"/>
                <a:gridCol w="76200"/>
                <a:gridCol w="1219200"/>
                <a:gridCol w="1243201"/>
                <a:gridCol w="1224000"/>
                <a:gridCol w="87792"/>
                <a:gridCol w="1136207"/>
              </a:tblGrid>
              <a:tr h="332974">
                <a:tc gridSpan="4">
                  <a:txBody>
                    <a:bodyPr/>
                    <a:lstStyle/>
                    <a:p>
                      <a:pPr algn="r" fontAlgn="b"/>
                      <a: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ompromises - including political influences:</a:t>
                      </a:r>
                      <a:endParaRPr 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 anchor="b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18632" marR="0" marT="18632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18632" marR="0" marT="18632" marB="0" anchor="b">
                    <a:lnL>
                      <a:noFill/>
                    </a:lnL>
                    <a:lnR>
                      <a:noFill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fontAlgn="b"/>
                      <a:endParaRPr 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 anchor="b">
                    <a:lnL>
                      <a:noFill/>
                    </a:lnL>
                    <a:lnR>
                      <a:noFill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Difference EU COM to </a:t>
                      </a:r>
                      <a:r>
                        <a:rPr lang="pt-BR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1</a:t>
                      </a:r>
                    </a:p>
                    <a:p>
                      <a:pPr algn="l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(close to COM with </a:t>
                      </a:r>
                    </a:p>
                    <a:p>
                      <a:pPr algn="l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important</a:t>
                      </a:r>
                      <a:r>
                        <a:rPr lang="en-US" sz="5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lements</a:t>
                      </a:r>
                      <a:r>
                        <a:rPr lang="en-US" sz="5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of ACEA)</a:t>
                      </a:r>
                      <a:endParaRPr lang="pt-BR" sz="7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Difference C1 to C2</a:t>
                      </a:r>
                    </a:p>
                  </a:txBody>
                  <a:tcPr marL="18632" marR="0" marT="1863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6FF3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Difference C2 to C3</a:t>
                      </a:r>
                    </a:p>
                  </a:txBody>
                  <a:tcPr marL="18632" marR="0" marT="1863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1" i="0" u="none" strike="noStrike">
                          <a:solidFill>
                            <a:srgbClr val="C00000"/>
                          </a:solidFill>
                          <a:effectLst/>
                          <a:latin typeface="Arial"/>
                        </a:rPr>
                        <a:t>Consolidated Manufacturer Compromise-Position</a:t>
                      </a:r>
                    </a:p>
                  </a:txBody>
                  <a:tcPr marL="18632" marR="0" marT="1863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</a:tr>
              <a:tr h="123204"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endParaRPr lang="en-US" sz="7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8632" marR="0" marT="18632" marB="0" anchor="ctr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700" dirty="0"/>
                    </a:p>
                  </a:txBody>
                  <a:tcPr marL="18632" marR="0" marT="18632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700" dirty="0"/>
                    </a:p>
                  </a:txBody>
                  <a:tcPr marL="18632" marR="0" marT="1863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ew</a:t>
                      </a:r>
                    </a:p>
                  </a:txBody>
                  <a:tcPr marL="18632" marR="0" marT="1863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 anchor="b">
                    <a:lnL>
                      <a:noFill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</a:tr>
              <a:tr h="321080"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endParaRPr lang="en-US" sz="7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8632" marR="0" marT="18632" marB="0" anchor="ctr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800"/>
                    </a:p>
                  </a:txBody>
                  <a:tcPr marL="18632" marR="0" marT="18632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800"/>
                    </a:p>
                  </a:txBody>
                  <a:tcPr marL="18632" marR="0" marT="1863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fontAlgn="b"/>
                      <a:endParaRPr 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>
                      <a:noFill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21300"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Parameter </a:t>
                      </a:r>
                    </a:p>
                  </a:txBody>
                  <a:tcPr marL="18632" marR="0" marT="18632" marB="0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1" i="0" u="none" strike="noStrike" dirty="0">
                          <a:solidFill>
                            <a:srgbClr val="1F497D"/>
                          </a:solidFill>
                          <a:effectLst/>
                          <a:latin typeface="Arial"/>
                        </a:rPr>
                        <a:t>ACEA-Walk-In </a:t>
                      </a:r>
                      <a:endParaRPr lang="en-US" sz="800" b="1" i="0" u="none" strike="noStrike" dirty="0" smtClean="0">
                        <a:solidFill>
                          <a:srgbClr val="1F497D"/>
                        </a:solidFill>
                        <a:effectLst/>
                        <a:latin typeface="Arial"/>
                      </a:endParaRPr>
                    </a:p>
                    <a:p>
                      <a:pPr algn="l" fontAlgn="t"/>
                      <a:r>
                        <a:rPr lang="en-US" sz="800" b="1" i="0" u="none" strike="noStrike" dirty="0" smtClean="0">
                          <a:solidFill>
                            <a:srgbClr val="1F497D"/>
                          </a:solidFill>
                          <a:effectLst/>
                          <a:latin typeface="Arial"/>
                        </a:rPr>
                        <a:t>Position</a:t>
                      </a:r>
                      <a:endParaRPr lang="en-US" sz="800" b="1" i="0" u="none" strike="noStrike" dirty="0">
                        <a:solidFill>
                          <a:srgbClr val="1F497D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800" b="1" i="0" u="none" strike="noStrike" dirty="0">
                          <a:solidFill>
                            <a:srgbClr val="1F497D"/>
                          </a:solidFill>
                          <a:effectLst/>
                          <a:latin typeface="Arial"/>
                        </a:rPr>
                        <a:t>Feedback </a:t>
                      </a:r>
                      <a:r>
                        <a:rPr lang="en-US" sz="700" b="0" i="0" u="none" strike="noStrike" dirty="0">
                          <a:solidFill>
                            <a:srgbClr val="1F497D"/>
                          </a:solidFill>
                          <a:effectLst/>
                          <a:latin typeface="Arial"/>
                        </a:rPr>
                        <a:t>[numbers]</a:t>
                      </a:r>
                      <a:endParaRPr lang="en-US" sz="800" b="1" i="0" u="none" strike="noStrike" dirty="0">
                        <a:solidFill>
                          <a:srgbClr val="1F497D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U-COM-Position 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18632" marR="0" marT="18632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CEA Compromise C1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CEA Compromise C2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CEA Compromise C3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/>
                        </a:rPr>
                        <a:t>Consolidated Manufacturer </a:t>
                      </a:r>
                      <a:br>
                        <a:rPr lang="en-US" sz="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/>
                        </a:rPr>
                      </a:br>
                      <a:r>
                        <a:rPr lang="en-US" sz="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/>
                        </a:rPr>
                        <a:t>Compromise-Position  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</a:tr>
              <a:tr h="137345">
                <a:tc rowSpan="6">
                  <a:txBody>
                    <a:bodyPr/>
                    <a:lstStyle/>
                    <a:p>
                      <a:pPr algn="l" fontAlgn="t"/>
                      <a:r>
                        <a:rPr lang="en-US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F-value</a:t>
                      </a:r>
                    </a:p>
                  </a:txBody>
                  <a:tcPr marL="18632" marR="0" marT="18632" marB="0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-step approach </a:t>
                      </a:r>
                      <a:b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</a:br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tep 1: 3,5 / 5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6</a:t>
                      </a:r>
                    </a:p>
                  </a:txBody>
                  <a:tcPr marL="18632" marR="0" marT="1863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DCE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  1-step </a:t>
                      </a:r>
                      <a:b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</a:b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   &lt;2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18632" marR="0" marT="1863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-step approach </a:t>
                      </a:r>
                      <a:b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</a:b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tep 1: 3,5 / 5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-step approach </a:t>
                      </a:r>
                      <a:b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</a:br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tep 1: 3,5 / 5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-step approach </a:t>
                      </a:r>
                      <a:b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</a:br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tep 1: 3,5 / 5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18632" marR="0" marT="1863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-step approach </a:t>
                      </a:r>
                      <a:b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</a:br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tep 1: 3,5 / 5</a:t>
                      </a:r>
                      <a:b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</a:b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DCE"/>
                    </a:solidFill>
                  </a:tcPr>
                </a:tc>
              </a:tr>
              <a:tr h="137345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3</a:t>
                      </a:r>
                    </a:p>
                  </a:txBody>
                  <a:tcPr marL="18632" marR="0" marT="1863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</a:tr>
              <a:tr h="137345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dirty="0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1</a:t>
                      </a:r>
                    </a:p>
                  </a:txBody>
                  <a:tcPr marL="18632" marR="0" marT="1863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6FF33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</a:tr>
              <a:tr h="137345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tep 2: 2 / 3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8</a:t>
                      </a:r>
                    </a:p>
                  </a:txBody>
                  <a:tcPr marL="18632" marR="0" marT="1863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DCE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  1-step </a:t>
                      </a:r>
                      <a:b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</a:b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   &lt;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</a:p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Division </a:t>
                      </a: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odal emissions by a factor of "</a:t>
                      </a:r>
                      <a:r>
                        <a:rPr lang="en-US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xt</a:t>
                      </a: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" for extended BCs </a:t>
                      </a:r>
                      <a:r>
                        <a:rPr lang="en-US" sz="700" b="0" i="0" u="none" strike="noStrike" dirty="0">
                          <a:solidFill>
                            <a:srgbClr val="FF0000"/>
                          </a:solidFill>
                          <a:effectLst/>
                          <a:latin typeface="Arial"/>
                        </a:rPr>
                        <a:t>only </a:t>
                      </a:r>
                      <a:r>
                        <a:rPr lang="en-US" sz="70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Arial"/>
                        </a:rPr>
                        <a:t>in</a:t>
                      </a:r>
                      <a:r>
                        <a:rPr lang="en-US" sz="700" b="0" i="0" u="none" strike="noStrike" baseline="0" dirty="0" smtClean="0">
                          <a:solidFill>
                            <a:srgbClr val="FF0000"/>
                          </a:solidFill>
                          <a:effectLst/>
                          <a:latin typeface="Arial"/>
                        </a:rPr>
                        <a:t> events where</a:t>
                      </a:r>
                      <a:r>
                        <a:rPr lang="en-US" sz="70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Arial"/>
                        </a:rPr>
                        <a:t> ext. BC’s occur.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18632" marR="0" marT="1863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tep 2: 2 / 3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tep 2: 2 / 3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tep 2: 2 / 3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18632" marR="0" marT="1863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tep 2: 2 / 3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DCE"/>
                    </a:solidFill>
                  </a:tcPr>
                </a:tc>
              </a:tr>
              <a:tr h="137345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dirty="0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2</a:t>
                      </a:r>
                    </a:p>
                  </a:txBody>
                  <a:tcPr marL="18632" marR="0" marT="1863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</a:tr>
              <a:tr h="613184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dirty="0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en-US" sz="700" b="1" i="0" u="none" strike="noStrike" dirty="0" smtClean="0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-</a:t>
                      </a:r>
                      <a:endParaRPr lang="en-US" sz="700" b="1" i="0" u="none" strike="noStrike" dirty="0">
                        <a:solidFill>
                          <a:srgbClr val="1F497D"/>
                        </a:solidFill>
                        <a:effectLst/>
                        <a:latin typeface="Calibri"/>
                      </a:endParaRPr>
                    </a:p>
                  </a:txBody>
                  <a:tcPr marL="18632" marR="0" marT="1863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6FF33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</a:tr>
              <a:tr h="137345">
                <a:tc rowSpan="6">
                  <a:txBody>
                    <a:bodyPr/>
                    <a:lstStyle/>
                    <a:p>
                      <a:pPr algn="l" fontAlgn="t"/>
                      <a:r>
                        <a:rPr lang="en-US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iming</a:t>
                      </a:r>
                    </a:p>
                  </a:txBody>
                  <a:tcPr marL="18632" marR="0" marT="18632" marB="0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tep 1: 2017 / -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3</a:t>
                      </a:r>
                    </a:p>
                  </a:txBody>
                  <a:tcPr marL="18632" marR="0" marT="1863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DCE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fontAlgn="t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6"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18632" marR="0" marT="1863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tep 1: 9/2017NT / 9/2019 AT   ,N1 + 1year</a:t>
                      </a:r>
                      <a:b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</a:b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&amp; 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Flexibility by pre-fulfilling of RDE Reg.</a:t>
                      </a:r>
                    </a:p>
                    <a:p>
                      <a:pPr algn="l" fontAlgn="t"/>
                      <a: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x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luding Gasoline DI</a:t>
                      </a:r>
                    </a:p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&amp; Hybrid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tep 1: 9/2017NT / 9/2019 AT   ,N1 + 1year</a:t>
                      </a:r>
                      <a:b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</a:b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&amp; 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Flexibility by pre-fulfilling of RDE Reg.</a:t>
                      </a:r>
                    </a:p>
                    <a:p>
                      <a:pPr algn="l" fontAlgn="t"/>
                      <a: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x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luding Gasoline DI</a:t>
                      </a:r>
                    </a:p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&amp; Hybrid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tep 1: 9/2017NT / 9/2019 AT   ,N1 + 1year</a:t>
                      </a:r>
                      <a:b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</a:b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&amp; 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Flexibility by pre-fulfilling of RDE Reg.</a:t>
                      </a:r>
                    </a:p>
                    <a:p>
                      <a:pPr algn="l" fontAlgn="t"/>
                      <a: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x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luding Gasoline DI</a:t>
                      </a:r>
                    </a:p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&amp; Hybrid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18632" marR="0" marT="1863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tep 1: 2017 NT, 2019 AT (N1 II, III plus 1 year)</a:t>
                      </a:r>
                      <a:b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</a:b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lternative 1: ST1 2017NT, ST2 2020 NT/AT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  <a:tr h="137345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4</a:t>
                      </a:r>
                    </a:p>
                  </a:txBody>
                  <a:tcPr marL="18632" marR="0" marT="1863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</a:tr>
              <a:tr h="213426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dirty="0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3</a:t>
                      </a:r>
                    </a:p>
                  </a:txBody>
                  <a:tcPr marL="18632" marR="0" marT="1863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6FF33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</a:tr>
              <a:tr h="137345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tep 2: 2020 / 2021</a:t>
                      </a:r>
                      <a:b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</a:b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1 + 1year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3</a:t>
                      </a:r>
                    </a:p>
                  </a:txBody>
                  <a:tcPr marL="18632" marR="0" marT="1863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DCE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tep 1: 2017 / </a:t>
                      </a:r>
                      <a:r>
                        <a:rPr lang="en-US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.b.d</a:t>
                      </a: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.</a:t>
                      </a:r>
                      <a:b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</a:b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/>
                      </a:r>
                      <a:b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</a:b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1: </a:t>
                      </a:r>
                      <a:r>
                        <a:rPr lang="en-US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.b.d</a:t>
                      </a: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.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l" fontAlgn="t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t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t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t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  <a:tr h="137345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dirty="0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4</a:t>
                      </a:r>
                    </a:p>
                  </a:txBody>
                  <a:tcPr marL="18632" marR="0" marT="1863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tep 2: 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sym typeface="Wingdings" panose="05000000000000000000" pitchFamily="2" charset="2"/>
                        </a:rPr>
                        <a:t>5 years after published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sym typeface="Wingdings" panose="05000000000000000000" pitchFamily="2" charset="2"/>
                        </a:rPr>
                        <a:t> 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sym typeface="Wingdings" panose="05000000000000000000" pitchFamily="2" charset="2"/>
                        </a:rPr>
                        <a:t>in official journal </a:t>
                      </a:r>
                    </a:p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/>
                      </a:r>
                      <a:b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</a:b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1 + 1year</a:t>
                      </a:r>
                    </a:p>
                    <a:p>
                      <a:pPr algn="l" fontAlgn="t"/>
                      <a:endParaRPr lang="en-US" sz="2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  <a:p>
                      <a:pPr marL="0" indent="0" algn="l" fontAlgn="t">
                        <a:buFont typeface="Wingdings" pitchFamily="2" charset="2"/>
                        <a:buNone/>
                      </a:pPr>
                      <a:endParaRPr lang="en-US" sz="1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In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luding Gasoline DI &amp; Hybrid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tep 2: 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sym typeface="Wingdings" panose="05000000000000000000" pitchFamily="2" charset="2"/>
                        </a:rPr>
                        <a:t>5 years after published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sym typeface="Wingdings" panose="05000000000000000000" pitchFamily="2" charset="2"/>
                        </a:rPr>
                        <a:t> 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sym typeface="Wingdings" panose="05000000000000000000" pitchFamily="2" charset="2"/>
                        </a:rPr>
                        <a:t>in official journal </a:t>
                      </a:r>
                    </a:p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/>
                      </a:r>
                      <a:b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</a:b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1 + 1year</a:t>
                      </a:r>
                    </a:p>
                    <a:p>
                      <a:pPr algn="l" fontAlgn="t"/>
                      <a:endParaRPr lang="en-US" sz="2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  <a:p>
                      <a:pPr marL="0" indent="0" algn="l" fontAlgn="t">
                        <a:buFont typeface="Wingdings" pitchFamily="2" charset="2"/>
                        <a:buNone/>
                      </a:pPr>
                      <a:endParaRPr lang="en-US" sz="1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In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luding Gasoline DI &amp; Hybrid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tep 2: 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sym typeface="Wingdings" panose="05000000000000000000" pitchFamily="2" charset="2"/>
                        </a:rPr>
                        <a:t>5 years after published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sym typeface="Wingdings" panose="05000000000000000000" pitchFamily="2" charset="2"/>
                        </a:rPr>
                        <a:t> 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sym typeface="Wingdings" panose="05000000000000000000" pitchFamily="2" charset="2"/>
                        </a:rPr>
                        <a:t>in official journal </a:t>
                      </a:r>
                    </a:p>
                    <a:p>
                      <a:pPr algn="l" fontAlgn="t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/>
                      </a:r>
                      <a:b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</a:b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1 + 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year</a:t>
                      </a:r>
                    </a:p>
                    <a:p>
                      <a:pPr algn="l" fontAlgn="t"/>
                      <a:endParaRPr lang="en-US" sz="2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  <a:p>
                      <a:pPr marL="0" indent="0" algn="l" fontAlgn="t">
                        <a:buFont typeface="Wingdings" pitchFamily="2" charset="2"/>
                        <a:buNone/>
                      </a:pPr>
                      <a:endParaRPr lang="en-US" sz="1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In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luding Gasoline DI &amp; Hybrid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18632" marR="0" marT="1863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tep 2: 2020 NT, 2021 AT (N1 II, III plus 1 year)</a:t>
                      </a:r>
                      <a:b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</a:b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lternative 2: ST1 2017NT, ST2 2019 NT, 2020 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T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</a:p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-&gt; </a:t>
                      </a: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only if 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F´s </a:t>
                      </a: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emain 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un-changed </a:t>
                      </a: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(ST1 3,5; ST2 2; 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fallback</a:t>
                      </a:r>
                      <a:r>
                        <a:rPr lang="en-US" sz="5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Division</a:t>
                      </a:r>
                      <a:r>
                        <a:rPr lang="en-US" sz="5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by 2 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for 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xtended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  <a:tr h="720054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dirty="0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3</a:t>
                      </a:r>
                    </a:p>
                  </a:txBody>
                  <a:tcPr marL="18632" marR="0" marT="1863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6FF33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</a:tr>
              <a:tr h="137345">
                <a:tc rowSpan="6">
                  <a:txBody>
                    <a:bodyPr/>
                    <a:lstStyle/>
                    <a:p>
                      <a:pPr algn="l" fontAlgn="t"/>
                      <a:r>
                        <a:rPr lang="en-US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eporting</a:t>
                      </a:r>
                    </a:p>
                  </a:txBody>
                  <a:tcPr marL="18632" marR="0" marT="18632" marB="0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mission values per phase and total and selected as BC's report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4</a:t>
                      </a:r>
                    </a:p>
                  </a:txBody>
                  <a:tcPr marL="18632" marR="0" marT="1863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DCE"/>
                    </a:solidFill>
                  </a:tcPr>
                </a:tc>
                <a:tc rowSpan="6"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/>
                      </a:r>
                      <a:b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</a:b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missions </a:t>
                      </a: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o the second in csv format with complete </a:t>
                      </a:r>
                      <a:r>
                        <a:rPr lang="en-US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ransparanz</a:t>
                      </a: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the manufacturer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6"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18632" marR="0" marT="1863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mission values per phase and total and selected as BC's report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mission values per phase and total and selected as BC's report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mission values per phase and total and selected as BC's report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18632" marR="0" marT="1863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Weighted and </a:t>
                      </a:r>
                      <a:r>
                        <a:rPr lang="en-US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unweighted</a:t>
                      </a: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emission values every phase and also selected BC as 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eport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  <a:tr h="137345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3</a:t>
                      </a:r>
                    </a:p>
                  </a:txBody>
                  <a:tcPr marL="18632" marR="0" marT="1863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</a:tr>
              <a:tr h="240806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3</a:t>
                      </a:r>
                    </a:p>
                  </a:txBody>
                  <a:tcPr marL="18632" marR="0" marT="1863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6FF33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</a:tr>
              <a:tr h="137345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echnical vehicel data without manufacturer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4</a:t>
                      </a:r>
                    </a:p>
                  </a:txBody>
                  <a:tcPr marL="18632" marR="0" marT="1863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DCE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echnical vehicel data without manufacturer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echnical vehicel data without manufacturer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echnical vehicel data without manufacturer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18632" marR="0" marT="1863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echnical vehicel data with manufacturer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  <a:tr h="137345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2</a:t>
                      </a:r>
                    </a:p>
                  </a:txBody>
                  <a:tcPr marL="18632" marR="0" marT="1863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</a:tr>
              <a:tr h="137345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dirty="0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4</a:t>
                      </a:r>
                    </a:p>
                  </a:txBody>
                  <a:tcPr marL="18632" marR="0" marT="1863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6FF33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8" name="Rechteck 7"/>
          <p:cNvSpPr/>
          <p:nvPr/>
        </p:nvSpPr>
        <p:spPr>
          <a:xfrm>
            <a:off x="635764" y="1400343"/>
            <a:ext cx="3098036" cy="335011"/>
          </a:xfrm>
          <a:prstGeom prst="rect">
            <a:avLst/>
          </a:prstGeom>
          <a:solidFill>
            <a:schemeClr val="bg1"/>
          </a:solidFill>
        </p:spPr>
        <p:txBody>
          <a:bodyPr wrap="square" anchor="b">
            <a:noAutofit/>
          </a:bodyPr>
          <a:lstStyle/>
          <a:p>
            <a:pPr marL="285750" lvl="1" indent="-285750">
              <a:spcAft>
                <a:spcPts val="600"/>
              </a:spcAft>
              <a:buClr>
                <a:srgbClr val="FFFFFF">
                  <a:lumMod val="65000"/>
                </a:srgbClr>
              </a:buClr>
              <a:buFont typeface="Wingdings" panose="05000000000000000000" pitchFamily="2" charset="2"/>
              <a:buChar char="§"/>
            </a:pPr>
            <a:endParaRPr lang="en-US" sz="100" b="0" dirty="0"/>
          </a:p>
          <a:p>
            <a:pPr marL="285750" lvl="1" indent="-285750">
              <a:spcAft>
                <a:spcPts val="600"/>
              </a:spcAft>
              <a:buClr>
                <a:srgbClr val="FFFFFF">
                  <a:lumMod val="65000"/>
                </a:srgbClr>
              </a:buClr>
              <a:buFont typeface="Wingdings" panose="05000000000000000000" pitchFamily="2" charset="2"/>
              <a:buChar char="§"/>
            </a:pPr>
            <a:r>
              <a:rPr lang="en-US" sz="1400" b="0" dirty="0"/>
              <a:t>Feedback of </a:t>
            </a:r>
            <a:r>
              <a:rPr lang="en-US" sz="1400" dirty="0"/>
              <a:t>10</a:t>
            </a:r>
            <a:r>
              <a:rPr lang="en-US" sz="1400" b="0" dirty="0"/>
              <a:t> Manufacturer</a:t>
            </a:r>
          </a:p>
        </p:txBody>
      </p:sp>
      <p:sp>
        <p:nvSpPr>
          <p:cNvPr id="27" name="Rechteck 26"/>
          <p:cNvSpPr/>
          <p:nvPr/>
        </p:nvSpPr>
        <p:spPr bwMode="auto">
          <a:xfrm>
            <a:off x="7986918" y="1122555"/>
            <a:ext cx="480360" cy="39964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3200" b="1" i="0" u="none" strike="noStrike" cap="none" normalizeH="0" baseline="0">
              <a:ln>
                <a:noFill/>
              </a:ln>
              <a:solidFill>
                <a:srgbClr val="336699"/>
              </a:solidFill>
              <a:effectLst/>
              <a:latin typeface="Verdana" charset="0"/>
              <a:ea typeface="ＭＳ Ｐゴシック" charset="0"/>
              <a:cs typeface="Arial" charset="0"/>
            </a:endParaRPr>
          </a:p>
        </p:txBody>
      </p:sp>
      <p:pic>
        <p:nvPicPr>
          <p:cNvPr id="21" name="Picture 4" descr="E:\1000_P3_Intern\1100_Chartbibo-Methoden\icons\ok\pencil_drawing_blue_check_mark_1600_clr.png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75767" y="737942"/>
            <a:ext cx="960721" cy="8406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8" name="Tabelle 2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70344026"/>
              </p:ext>
            </p:extLst>
          </p:nvPr>
        </p:nvGraphicFramePr>
        <p:xfrm>
          <a:off x="3821248" y="6619535"/>
          <a:ext cx="694545" cy="139065"/>
        </p:xfrm>
        <a:graphic>
          <a:graphicData uri="http://schemas.openxmlformats.org/drawingml/2006/table">
            <a:tbl>
              <a:tblPr/>
              <a:tblGrid>
                <a:gridCol w="694545"/>
              </a:tblGrid>
              <a:tr h="13906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 smtClean="0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Negotiable</a:t>
                      </a:r>
                      <a:endParaRPr lang="en-US" sz="800" b="0" i="0" u="none" strike="noStrike" dirty="0">
                        <a:solidFill>
                          <a:srgbClr val="1F497D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6FF33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29" name="Tabelle 2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89695573"/>
              </p:ext>
            </p:extLst>
          </p:nvPr>
        </p:nvGraphicFramePr>
        <p:xfrm>
          <a:off x="1603828" y="6621780"/>
          <a:ext cx="577187" cy="133754"/>
        </p:xfrm>
        <a:graphic>
          <a:graphicData uri="http://schemas.openxmlformats.org/drawingml/2006/table">
            <a:tbl>
              <a:tblPr/>
              <a:tblGrid>
                <a:gridCol w="577187"/>
              </a:tblGrid>
              <a:tr h="13375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 smtClean="0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Must </a:t>
                      </a:r>
                      <a:r>
                        <a:rPr lang="en-US" sz="800" b="0" i="0" u="none" strike="noStrike" dirty="0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have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DCE"/>
                    </a:solidFill>
                  </a:tcPr>
                </a:tc>
              </a:tr>
            </a:tbl>
          </a:graphicData>
        </a:graphic>
      </p:graphicFrame>
      <p:sp>
        <p:nvSpPr>
          <p:cNvPr id="30" name="Rechteck 29"/>
          <p:cNvSpPr/>
          <p:nvPr/>
        </p:nvSpPr>
        <p:spPr>
          <a:xfrm>
            <a:off x="550334" y="6581346"/>
            <a:ext cx="1053494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defTabSz="457200" fontAlgn="b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1F497D"/>
                </a:solidFill>
                <a:latin typeface="Arial"/>
                <a:ea typeface="ＭＳ Ｐゴシック"/>
              </a:rPr>
              <a:t>Theory of </a:t>
            </a:r>
            <a:r>
              <a:rPr lang="en-US" sz="800" dirty="0" smtClean="0">
                <a:solidFill>
                  <a:srgbClr val="1F497D"/>
                </a:solidFill>
                <a:latin typeface="Arial"/>
                <a:ea typeface="ＭＳ Ｐゴシック"/>
              </a:rPr>
              <a:t>colors </a:t>
            </a:r>
            <a:r>
              <a:rPr lang="en-US" sz="800" dirty="0">
                <a:solidFill>
                  <a:srgbClr val="1F497D"/>
                </a:solidFill>
                <a:latin typeface="Arial"/>
                <a:ea typeface="ＭＳ Ｐゴシック"/>
              </a:rPr>
              <a:t>:</a:t>
            </a:r>
          </a:p>
        </p:txBody>
      </p:sp>
      <p:graphicFrame>
        <p:nvGraphicFramePr>
          <p:cNvPr id="31" name="Tabelle 3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6010251"/>
              </p:ext>
            </p:extLst>
          </p:nvPr>
        </p:nvGraphicFramePr>
        <p:xfrm>
          <a:off x="2225262" y="6623496"/>
          <a:ext cx="1564381" cy="129540"/>
        </p:xfrm>
        <a:graphic>
          <a:graphicData uri="http://schemas.openxmlformats.org/drawingml/2006/table">
            <a:tbl>
              <a:tblPr/>
              <a:tblGrid>
                <a:gridCol w="1564381"/>
              </a:tblGrid>
              <a:tr h="8631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 smtClean="0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Give </a:t>
                      </a:r>
                      <a:r>
                        <a:rPr lang="en-US" sz="800" b="0" i="0" u="none" strike="noStrike" dirty="0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up if </a:t>
                      </a:r>
                      <a:r>
                        <a:rPr lang="en-US" sz="800" b="0" i="0" u="none" strike="noStrike" dirty="0" smtClean="0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absolutely </a:t>
                      </a:r>
                      <a:r>
                        <a:rPr lang="en-US" sz="800" b="0" i="0" u="none" strike="noStrike" dirty="0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unsustainable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sp>
        <p:nvSpPr>
          <p:cNvPr id="46" name="Textfeld 45"/>
          <p:cNvSpPr txBox="1"/>
          <p:nvPr/>
        </p:nvSpPr>
        <p:spPr>
          <a:xfrm>
            <a:off x="5061284" y="3864684"/>
            <a:ext cx="344966" cy="307777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r>
              <a:rPr lang="de-DE" sz="1400" dirty="0" smtClean="0">
                <a:solidFill>
                  <a:schemeClr val="tx1"/>
                </a:solidFill>
                <a:sym typeface="Wingdings"/>
              </a:rPr>
              <a:t>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47" name="Textfeld 46"/>
          <p:cNvSpPr txBox="1"/>
          <p:nvPr/>
        </p:nvSpPr>
        <p:spPr>
          <a:xfrm>
            <a:off x="6295474" y="3862740"/>
            <a:ext cx="344966" cy="307777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r>
              <a:rPr lang="de-DE" sz="1400" dirty="0" smtClean="0">
                <a:solidFill>
                  <a:schemeClr val="tx1"/>
                </a:solidFill>
                <a:sym typeface="Wingdings"/>
              </a:rPr>
              <a:t>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48" name="Textfeld 47"/>
          <p:cNvSpPr txBox="1"/>
          <p:nvPr/>
        </p:nvSpPr>
        <p:spPr>
          <a:xfrm>
            <a:off x="7526193" y="3862740"/>
            <a:ext cx="344966" cy="307777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r>
              <a:rPr lang="de-DE" sz="1400" dirty="0" smtClean="0">
                <a:solidFill>
                  <a:schemeClr val="tx1"/>
                </a:solidFill>
                <a:sym typeface="Wingdings"/>
              </a:rPr>
              <a:t>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50" name="Textfeld 49"/>
          <p:cNvSpPr txBox="1"/>
          <p:nvPr/>
        </p:nvSpPr>
        <p:spPr>
          <a:xfrm>
            <a:off x="5058400" y="2980264"/>
            <a:ext cx="344966" cy="307777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r>
              <a:rPr lang="de-DE" sz="1400" dirty="0" smtClean="0">
                <a:solidFill>
                  <a:schemeClr val="tx1"/>
                </a:solidFill>
                <a:sym typeface="Wingdings"/>
              </a:rPr>
              <a:t>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51" name="Textfeld 50"/>
          <p:cNvSpPr txBox="1"/>
          <p:nvPr/>
        </p:nvSpPr>
        <p:spPr>
          <a:xfrm>
            <a:off x="6302115" y="2978320"/>
            <a:ext cx="344966" cy="307777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r>
              <a:rPr lang="de-DE" sz="1400" dirty="0" smtClean="0">
                <a:solidFill>
                  <a:schemeClr val="tx1"/>
                </a:solidFill>
                <a:sym typeface="Wingdings"/>
              </a:rPr>
              <a:t>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52" name="Textfeld 51"/>
          <p:cNvSpPr txBox="1"/>
          <p:nvPr/>
        </p:nvSpPr>
        <p:spPr>
          <a:xfrm>
            <a:off x="7532834" y="2978320"/>
            <a:ext cx="344966" cy="307777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r>
              <a:rPr lang="de-DE" sz="1400" dirty="0" smtClean="0">
                <a:solidFill>
                  <a:schemeClr val="tx1"/>
                </a:solidFill>
                <a:sym typeface="Wingdings"/>
              </a:rPr>
              <a:t>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54" name="Textfeld 53"/>
          <p:cNvSpPr txBox="1"/>
          <p:nvPr/>
        </p:nvSpPr>
        <p:spPr>
          <a:xfrm>
            <a:off x="5057150" y="5351318"/>
            <a:ext cx="344966" cy="307777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r>
              <a:rPr lang="de-DE" sz="1400" dirty="0" smtClean="0">
                <a:solidFill>
                  <a:schemeClr val="tx1"/>
                </a:solidFill>
                <a:sym typeface="Wingdings"/>
              </a:rPr>
              <a:t>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55" name="Textfeld 54"/>
          <p:cNvSpPr txBox="1"/>
          <p:nvPr/>
        </p:nvSpPr>
        <p:spPr>
          <a:xfrm>
            <a:off x="6300865" y="5357841"/>
            <a:ext cx="344966" cy="307777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r>
              <a:rPr lang="de-DE" sz="1400" dirty="0" smtClean="0">
                <a:solidFill>
                  <a:schemeClr val="tx1"/>
                </a:solidFill>
                <a:sym typeface="Wingdings"/>
              </a:rPr>
              <a:t>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56" name="Textfeld 55"/>
          <p:cNvSpPr txBox="1"/>
          <p:nvPr/>
        </p:nvSpPr>
        <p:spPr>
          <a:xfrm>
            <a:off x="7531584" y="5357841"/>
            <a:ext cx="344966" cy="307777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r>
              <a:rPr lang="de-DE" sz="1400" dirty="0" smtClean="0">
                <a:solidFill>
                  <a:schemeClr val="tx1"/>
                </a:solidFill>
                <a:sym typeface="Wingdings"/>
              </a:rPr>
              <a:t>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58" name="Textfeld 57"/>
          <p:cNvSpPr txBox="1"/>
          <p:nvPr/>
        </p:nvSpPr>
        <p:spPr>
          <a:xfrm>
            <a:off x="5057059" y="5862233"/>
            <a:ext cx="344966" cy="307777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r>
              <a:rPr lang="de-DE" sz="1400" dirty="0" smtClean="0">
                <a:solidFill>
                  <a:schemeClr val="tx1"/>
                </a:solidFill>
                <a:sym typeface="Wingdings"/>
              </a:rPr>
              <a:t>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59" name="Textfeld 58"/>
          <p:cNvSpPr txBox="1"/>
          <p:nvPr/>
        </p:nvSpPr>
        <p:spPr>
          <a:xfrm>
            <a:off x="6300774" y="5868756"/>
            <a:ext cx="344966" cy="307777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r>
              <a:rPr lang="de-DE" sz="1400" dirty="0" smtClean="0">
                <a:solidFill>
                  <a:schemeClr val="tx1"/>
                </a:solidFill>
                <a:sym typeface="Wingdings"/>
              </a:rPr>
              <a:t>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60" name="Textfeld 59"/>
          <p:cNvSpPr txBox="1"/>
          <p:nvPr/>
        </p:nvSpPr>
        <p:spPr>
          <a:xfrm>
            <a:off x="7531493" y="5868756"/>
            <a:ext cx="344966" cy="307777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r>
              <a:rPr lang="de-DE" sz="1400" dirty="0" smtClean="0">
                <a:solidFill>
                  <a:schemeClr val="tx1"/>
                </a:solidFill>
                <a:sym typeface="Wingdings"/>
              </a:rPr>
              <a:t>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62" name="Textfeld 61"/>
          <p:cNvSpPr txBox="1"/>
          <p:nvPr/>
        </p:nvSpPr>
        <p:spPr>
          <a:xfrm>
            <a:off x="5057059" y="6284212"/>
            <a:ext cx="344966" cy="307777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r>
              <a:rPr lang="de-DE" sz="1400" dirty="0" smtClean="0">
                <a:solidFill>
                  <a:schemeClr val="tx1"/>
                </a:solidFill>
                <a:sym typeface="Wingdings"/>
              </a:rPr>
              <a:t>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63" name="Textfeld 62"/>
          <p:cNvSpPr txBox="1"/>
          <p:nvPr/>
        </p:nvSpPr>
        <p:spPr>
          <a:xfrm>
            <a:off x="6300774" y="6290735"/>
            <a:ext cx="344966" cy="307777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r>
              <a:rPr lang="de-DE" sz="1400" dirty="0" smtClean="0">
                <a:solidFill>
                  <a:schemeClr val="tx1"/>
                </a:solidFill>
                <a:sym typeface="Wingdings"/>
              </a:rPr>
              <a:t>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64" name="Textfeld 63"/>
          <p:cNvSpPr txBox="1"/>
          <p:nvPr/>
        </p:nvSpPr>
        <p:spPr>
          <a:xfrm>
            <a:off x="7531493" y="6290735"/>
            <a:ext cx="344966" cy="307777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r>
              <a:rPr lang="de-DE" sz="1400" dirty="0" smtClean="0">
                <a:solidFill>
                  <a:schemeClr val="tx1"/>
                </a:solidFill>
                <a:sym typeface="Wingdings"/>
              </a:rPr>
              <a:t>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grpSp>
        <p:nvGrpSpPr>
          <p:cNvPr id="38" name="Gruppieren 37"/>
          <p:cNvGrpSpPr/>
          <p:nvPr/>
        </p:nvGrpSpPr>
        <p:grpSpPr>
          <a:xfrm>
            <a:off x="5441620" y="6412383"/>
            <a:ext cx="466794" cy="523220"/>
            <a:chOff x="9525000" y="4140226"/>
            <a:chExt cx="466794" cy="523220"/>
          </a:xfrm>
        </p:grpSpPr>
        <p:sp>
          <p:nvSpPr>
            <p:cNvPr id="39" name="Textfeld 38"/>
            <p:cNvSpPr txBox="1"/>
            <p:nvPr/>
          </p:nvSpPr>
          <p:spPr>
            <a:xfrm>
              <a:off x="9525000" y="4270462"/>
              <a:ext cx="344966" cy="307777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rtlCol="0">
              <a:spAutoFit/>
            </a:bodyPr>
            <a:lstStyle/>
            <a:p>
              <a:r>
                <a:rPr lang="de-DE" sz="1400" dirty="0" smtClean="0">
                  <a:solidFill>
                    <a:schemeClr val="tx1"/>
                  </a:solidFill>
                  <a:sym typeface="Wingdings"/>
                </a:rPr>
                <a:t></a:t>
              </a:r>
              <a:endParaRPr lang="de-DE" sz="14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40" name="Rechteck 39"/>
            <p:cNvSpPr/>
            <p:nvPr/>
          </p:nvSpPr>
          <p:spPr>
            <a:xfrm>
              <a:off x="9525000" y="4140226"/>
              <a:ext cx="466794" cy="523220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>
              <a:spAutoFit/>
            </a:bodyPr>
            <a:lstStyle/>
            <a:p>
              <a:r>
                <a:rPr lang="de-DE" sz="2800" b="0" dirty="0">
                  <a:solidFill>
                    <a:srgbClr val="00B0F0"/>
                  </a:solidFill>
                  <a:sym typeface="Wingdings"/>
                </a:rPr>
                <a:t></a:t>
              </a:r>
              <a:endParaRPr lang="de-DE" sz="2800" b="0" dirty="0">
                <a:solidFill>
                  <a:srgbClr val="00B0F0"/>
                </a:solidFill>
              </a:endParaRPr>
            </a:p>
          </p:txBody>
        </p:sp>
      </p:grpSp>
      <p:sp>
        <p:nvSpPr>
          <p:cNvPr id="41" name="Freeform 29"/>
          <p:cNvSpPr>
            <a:spLocks/>
          </p:cNvSpPr>
          <p:nvPr/>
        </p:nvSpPr>
        <p:spPr bwMode="gray">
          <a:xfrm rot="349485">
            <a:off x="6882850" y="6605706"/>
            <a:ext cx="228356" cy="161306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CC0000"/>
          </a:solidFill>
          <a:ln w="6350">
            <a:solidFill>
              <a:srgbClr val="CC0000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de-DE" u="sng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42" name="Rechteck 41"/>
          <p:cNvSpPr/>
          <p:nvPr/>
        </p:nvSpPr>
        <p:spPr>
          <a:xfrm>
            <a:off x="5026102" y="6579078"/>
            <a:ext cx="572593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defTabSz="457200" fontAlgn="b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1F497D"/>
                </a:solidFill>
                <a:latin typeface="Arial"/>
                <a:ea typeface="ＭＳ Ｐゴシック"/>
              </a:rPr>
              <a:t>Agreed:</a:t>
            </a:r>
            <a:endParaRPr lang="en-US" sz="800" dirty="0">
              <a:solidFill>
                <a:srgbClr val="1F497D"/>
              </a:solidFill>
              <a:latin typeface="Arial"/>
              <a:ea typeface="ＭＳ Ｐゴシック"/>
            </a:endParaRPr>
          </a:p>
        </p:txBody>
      </p:sp>
      <p:sp>
        <p:nvSpPr>
          <p:cNvPr id="43" name="Rechteck 42"/>
          <p:cNvSpPr/>
          <p:nvPr/>
        </p:nvSpPr>
        <p:spPr>
          <a:xfrm>
            <a:off x="6034595" y="6579085"/>
            <a:ext cx="89960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defTabSz="457200" fontAlgn="b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1F497D"/>
                </a:solidFill>
                <a:latin typeface="Arial"/>
                <a:ea typeface="ＭＳ Ｐゴシック"/>
              </a:rPr>
              <a:t>Under Review:</a:t>
            </a:r>
            <a:endParaRPr lang="en-US" sz="800" dirty="0">
              <a:solidFill>
                <a:srgbClr val="1F497D"/>
              </a:solidFill>
              <a:latin typeface="Arial"/>
              <a:ea typeface="ＭＳ Ｐゴシック"/>
            </a:endParaRPr>
          </a:p>
        </p:txBody>
      </p:sp>
      <p:sp>
        <p:nvSpPr>
          <p:cNvPr id="44" name="Pfeil nach rechts 43"/>
          <p:cNvSpPr/>
          <p:nvPr/>
        </p:nvSpPr>
        <p:spPr>
          <a:xfrm rot="10800000">
            <a:off x="6324600" y="2115367"/>
            <a:ext cx="837601" cy="251402"/>
          </a:xfrm>
          <a:prstGeom prst="rightArrow">
            <a:avLst>
              <a:gd name="adj1" fmla="val 58411"/>
              <a:gd name="adj2" fmla="val 55011"/>
            </a:avLst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65000"/>
                </a:schemeClr>
              </a:gs>
            </a:gsLst>
            <a:lin ang="0" scaled="1"/>
            <a:tileRect/>
          </a:gradFill>
          <a:ln w="762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Font typeface="Wingdings" pitchFamily="2" charset="2"/>
              <a:buNone/>
            </a:pPr>
            <a:endParaRPr lang="de-DE" sz="1400" dirty="0" err="1" smtClean="0">
              <a:solidFill>
                <a:schemeClr val="tx1">
                  <a:lumMod val="95000"/>
                  <a:lumOff val="5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45" name="Textfeld 44"/>
          <p:cNvSpPr txBox="1"/>
          <p:nvPr/>
        </p:nvSpPr>
        <p:spPr>
          <a:xfrm>
            <a:off x="6781800" y="2113351"/>
            <a:ext cx="69762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 smtClean="0"/>
              <a:t>Level 1</a:t>
            </a:r>
          </a:p>
        </p:txBody>
      </p:sp>
      <p:sp>
        <p:nvSpPr>
          <p:cNvPr id="66" name="Pfeil nach rechts 65"/>
          <p:cNvSpPr/>
          <p:nvPr/>
        </p:nvSpPr>
        <p:spPr>
          <a:xfrm rot="10800000">
            <a:off x="5049703" y="2112228"/>
            <a:ext cx="837601" cy="251402"/>
          </a:xfrm>
          <a:prstGeom prst="rightArrow">
            <a:avLst>
              <a:gd name="adj1" fmla="val 58411"/>
              <a:gd name="adj2" fmla="val 55011"/>
            </a:avLst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65000"/>
                </a:schemeClr>
              </a:gs>
            </a:gsLst>
            <a:lin ang="0" scaled="1"/>
            <a:tileRect/>
          </a:gradFill>
          <a:ln w="762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Font typeface="Wingdings" pitchFamily="2" charset="2"/>
              <a:buNone/>
            </a:pPr>
            <a:endParaRPr lang="de-DE" sz="1400" dirty="0" err="1" smtClean="0">
              <a:solidFill>
                <a:schemeClr val="tx1">
                  <a:lumMod val="95000"/>
                  <a:lumOff val="5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67" name="Textfeld 66"/>
          <p:cNvSpPr txBox="1"/>
          <p:nvPr/>
        </p:nvSpPr>
        <p:spPr>
          <a:xfrm>
            <a:off x="5595561" y="2112850"/>
            <a:ext cx="69762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 smtClean="0"/>
              <a:t>Level 2</a:t>
            </a:r>
          </a:p>
        </p:txBody>
      </p:sp>
      <p:sp>
        <p:nvSpPr>
          <p:cNvPr id="68" name="Pfeil nach rechts 67"/>
          <p:cNvSpPr/>
          <p:nvPr/>
        </p:nvSpPr>
        <p:spPr>
          <a:xfrm rot="10800000">
            <a:off x="4114659" y="2117301"/>
            <a:ext cx="781188" cy="241769"/>
          </a:xfrm>
          <a:prstGeom prst="rightArrow">
            <a:avLst>
              <a:gd name="adj1" fmla="val 100000"/>
              <a:gd name="adj2" fmla="val 0"/>
            </a:avLst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65000"/>
                </a:schemeClr>
              </a:gs>
            </a:gsLst>
            <a:lin ang="0" scaled="1"/>
            <a:tileRect/>
          </a:gradFill>
          <a:ln w="762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Font typeface="Wingdings" pitchFamily="2" charset="2"/>
              <a:buNone/>
            </a:pPr>
            <a:endParaRPr lang="de-DE" sz="1400" dirty="0" err="1" smtClean="0">
              <a:solidFill>
                <a:schemeClr val="tx1">
                  <a:lumMod val="95000"/>
                  <a:lumOff val="5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69" name="Textfeld 68"/>
          <p:cNvSpPr txBox="1"/>
          <p:nvPr/>
        </p:nvSpPr>
        <p:spPr>
          <a:xfrm>
            <a:off x="4334294" y="2110977"/>
            <a:ext cx="69762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 smtClean="0"/>
              <a:t>Level 3</a:t>
            </a:r>
          </a:p>
        </p:txBody>
      </p:sp>
      <p:sp>
        <p:nvSpPr>
          <p:cNvPr id="70" name="Textfeld 69"/>
          <p:cNvSpPr txBox="1"/>
          <p:nvPr/>
        </p:nvSpPr>
        <p:spPr>
          <a:xfrm>
            <a:off x="2374242" y="2110332"/>
            <a:ext cx="175721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/>
              <a:t>Levels of Negotiation:</a:t>
            </a:r>
          </a:p>
        </p:txBody>
      </p:sp>
      <p:sp>
        <p:nvSpPr>
          <p:cNvPr id="71" name="Pfeil nach rechts 70"/>
          <p:cNvSpPr/>
          <p:nvPr/>
        </p:nvSpPr>
        <p:spPr>
          <a:xfrm rot="10800000">
            <a:off x="7544399" y="2117301"/>
            <a:ext cx="837601" cy="251402"/>
          </a:xfrm>
          <a:prstGeom prst="rightArrow">
            <a:avLst>
              <a:gd name="adj1" fmla="val 58411"/>
              <a:gd name="adj2" fmla="val 55011"/>
            </a:avLst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65000"/>
                </a:schemeClr>
              </a:gs>
            </a:gsLst>
            <a:lin ang="0" scaled="1"/>
            <a:tileRect/>
          </a:gradFill>
          <a:ln w="762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Font typeface="Wingdings" pitchFamily="2" charset="2"/>
              <a:buNone/>
            </a:pPr>
            <a:endParaRPr lang="de-DE" sz="1400" dirty="0" err="1" smtClean="0">
              <a:solidFill>
                <a:schemeClr val="tx1">
                  <a:lumMod val="95000"/>
                  <a:lumOff val="5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72" name="Textfeld 71"/>
          <p:cNvSpPr txBox="1"/>
          <p:nvPr/>
        </p:nvSpPr>
        <p:spPr>
          <a:xfrm>
            <a:off x="5063068" y="4484807"/>
            <a:ext cx="344966" cy="307777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r>
              <a:rPr lang="de-DE" sz="1400" dirty="0" smtClean="0">
                <a:solidFill>
                  <a:schemeClr val="tx1"/>
                </a:solidFill>
                <a:sym typeface="Wingdings"/>
              </a:rPr>
              <a:t>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73" name="Textfeld 72"/>
          <p:cNvSpPr txBox="1"/>
          <p:nvPr/>
        </p:nvSpPr>
        <p:spPr>
          <a:xfrm>
            <a:off x="6297258" y="4491330"/>
            <a:ext cx="344966" cy="307777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r>
              <a:rPr lang="de-DE" sz="1400" dirty="0" smtClean="0">
                <a:solidFill>
                  <a:schemeClr val="tx1"/>
                </a:solidFill>
                <a:sym typeface="Wingdings"/>
              </a:rPr>
              <a:t>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74" name="Textfeld 73"/>
          <p:cNvSpPr txBox="1"/>
          <p:nvPr/>
        </p:nvSpPr>
        <p:spPr>
          <a:xfrm>
            <a:off x="7527977" y="4491330"/>
            <a:ext cx="344966" cy="307777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r>
              <a:rPr lang="de-DE" sz="1400" dirty="0" smtClean="0">
                <a:solidFill>
                  <a:schemeClr val="tx1"/>
                </a:solidFill>
                <a:sym typeface="Wingdings"/>
              </a:rPr>
              <a:t>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6292811" y="2836441"/>
            <a:ext cx="466794" cy="52322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>
            <a:spAutoFit/>
          </a:bodyPr>
          <a:lstStyle/>
          <a:p>
            <a:r>
              <a:rPr lang="de-DE" sz="2800" b="0" dirty="0">
                <a:solidFill>
                  <a:srgbClr val="00B0F0"/>
                </a:solidFill>
                <a:sym typeface="Wingdings"/>
              </a:rPr>
              <a:t></a:t>
            </a:r>
            <a:endParaRPr lang="de-DE" sz="2800" b="0" dirty="0">
              <a:solidFill>
                <a:srgbClr val="00B0F0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7527913" y="2828420"/>
            <a:ext cx="466794" cy="52322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>
            <a:spAutoFit/>
          </a:bodyPr>
          <a:lstStyle/>
          <a:p>
            <a:r>
              <a:rPr lang="de-DE" sz="2800" b="0" dirty="0">
                <a:solidFill>
                  <a:srgbClr val="00B0F0"/>
                </a:solidFill>
                <a:sym typeface="Wingdings"/>
              </a:rPr>
              <a:t></a:t>
            </a:r>
            <a:endParaRPr lang="de-DE" sz="2800" b="0" dirty="0">
              <a:solidFill>
                <a:srgbClr val="00B0F0"/>
              </a:solidFill>
            </a:endParaRPr>
          </a:p>
        </p:txBody>
      </p:sp>
      <p:sp>
        <p:nvSpPr>
          <p:cNvPr id="78" name="Rechteck 77"/>
          <p:cNvSpPr/>
          <p:nvPr/>
        </p:nvSpPr>
        <p:spPr>
          <a:xfrm>
            <a:off x="5056268" y="2845249"/>
            <a:ext cx="466794" cy="52322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>
            <a:spAutoFit/>
          </a:bodyPr>
          <a:lstStyle/>
          <a:p>
            <a:r>
              <a:rPr lang="de-DE" sz="2800" b="0" dirty="0">
                <a:solidFill>
                  <a:srgbClr val="00B0F0"/>
                </a:solidFill>
                <a:sym typeface="Wingdings"/>
              </a:rPr>
              <a:t></a:t>
            </a:r>
            <a:endParaRPr lang="de-DE" sz="2800" b="0" dirty="0">
              <a:solidFill>
                <a:srgbClr val="00B0F0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6274928" y="3699489"/>
            <a:ext cx="466794" cy="52322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>
            <a:spAutoFit/>
          </a:bodyPr>
          <a:lstStyle/>
          <a:p>
            <a:r>
              <a:rPr lang="de-DE" sz="2800" b="0" dirty="0">
                <a:solidFill>
                  <a:srgbClr val="00B0F0"/>
                </a:solidFill>
                <a:sym typeface="Wingdings"/>
              </a:rPr>
              <a:t></a:t>
            </a:r>
            <a:endParaRPr lang="de-DE" sz="2800" b="0" dirty="0">
              <a:solidFill>
                <a:srgbClr val="00B0F0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7525528" y="3706966"/>
            <a:ext cx="466794" cy="52322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>
            <a:spAutoFit/>
          </a:bodyPr>
          <a:lstStyle/>
          <a:p>
            <a:r>
              <a:rPr lang="de-DE" sz="2800" b="0" dirty="0">
                <a:solidFill>
                  <a:srgbClr val="00B0F0"/>
                </a:solidFill>
                <a:sym typeface="Wingdings"/>
              </a:rPr>
              <a:t></a:t>
            </a:r>
            <a:endParaRPr lang="de-DE" sz="2800" b="0" dirty="0">
              <a:solidFill>
                <a:srgbClr val="00B0F0"/>
              </a:solidFill>
            </a:endParaRPr>
          </a:p>
        </p:txBody>
      </p:sp>
      <p:sp>
        <p:nvSpPr>
          <p:cNvPr id="82" name="Rechteck 81"/>
          <p:cNvSpPr/>
          <p:nvPr/>
        </p:nvSpPr>
        <p:spPr>
          <a:xfrm>
            <a:off x="5046134" y="3701266"/>
            <a:ext cx="466794" cy="52322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>
            <a:spAutoFit/>
          </a:bodyPr>
          <a:lstStyle/>
          <a:p>
            <a:r>
              <a:rPr lang="de-DE" sz="2800" b="0" dirty="0">
                <a:solidFill>
                  <a:srgbClr val="00B0F0"/>
                </a:solidFill>
                <a:sym typeface="Wingdings"/>
              </a:rPr>
              <a:t></a:t>
            </a:r>
            <a:endParaRPr lang="de-DE" sz="2800" b="0" dirty="0">
              <a:solidFill>
                <a:srgbClr val="00B0F0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6291862" y="4326041"/>
            <a:ext cx="466794" cy="52322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>
            <a:spAutoFit/>
          </a:bodyPr>
          <a:lstStyle/>
          <a:p>
            <a:r>
              <a:rPr lang="de-DE" sz="2800" b="0" dirty="0">
                <a:solidFill>
                  <a:srgbClr val="00B0F0"/>
                </a:solidFill>
                <a:sym typeface="Wingdings"/>
              </a:rPr>
              <a:t></a:t>
            </a:r>
            <a:endParaRPr lang="de-DE" sz="2800" b="0" dirty="0">
              <a:solidFill>
                <a:srgbClr val="00B0F0"/>
              </a:solidFill>
            </a:endParaRPr>
          </a:p>
        </p:txBody>
      </p:sp>
      <p:sp>
        <p:nvSpPr>
          <p:cNvPr id="84" name="Rechteck 83"/>
          <p:cNvSpPr/>
          <p:nvPr/>
        </p:nvSpPr>
        <p:spPr>
          <a:xfrm>
            <a:off x="7526964" y="4333518"/>
            <a:ext cx="466794" cy="52322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>
            <a:spAutoFit/>
          </a:bodyPr>
          <a:lstStyle/>
          <a:p>
            <a:r>
              <a:rPr lang="de-DE" sz="2800" b="0" dirty="0">
                <a:solidFill>
                  <a:srgbClr val="00B0F0"/>
                </a:solidFill>
                <a:sym typeface="Wingdings"/>
              </a:rPr>
              <a:t></a:t>
            </a:r>
            <a:endParaRPr lang="de-DE" sz="2800" b="0" dirty="0">
              <a:solidFill>
                <a:srgbClr val="00B0F0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5063068" y="4319351"/>
            <a:ext cx="466794" cy="52322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>
            <a:spAutoFit/>
          </a:bodyPr>
          <a:lstStyle/>
          <a:p>
            <a:r>
              <a:rPr lang="de-DE" sz="2800" b="0" dirty="0">
                <a:solidFill>
                  <a:srgbClr val="00B0F0"/>
                </a:solidFill>
                <a:sym typeface="Wingdings"/>
              </a:rPr>
              <a:t></a:t>
            </a:r>
            <a:endParaRPr lang="de-DE" sz="2800" b="0" dirty="0">
              <a:solidFill>
                <a:srgbClr val="00B0F0"/>
              </a:solidFill>
            </a:endParaRPr>
          </a:p>
        </p:txBody>
      </p:sp>
      <p:sp>
        <p:nvSpPr>
          <p:cNvPr id="86" name="Rechteck 85"/>
          <p:cNvSpPr/>
          <p:nvPr/>
        </p:nvSpPr>
        <p:spPr>
          <a:xfrm>
            <a:off x="6283395" y="5198091"/>
            <a:ext cx="466794" cy="52322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>
            <a:spAutoFit/>
          </a:bodyPr>
          <a:lstStyle/>
          <a:p>
            <a:r>
              <a:rPr lang="de-DE" sz="2800" b="0" dirty="0">
                <a:solidFill>
                  <a:srgbClr val="00B0F0"/>
                </a:solidFill>
                <a:sym typeface="Wingdings"/>
              </a:rPr>
              <a:t></a:t>
            </a:r>
            <a:endParaRPr lang="de-DE" sz="2800" b="0" dirty="0">
              <a:solidFill>
                <a:srgbClr val="00B0F0"/>
              </a:solidFill>
            </a:endParaRPr>
          </a:p>
        </p:txBody>
      </p:sp>
      <p:sp>
        <p:nvSpPr>
          <p:cNvPr id="87" name="Rechteck 86"/>
          <p:cNvSpPr/>
          <p:nvPr/>
        </p:nvSpPr>
        <p:spPr>
          <a:xfrm>
            <a:off x="7518497" y="5190070"/>
            <a:ext cx="466794" cy="52322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>
            <a:spAutoFit/>
          </a:bodyPr>
          <a:lstStyle/>
          <a:p>
            <a:r>
              <a:rPr lang="de-DE" sz="2800" b="0" dirty="0">
                <a:solidFill>
                  <a:srgbClr val="00B0F0"/>
                </a:solidFill>
                <a:sym typeface="Wingdings"/>
              </a:rPr>
              <a:t></a:t>
            </a:r>
            <a:endParaRPr lang="de-DE" sz="2800" b="0" dirty="0">
              <a:solidFill>
                <a:srgbClr val="00B0F0"/>
              </a:solidFill>
            </a:endParaRPr>
          </a:p>
        </p:txBody>
      </p:sp>
      <p:sp>
        <p:nvSpPr>
          <p:cNvPr id="88" name="Rechteck 87"/>
          <p:cNvSpPr/>
          <p:nvPr/>
        </p:nvSpPr>
        <p:spPr>
          <a:xfrm>
            <a:off x="5054601" y="5191401"/>
            <a:ext cx="466794" cy="52322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>
            <a:spAutoFit/>
          </a:bodyPr>
          <a:lstStyle/>
          <a:p>
            <a:r>
              <a:rPr lang="de-DE" sz="2800" b="0" dirty="0">
                <a:solidFill>
                  <a:srgbClr val="00B0F0"/>
                </a:solidFill>
                <a:sym typeface="Wingdings"/>
              </a:rPr>
              <a:t></a:t>
            </a:r>
            <a:endParaRPr lang="de-DE" sz="2800" b="0" dirty="0">
              <a:solidFill>
                <a:srgbClr val="00B0F0"/>
              </a:solidFill>
            </a:endParaRPr>
          </a:p>
        </p:txBody>
      </p:sp>
      <p:sp>
        <p:nvSpPr>
          <p:cNvPr id="89" name="Rechteck 88"/>
          <p:cNvSpPr/>
          <p:nvPr/>
        </p:nvSpPr>
        <p:spPr>
          <a:xfrm>
            <a:off x="6291862" y="5723039"/>
            <a:ext cx="466794" cy="52322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>
            <a:spAutoFit/>
          </a:bodyPr>
          <a:lstStyle/>
          <a:p>
            <a:r>
              <a:rPr lang="de-DE" sz="2800" b="0" dirty="0">
                <a:solidFill>
                  <a:srgbClr val="00B0F0"/>
                </a:solidFill>
                <a:sym typeface="Wingdings"/>
              </a:rPr>
              <a:t></a:t>
            </a:r>
            <a:endParaRPr lang="de-DE" sz="2800" b="0" dirty="0">
              <a:solidFill>
                <a:srgbClr val="00B0F0"/>
              </a:solidFill>
            </a:endParaRPr>
          </a:p>
        </p:txBody>
      </p:sp>
      <p:sp>
        <p:nvSpPr>
          <p:cNvPr id="90" name="Rechteck 89"/>
          <p:cNvSpPr/>
          <p:nvPr/>
        </p:nvSpPr>
        <p:spPr>
          <a:xfrm>
            <a:off x="7526964" y="5715018"/>
            <a:ext cx="466794" cy="52322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>
            <a:spAutoFit/>
          </a:bodyPr>
          <a:lstStyle/>
          <a:p>
            <a:r>
              <a:rPr lang="de-DE" sz="2800" b="0" dirty="0">
                <a:solidFill>
                  <a:srgbClr val="00B0F0"/>
                </a:solidFill>
                <a:sym typeface="Wingdings"/>
              </a:rPr>
              <a:t></a:t>
            </a:r>
            <a:endParaRPr lang="de-DE" sz="2800" b="0" dirty="0">
              <a:solidFill>
                <a:srgbClr val="00B0F0"/>
              </a:solidFill>
            </a:endParaRPr>
          </a:p>
        </p:txBody>
      </p:sp>
      <p:sp>
        <p:nvSpPr>
          <p:cNvPr id="91" name="Rechteck 90"/>
          <p:cNvSpPr/>
          <p:nvPr/>
        </p:nvSpPr>
        <p:spPr>
          <a:xfrm>
            <a:off x="5063068" y="5716349"/>
            <a:ext cx="466794" cy="52322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>
            <a:spAutoFit/>
          </a:bodyPr>
          <a:lstStyle/>
          <a:p>
            <a:r>
              <a:rPr lang="de-DE" sz="2800" b="0" dirty="0">
                <a:solidFill>
                  <a:srgbClr val="00B0F0"/>
                </a:solidFill>
                <a:sym typeface="Wingdings"/>
              </a:rPr>
              <a:t></a:t>
            </a:r>
            <a:endParaRPr lang="de-DE" sz="2800" b="0" dirty="0">
              <a:solidFill>
                <a:srgbClr val="00B0F0"/>
              </a:solidFill>
            </a:endParaRPr>
          </a:p>
        </p:txBody>
      </p:sp>
      <p:sp>
        <p:nvSpPr>
          <p:cNvPr id="92" name="Rechteck 91"/>
          <p:cNvSpPr/>
          <p:nvPr/>
        </p:nvSpPr>
        <p:spPr>
          <a:xfrm>
            <a:off x="6291862" y="6137916"/>
            <a:ext cx="466794" cy="52322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>
            <a:spAutoFit/>
          </a:bodyPr>
          <a:lstStyle/>
          <a:p>
            <a:r>
              <a:rPr lang="de-DE" sz="2800" b="0" dirty="0">
                <a:solidFill>
                  <a:srgbClr val="00B0F0"/>
                </a:solidFill>
                <a:sym typeface="Wingdings"/>
              </a:rPr>
              <a:t></a:t>
            </a:r>
            <a:endParaRPr lang="de-DE" sz="2800" b="0" dirty="0">
              <a:solidFill>
                <a:srgbClr val="00B0F0"/>
              </a:solidFill>
            </a:endParaRPr>
          </a:p>
        </p:txBody>
      </p:sp>
      <p:sp>
        <p:nvSpPr>
          <p:cNvPr id="93" name="Rechteck 92"/>
          <p:cNvSpPr/>
          <p:nvPr/>
        </p:nvSpPr>
        <p:spPr>
          <a:xfrm>
            <a:off x="7526964" y="6145393"/>
            <a:ext cx="466794" cy="52322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>
            <a:spAutoFit/>
          </a:bodyPr>
          <a:lstStyle/>
          <a:p>
            <a:r>
              <a:rPr lang="de-DE" sz="2800" b="0" dirty="0">
                <a:solidFill>
                  <a:srgbClr val="00B0F0"/>
                </a:solidFill>
                <a:sym typeface="Wingdings"/>
              </a:rPr>
              <a:t></a:t>
            </a:r>
            <a:endParaRPr lang="de-DE" sz="2800" b="0" dirty="0">
              <a:solidFill>
                <a:srgbClr val="00B0F0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5063068" y="6131226"/>
            <a:ext cx="466794" cy="52322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>
            <a:spAutoFit/>
          </a:bodyPr>
          <a:lstStyle/>
          <a:p>
            <a:r>
              <a:rPr lang="de-DE" sz="2800" b="0" dirty="0">
                <a:solidFill>
                  <a:srgbClr val="00B0F0"/>
                </a:solidFill>
                <a:sym typeface="Wingdings"/>
              </a:rPr>
              <a:t></a:t>
            </a:r>
            <a:endParaRPr lang="de-DE" sz="2800" b="0" dirty="0">
              <a:solidFill>
                <a:srgbClr val="00B0F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36108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/>
        </p:nvSpPr>
        <p:spPr bwMode="auto">
          <a:xfrm>
            <a:off x="609600" y="1297168"/>
            <a:ext cx="8153399" cy="5484632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180000" tIns="144000" rIns="91440" bIns="45720" numCol="1" rtlCol="0" anchor="t" anchorCtr="0" compatLnSpc="1">
            <a:prstTxWarp prst="textNoShape">
              <a:avLst/>
            </a:prstTxWarp>
          </a:bodyPr>
          <a:lstStyle/>
          <a:p>
            <a:pPr marL="285750" lvl="1" indent="-285750"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Wingdings" panose="05000000000000000000" pitchFamily="2" charset="2"/>
              <a:buChar char="§"/>
            </a:pPr>
            <a:endParaRPr lang="en-US" sz="100" b="0" dirty="0" smtClean="0"/>
          </a:p>
          <a:p>
            <a:pPr marL="285750" lvl="1" indent="-285750"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b="0" dirty="0"/>
              <a:t>Feedback of </a:t>
            </a:r>
            <a:r>
              <a:rPr lang="en-US" sz="1400" dirty="0" smtClean="0"/>
              <a:t>10</a:t>
            </a:r>
            <a:r>
              <a:rPr lang="en-US" sz="1400" b="0" dirty="0" smtClean="0"/>
              <a:t> </a:t>
            </a:r>
            <a:r>
              <a:rPr lang="en-US" sz="1400" b="0" dirty="0"/>
              <a:t>Manufacturer</a:t>
            </a:r>
          </a:p>
          <a:p>
            <a:pPr marL="742950" lvl="1" indent="-285750">
              <a:spcAft>
                <a:spcPts val="600"/>
              </a:spcAft>
              <a:buClr>
                <a:schemeClr val="bg1">
                  <a:lumMod val="65000"/>
                </a:schemeClr>
              </a:buClr>
              <a:buFontTx/>
              <a:buChar char="-"/>
            </a:pPr>
            <a:endParaRPr lang="en-US" sz="1400" b="0" dirty="0"/>
          </a:p>
        </p:txBody>
      </p:sp>
      <p:sp>
        <p:nvSpPr>
          <p:cNvPr id="16" name="Rechteck 15"/>
          <p:cNvSpPr/>
          <p:nvPr/>
        </p:nvSpPr>
        <p:spPr bwMode="auto">
          <a:xfrm>
            <a:off x="381000" y="1542650"/>
            <a:ext cx="8577731" cy="503869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3200" b="1" i="0" u="none" strike="noStrike" cap="none" normalizeH="0" baseline="0">
              <a:ln>
                <a:noFill/>
              </a:ln>
              <a:solidFill>
                <a:srgbClr val="336699"/>
              </a:solidFill>
              <a:effectLst/>
              <a:latin typeface="Verdana" charset="0"/>
              <a:ea typeface="ＭＳ Ｐゴシック" charset="0"/>
              <a:cs typeface="Arial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Decision Template </a:t>
            </a:r>
            <a:br>
              <a:rPr lang="en-US" sz="2400" dirty="0"/>
            </a:br>
            <a:r>
              <a:rPr lang="en-US" sz="2400" dirty="0"/>
              <a:t>"</a:t>
            </a:r>
            <a:r>
              <a:rPr lang="en-US" sz="2400" dirty="0" smtClean="0"/>
              <a:t>Negotiationparameter</a:t>
            </a:r>
            <a:r>
              <a:rPr lang="en-US" sz="2400" dirty="0"/>
              <a:t>” </a:t>
            </a:r>
            <a:r>
              <a:rPr lang="en-US" sz="2400" dirty="0" smtClean="0"/>
              <a:t>(5/5</a:t>
            </a:r>
            <a:r>
              <a:rPr lang="en-US" sz="2400" dirty="0"/>
              <a:t>)</a:t>
            </a:r>
            <a:endParaRPr lang="en-US" sz="2600" dirty="0"/>
          </a:p>
        </p:txBody>
      </p:sp>
      <p:sp>
        <p:nvSpPr>
          <p:cNvPr id="9" name="Rechteck 8"/>
          <p:cNvSpPr/>
          <p:nvPr/>
        </p:nvSpPr>
        <p:spPr>
          <a:xfrm>
            <a:off x="807719" y="1127892"/>
            <a:ext cx="6278881" cy="338554"/>
          </a:xfrm>
          <a:prstGeom prst="rect">
            <a:avLst/>
          </a:prstGeom>
          <a:solidFill>
            <a:schemeClr val="bg1"/>
          </a:solidFill>
        </p:spPr>
        <p:txBody>
          <a:bodyPr wrap="square" rIns="0">
            <a:spAutoFit/>
          </a:bodyPr>
          <a:lstStyle/>
          <a:p>
            <a:pPr>
              <a:spcAft>
                <a:spcPts val="300"/>
              </a:spcAft>
              <a:buClr>
                <a:schemeClr val="bg1">
                  <a:lumMod val="65000"/>
                </a:schemeClr>
              </a:buClr>
            </a:pPr>
            <a:r>
              <a:rPr lang="en-US" sz="1600" dirty="0" smtClean="0"/>
              <a:t>ACEA-Walk-In-Position </a:t>
            </a:r>
            <a:r>
              <a:rPr lang="en-US" sz="1600" dirty="0"/>
              <a:t>vs. </a:t>
            </a:r>
            <a:r>
              <a:rPr lang="en-US" sz="1600" dirty="0" smtClean="0"/>
              <a:t>EU-COM-Position - Results</a:t>
            </a:r>
            <a:endParaRPr lang="en-US" sz="1600" b="0" dirty="0"/>
          </a:p>
        </p:txBody>
      </p:sp>
      <p:graphicFrame>
        <p:nvGraphicFramePr>
          <p:cNvPr id="4" name="Tabel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3812791"/>
              </p:ext>
            </p:extLst>
          </p:nvPr>
        </p:nvGraphicFramePr>
        <p:xfrm>
          <a:off x="457201" y="1596526"/>
          <a:ext cx="8567999" cy="4978746"/>
        </p:xfrm>
        <a:graphic>
          <a:graphicData uri="http://schemas.openxmlformats.org/drawingml/2006/table">
            <a:tbl>
              <a:tblPr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tblPr>
              <a:tblGrid>
                <a:gridCol w="994499"/>
                <a:gridCol w="1139100"/>
                <a:gridCol w="592583"/>
                <a:gridCol w="855217"/>
                <a:gridCol w="76200"/>
                <a:gridCol w="1219200"/>
                <a:gridCol w="1243201"/>
                <a:gridCol w="1224000"/>
                <a:gridCol w="87792"/>
                <a:gridCol w="1136207"/>
              </a:tblGrid>
              <a:tr h="270261">
                <a:tc gridSpan="4">
                  <a:txBody>
                    <a:bodyPr/>
                    <a:lstStyle/>
                    <a:p>
                      <a:pPr algn="r" fontAlgn="b"/>
                      <a: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ompromises - including political influences:</a:t>
                      </a:r>
                      <a:endParaRPr 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 anchor="b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18632" marR="0" marT="18632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18632" marR="0" marT="18632" marB="0" anchor="b">
                    <a:lnL>
                      <a:noFill/>
                    </a:lnL>
                    <a:lnR>
                      <a:noFill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fontAlgn="b"/>
                      <a:endParaRPr 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 anchor="b">
                    <a:lnL>
                      <a:noFill/>
                    </a:lnL>
                    <a:lnR>
                      <a:noFill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Difference EU COM to </a:t>
                      </a:r>
                      <a:r>
                        <a:rPr lang="pt-BR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1</a:t>
                      </a:r>
                    </a:p>
                    <a:p>
                      <a:pPr algn="l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(close to COM with </a:t>
                      </a:r>
                    </a:p>
                    <a:p>
                      <a:pPr algn="l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important</a:t>
                      </a:r>
                      <a:r>
                        <a:rPr lang="en-US" sz="5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lements</a:t>
                      </a:r>
                      <a:r>
                        <a:rPr lang="en-US" sz="5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of ACEA)</a:t>
                      </a:r>
                      <a:endParaRPr lang="pt-BR" sz="700" b="1" i="0" u="none" strike="noStrike" dirty="0" smtClean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Difference C1 to C2</a:t>
                      </a:r>
                    </a:p>
                  </a:txBody>
                  <a:tcPr marL="18632" marR="0" marT="1863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6FF3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Difference C2 to C3</a:t>
                      </a:r>
                    </a:p>
                  </a:txBody>
                  <a:tcPr marL="18632" marR="0" marT="1863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1" i="0" u="none" strike="noStrike">
                          <a:solidFill>
                            <a:srgbClr val="C00000"/>
                          </a:solidFill>
                          <a:effectLst/>
                          <a:latin typeface="Arial"/>
                        </a:rPr>
                        <a:t>Consolidated Manufacturer Compromise-Position</a:t>
                      </a:r>
                    </a:p>
                  </a:txBody>
                  <a:tcPr marL="18632" marR="0" marT="1863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</a:tr>
              <a:tr h="99999"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endParaRPr lang="en-US" sz="7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8632" marR="0" marT="18632" marB="0" anchor="ctr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700" dirty="0"/>
                    </a:p>
                  </a:txBody>
                  <a:tcPr marL="18632" marR="0" marT="18632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700" dirty="0"/>
                    </a:p>
                  </a:txBody>
                  <a:tcPr marL="18632" marR="0" marT="1863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ew</a:t>
                      </a:r>
                    </a:p>
                  </a:txBody>
                  <a:tcPr marL="18632" marR="0" marT="1863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 anchor="b">
                    <a:lnL>
                      <a:noFill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</a:tr>
              <a:tr h="301690"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endParaRPr lang="en-US" sz="7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8632" marR="0" marT="18632" marB="0" anchor="ctr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800"/>
                    </a:p>
                  </a:txBody>
                  <a:tcPr marL="18632" marR="0" marT="18632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800"/>
                    </a:p>
                  </a:txBody>
                  <a:tcPr marL="18632" marR="0" marT="1863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fontAlgn="b"/>
                      <a:endParaRPr 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>
                      <a:noFill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06745"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Parameter </a:t>
                      </a:r>
                    </a:p>
                  </a:txBody>
                  <a:tcPr marL="18632" marR="0" marT="18632" marB="0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1" i="0" u="none" strike="noStrike" dirty="0">
                          <a:solidFill>
                            <a:srgbClr val="1F497D"/>
                          </a:solidFill>
                          <a:effectLst/>
                          <a:latin typeface="Arial"/>
                        </a:rPr>
                        <a:t>ACEA-Walk-In </a:t>
                      </a:r>
                      <a:endParaRPr lang="en-US" sz="800" b="1" i="0" u="none" strike="noStrike" dirty="0" smtClean="0">
                        <a:solidFill>
                          <a:srgbClr val="1F497D"/>
                        </a:solidFill>
                        <a:effectLst/>
                        <a:latin typeface="Arial"/>
                      </a:endParaRPr>
                    </a:p>
                    <a:p>
                      <a:pPr algn="l" fontAlgn="t"/>
                      <a:r>
                        <a:rPr lang="en-US" sz="800" b="1" i="0" u="none" strike="noStrike" dirty="0" smtClean="0">
                          <a:solidFill>
                            <a:srgbClr val="1F497D"/>
                          </a:solidFill>
                          <a:effectLst/>
                          <a:latin typeface="Arial"/>
                        </a:rPr>
                        <a:t>Position</a:t>
                      </a:r>
                      <a:endParaRPr lang="en-US" sz="800" b="1" i="0" u="none" strike="noStrike" dirty="0">
                        <a:solidFill>
                          <a:srgbClr val="1F497D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800" b="1" i="0" u="none" strike="noStrike" dirty="0">
                          <a:solidFill>
                            <a:srgbClr val="1F497D"/>
                          </a:solidFill>
                          <a:effectLst/>
                          <a:latin typeface="Arial"/>
                        </a:rPr>
                        <a:t>Feedback </a:t>
                      </a:r>
                      <a:r>
                        <a:rPr lang="en-US" sz="700" b="0" i="0" u="none" strike="noStrike" dirty="0">
                          <a:solidFill>
                            <a:srgbClr val="1F497D"/>
                          </a:solidFill>
                          <a:effectLst/>
                          <a:latin typeface="Arial"/>
                        </a:rPr>
                        <a:t>[numbers]</a:t>
                      </a:r>
                      <a:endParaRPr lang="en-US" sz="800" b="1" i="0" u="none" strike="noStrike" dirty="0">
                        <a:solidFill>
                          <a:srgbClr val="1F497D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U-COM-Position 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18632" marR="0" marT="18632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CEA Compromise C1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CEA Compromise C2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CEA Compromise C3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/>
                        </a:rPr>
                        <a:t>Consolidated Manufacturer </a:t>
                      </a:r>
                      <a:br>
                        <a:rPr lang="en-US" sz="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/>
                        </a:rPr>
                      </a:br>
                      <a:r>
                        <a:rPr lang="en-US" sz="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/>
                        </a:rPr>
                        <a:t>Compromise-Position  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</a:tr>
              <a:tr h="99999">
                <a:tc rowSpan="6">
                  <a:txBody>
                    <a:bodyPr/>
                    <a:lstStyle/>
                    <a:p>
                      <a:pPr algn="l" fontAlgn="t"/>
                      <a:r>
                        <a:rPr lang="en-US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cope</a:t>
                      </a:r>
                    </a:p>
                  </a:txBody>
                  <a:tcPr marL="18632" marR="0" marT="18632" marB="0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Gas-PEMS: only Diesel NOx, CO without limit</a:t>
                      </a:r>
                      <a:b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</a:b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5</a:t>
                      </a:r>
                    </a:p>
                  </a:txBody>
                  <a:tcPr marL="18632" marR="0" marT="1863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DCE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Gas-PEMS: NOx, CO without limit</a:t>
                      </a:r>
                      <a:b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</a:b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18632" marR="0" marT="1863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Gas-PEMS: NOx, CO without limit</a:t>
                      </a:r>
                      <a:b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</a:b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Gas-PEMS: NOx, CO without limit</a:t>
                      </a:r>
                      <a:b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</a:b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Gas-PEMS: NOx, CO without limit</a:t>
                      </a:r>
                      <a:b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</a:b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18632" marR="0" marT="1863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Gas-PEMS: Diesel NOx, Diesel and gasoline CO without limit. gasoline NOX w/o limit; Gasoline timing aligned with PN PEMS, PN only Gasoline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DCE"/>
                    </a:solidFill>
                  </a:tcPr>
                </a:tc>
              </a:tr>
              <a:tr h="99999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dirty="0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5</a:t>
                      </a:r>
                    </a:p>
                  </a:txBody>
                  <a:tcPr marL="18632" marR="0" marT="1863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</a:tr>
              <a:tr h="406935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dirty="0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8632" marR="0" marT="1863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6FF33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</a:tr>
              <a:tr h="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PN-RDE: only Otto DI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5</a:t>
                      </a:r>
                    </a:p>
                  </a:txBody>
                  <a:tcPr marL="18632" marR="0" marT="1863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DCE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PN-PEMS: t.b.d.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18632" marR="0" marT="1863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PN-PEMS: 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only Otto DI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PN-PEMS: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only Otto DI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PN-PEMS: only Otto DI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18632" marR="0" marT="1863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PN-RDE: only Otto DI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DCE"/>
                    </a:solidFill>
                  </a:tcPr>
                </a:tc>
              </a:tr>
              <a:tr h="99999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dirty="0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4</a:t>
                      </a:r>
                    </a:p>
                  </a:txBody>
                  <a:tcPr marL="18632" marR="0" marT="1863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</a:tr>
              <a:tr h="99999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dirty="0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1</a:t>
                      </a:r>
                    </a:p>
                  </a:txBody>
                  <a:tcPr marL="18632" marR="0" marT="1863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6FF33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</a:tr>
              <a:tr h="99999">
                <a:tc rowSpan="3">
                  <a:txBody>
                    <a:bodyPr/>
                    <a:lstStyle/>
                    <a:p>
                      <a:pPr algn="l" fontAlgn="t"/>
                      <a:r>
                        <a:rPr lang="en-US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ormalization-Tool</a:t>
                      </a:r>
                    </a:p>
                  </a:txBody>
                  <a:tcPr marL="18632" marR="0" marT="18632" marB="0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 tool,  validation until end of 2015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2</a:t>
                      </a:r>
                    </a:p>
                  </a:txBody>
                  <a:tcPr marL="18632" marR="0" marT="1863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DCE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Both tool still open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18632" marR="0" marT="1863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Both tool still open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Both tool still open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Both tool still open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18632" marR="0" marT="1863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Of course we would want single tool ASAP. We think we need two tools open because validation does not allow selection of tools during 2015.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  <a:tr h="99999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dirty="0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5</a:t>
                      </a:r>
                    </a:p>
                  </a:txBody>
                  <a:tcPr marL="18632" marR="0" marT="1863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</a:tr>
              <a:tr h="325655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dirty="0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3</a:t>
                      </a:r>
                    </a:p>
                  </a:txBody>
                  <a:tcPr marL="18632" marR="0" marT="1863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6FF33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</a:tr>
              <a:tr h="112161">
                <a:tc gridSpan="4"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 dirty="0">
                          <a:solidFill>
                            <a:srgbClr val="B9002D"/>
                          </a:solidFill>
                          <a:effectLst/>
                          <a:latin typeface="Arial"/>
                        </a:rPr>
                        <a:t>Additional Parameters?!</a:t>
                      </a:r>
                    </a:p>
                  </a:txBody>
                  <a:tcPr marL="18632" marR="0" marT="18632" marB="0" anchor="b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US" sz="800" b="1" i="0" u="none" strike="noStrike" dirty="0">
                        <a:solidFill>
                          <a:srgbClr val="C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</a:tr>
              <a:tr h="355392"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erification Test of Equipment</a:t>
                      </a:r>
                    </a:p>
                  </a:txBody>
                  <a:tcPr marL="18632" marR="0" marT="18632" marB="0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equired as Pre-Test</a:t>
                      </a:r>
                    </a:p>
                    <a:p>
                      <a:pPr algn="l" fontAlgn="t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DC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ecommended as post-test, if abnormality observed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ecommended as post-test, if abnormality observed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ecommended as post-test, if abnormality observed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ecommended as post-test, if abnormality observed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From procedure point-of-view required (if OBD-is used essential). 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ecessary </a:t>
                      </a: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for </a:t>
                      </a:r>
                      <a:r>
                        <a:rPr lang="en-US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MRoad</a:t>
                      </a: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CO2-curve</a:t>
                      </a:r>
                    </a:p>
                  </a:txBody>
                  <a:tcPr marL="18632" marR="0" marT="18632" marB="0" anchor="b">
                    <a:lnL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DCE"/>
                    </a:solidFill>
                  </a:tcPr>
                </a:tc>
              </a:tr>
              <a:tr h="270261"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sage of OBD-Signals</a:t>
                      </a:r>
                    </a:p>
                  </a:txBody>
                  <a:tcPr marL="18632" marR="0" marT="18632" marB="0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equired (needed e.g. GSI, Pedal Pumping Detection, Mass Flow, Velocity)</a:t>
                      </a:r>
                    </a:p>
                    <a:p>
                      <a:pPr algn="l" fontAlgn="t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DC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ot-allowed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equired (needed e.g. GSI, Pedal Pumping Detection, Mass Flow, Velocity)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equired (needed e.g. GSI, Pedal Pumping Detection, Mass Flow, Velocity)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equired (needed e.g. GSI, Pedal Pumping Detection, Mass Flow, Velocity)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equired (needed e.g. GSI, Pedal Pumping Detection, Mass Flow, Velocity)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DCE"/>
                    </a:solidFill>
                  </a:tcPr>
                </a:tc>
              </a:tr>
              <a:tr h="781046"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ybrids</a:t>
                      </a:r>
                    </a:p>
                  </a:txBody>
                  <a:tcPr marL="18632" marR="0" marT="18632" marB="0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o testing until final definition of test 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procedure including </a:t>
                      </a: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dditional necessary parameters (e.g. "multiple" cold-starts, </a:t>
                      </a:r>
                      <a:r>
                        <a:rPr lang="en-US" sz="7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onsid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. </a:t>
                      </a: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of electrical power)</a:t>
                      </a:r>
                    </a:p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18632" marR="0" marT="1863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DC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hybrids are tested as is</a:t>
                      </a:r>
                    </a:p>
                  </a:txBody>
                  <a:tcPr marL="18632" marR="0" marT="1863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o testing until final definition of test procedureincluding additional necessary parameters (e.g. "multiple" cold-starts, consideration of electrical power)</a:t>
                      </a:r>
                    </a:p>
                  </a:txBody>
                  <a:tcPr marL="18632" marR="0" marT="1863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o testing until final definition of test </a:t>
                      </a:r>
                      <a:r>
                        <a:rPr lang="en-US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procedureincluding</a:t>
                      </a: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additional necessary parameters (e.g. "multiple" cold-starts, consideration of electrical power)</a:t>
                      </a:r>
                    </a:p>
                  </a:txBody>
                  <a:tcPr marL="18632" marR="0" marT="1863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o testing until final definition of test </a:t>
                      </a:r>
                      <a:r>
                        <a:rPr lang="en-US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procedureincluding</a:t>
                      </a: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additional necessary parameters (e.g. "multiple" cold-starts, consideration of electrical power)</a:t>
                      </a:r>
                    </a:p>
                  </a:txBody>
                  <a:tcPr marL="18632" marR="0" marT="1863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o testing until final definition of test 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procedure including </a:t>
                      </a: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dditional necessary parameters (e.g. "multiple" cold-starts, consideration of electrical power)</a:t>
                      </a:r>
                      <a:b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</a:b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fall back: hybrid testing only charge sustaining mode</a:t>
                      </a:r>
                    </a:p>
                  </a:txBody>
                  <a:tcPr marL="18632" marR="0" marT="18632" marB="0" anchor="b">
                    <a:lnL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DCE"/>
                    </a:solidFill>
                  </a:tcPr>
                </a:tc>
              </a:tr>
              <a:tr h="185130"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ld start </a:t>
                      </a:r>
                      <a:endParaRPr lang="en-US" sz="700" b="1" i="0" u="none" strike="noStrike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l" fontAlgn="b"/>
                      <a:r>
                        <a:rPr lang="en-US" sz="7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mission</a:t>
                      </a:r>
                      <a:endParaRPr lang="en-US" sz="7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632" marR="0" marT="18632" marB="0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 fontAlgn="b"/>
                      <a:endParaRPr lang="en-US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  <a:p>
                      <a:pPr algn="l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Hot start</a:t>
                      </a: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18632" marR="0" marT="1863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DC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Weighting</a:t>
                      </a:r>
                    </a:p>
                  </a:txBody>
                  <a:tcPr marL="18632" marR="0" marT="1863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Hot start</a:t>
                      </a:r>
                    </a:p>
                  </a:txBody>
                  <a:tcPr marL="18632" marR="0" marT="1863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Hot start</a:t>
                      </a:r>
                    </a:p>
                  </a:txBody>
                  <a:tcPr marL="18632" marR="0" marT="1863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Hot start</a:t>
                      </a:r>
                    </a:p>
                  </a:txBody>
                  <a:tcPr marL="18632" marR="0" marT="1863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tep1 : Hot start</a:t>
                      </a:r>
                      <a:b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</a:b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tep2: Weighting</a:t>
                      </a:r>
                    </a:p>
                  </a:txBody>
                  <a:tcPr marL="18632" marR="0" marT="18632" marB="0" anchor="b">
                    <a:lnL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DCE"/>
                    </a:solidFill>
                  </a:tcPr>
                </a:tc>
              </a:tr>
            </a:tbl>
          </a:graphicData>
        </a:graphic>
      </p:graphicFrame>
      <p:sp>
        <p:nvSpPr>
          <p:cNvPr id="8" name="Rechteck 7"/>
          <p:cNvSpPr/>
          <p:nvPr/>
        </p:nvSpPr>
        <p:spPr>
          <a:xfrm>
            <a:off x="635764" y="1400343"/>
            <a:ext cx="3098036" cy="335011"/>
          </a:xfrm>
          <a:prstGeom prst="rect">
            <a:avLst/>
          </a:prstGeom>
          <a:solidFill>
            <a:schemeClr val="bg1"/>
          </a:solidFill>
        </p:spPr>
        <p:txBody>
          <a:bodyPr wrap="square" anchor="b">
            <a:noAutofit/>
          </a:bodyPr>
          <a:lstStyle/>
          <a:p>
            <a:pPr marL="285750" lvl="1" indent="-285750">
              <a:spcAft>
                <a:spcPts val="600"/>
              </a:spcAft>
              <a:buClr>
                <a:srgbClr val="FFFFFF">
                  <a:lumMod val="65000"/>
                </a:srgbClr>
              </a:buClr>
              <a:buFont typeface="Wingdings" panose="05000000000000000000" pitchFamily="2" charset="2"/>
              <a:buChar char="§"/>
            </a:pPr>
            <a:endParaRPr lang="en-US" sz="100" b="0" dirty="0"/>
          </a:p>
          <a:p>
            <a:pPr marL="285750" lvl="1" indent="-285750">
              <a:spcAft>
                <a:spcPts val="600"/>
              </a:spcAft>
              <a:buClr>
                <a:srgbClr val="FFFFFF">
                  <a:lumMod val="65000"/>
                </a:srgbClr>
              </a:buClr>
              <a:buFont typeface="Wingdings" panose="05000000000000000000" pitchFamily="2" charset="2"/>
              <a:buChar char="§"/>
            </a:pPr>
            <a:r>
              <a:rPr lang="en-US" sz="1400" b="0" dirty="0"/>
              <a:t>Feedback of </a:t>
            </a:r>
            <a:r>
              <a:rPr lang="en-US" sz="1400" dirty="0"/>
              <a:t>10</a:t>
            </a:r>
            <a:r>
              <a:rPr lang="en-US" sz="1400" b="0" dirty="0"/>
              <a:t> Manufacturer</a:t>
            </a:r>
          </a:p>
        </p:txBody>
      </p:sp>
      <p:sp>
        <p:nvSpPr>
          <p:cNvPr id="27" name="Rechteck 26"/>
          <p:cNvSpPr/>
          <p:nvPr/>
        </p:nvSpPr>
        <p:spPr bwMode="auto">
          <a:xfrm>
            <a:off x="7986918" y="1122555"/>
            <a:ext cx="480360" cy="39964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3200" b="1" i="0" u="none" strike="noStrike" cap="none" normalizeH="0" baseline="0">
              <a:ln>
                <a:noFill/>
              </a:ln>
              <a:solidFill>
                <a:srgbClr val="336699"/>
              </a:solidFill>
              <a:effectLst/>
              <a:latin typeface="Verdana" charset="0"/>
              <a:ea typeface="ＭＳ Ｐゴシック" charset="0"/>
              <a:cs typeface="Arial" charset="0"/>
            </a:endParaRPr>
          </a:p>
        </p:txBody>
      </p:sp>
      <p:pic>
        <p:nvPicPr>
          <p:cNvPr id="21" name="Picture 4" descr="E:\1000_P3_Intern\1100_Chartbibo-Methoden\icons\ok\pencil_drawing_blue_check_mark_1600_clr.png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75767" y="737942"/>
            <a:ext cx="960721" cy="8406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4" name="Tabelle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4376642"/>
              </p:ext>
            </p:extLst>
          </p:nvPr>
        </p:nvGraphicFramePr>
        <p:xfrm>
          <a:off x="3821248" y="6619535"/>
          <a:ext cx="694545" cy="139065"/>
        </p:xfrm>
        <a:graphic>
          <a:graphicData uri="http://schemas.openxmlformats.org/drawingml/2006/table">
            <a:tbl>
              <a:tblPr/>
              <a:tblGrid>
                <a:gridCol w="694545"/>
              </a:tblGrid>
              <a:tr h="13906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 smtClean="0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Negotiable</a:t>
                      </a:r>
                      <a:endParaRPr lang="en-US" sz="800" b="0" i="0" u="none" strike="noStrike" dirty="0">
                        <a:solidFill>
                          <a:srgbClr val="1F497D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6FF33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5" name="Tabelle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9495730"/>
              </p:ext>
            </p:extLst>
          </p:nvPr>
        </p:nvGraphicFramePr>
        <p:xfrm>
          <a:off x="1603828" y="6621780"/>
          <a:ext cx="577187" cy="133754"/>
        </p:xfrm>
        <a:graphic>
          <a:graphicData uri="http://schemas.openxmlformats.org/drawingml/2006/table">
            <a:tbl>
              <a:tblPr/>
              <a:tblGrid>
                <a:gridCol w="577187"/>
              </a:tblGrid>
              <a:tr h="13375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 smtClean="0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Must </a:t>
                      </a:r>
                      <a:r>
                        <a:rPr lang="en-US" sz="800" b="0" i="0" u="none" strike="noStrike" dirty="0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have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DCE"/>
                    </a:solidFill>
                  </a:tcPr>
                </a:tc>
              </a:tr>
            </a:tbl>
          </a:graphicData>
        </a:graphic>
      </p:graphicFrame>
      <p:sp>
        <p:nvSpPr>
          <p:cNvPr id="22" name="Rechteck 21"/>
          <p:cNvSpPr/>
          <p:nvPr/>
        </p:nvSpPr>
        <p:spPr>
          <a:xfrm>
            <a:off x="550334" y="6581346"/>
            <a:ext cx="1053494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defTabSz="457200" fontAlgn="b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1F497D"/>
                </a:solidFill>
                <a:latin typeface="Arial"/>
                <a:ea typeface="ＭＳ Ｐゴシック"/>
              </a:rPr>
              <a:t>Theory of </a:t>
            </a:r>
            <a:r>
              <a:rPr lang="en-US" sz="800" dirty="0" smtClean="0">
                <a:solidFill>
                  <a:srgbClr val="1F497D"/>
                </a:solidFill>
                <a:latin typeface="Arial"/>
                <a:ea typeface="ＭＳ Ｐゴシック"/>
              </a:rPr>
              <a:t>colors </a:t>
            </a:r>
            <a:r>
              <a:rPr lang="en-US" sz="800" dirty="0">
                <a:solidFill>
                  <a:srgbClr val="1F497D"/>
                </a:solidFill>
                <a:latin typeface="Arial"/>
                <a:ea typeface="ＭＳ Ｐゴシック"/>
              </a:rPr>
              <a:t>:</a:t>
            </a:r>
          </a:p>
        </p:txBody>
      </p:sp>
      <p:graphicFrame>
        <p:nvGraphicFramePr>
          <p:cNvPr id="23" name="Tabelle 2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99600445"/>
              </p:ext>
            </p:extLst>
          </p:nvPr>
        </p:nvGraphicFramePr>
        <p:xfrm>
          <a:off x="2225262" y="6623496"/>
          <a:ext cx="1564381" cy="129540"/>
        </p:xfrm>
        <a:graphic>
          <a:graphicData uri="http://schemas.openxmlformats.org/drawingml/2006/table">
            <a:tbl>
              <a:tblPr/>
              <a:tblGrid>
                <a:gridCol w="1564381"/>
              </a:tblGrid>
              <a:tr h="8631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 smtClean="0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Give </a:t>
                      </a:r>
                      <a:r>
                        <a:rPr lang="en-US" sz="800" b="0" i="0" u="none" strike="noStrike" dirty="0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up if </a:t>
                      </a:r>
                      <a:r>
                        <a:rPr lang="en-US" sz="800" b="0" i="0" u="none" strike="noStrike" dirty="0" smtClean="0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absolutely </a:t>
                      </a:r>
                      <a:r>
                        <a:rPr lang="en-US" sz="800" b="0" i="0" u="none" strike="noStrike" dirty="0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unsustainable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sp>
        <p:nvSpPr>
          <p:cNvPr id="29" name="Textfeld 28"/>
          <p:cNvSpPr txBox="1"/>
          <p:nvPr/>
        </p:nvSpPr>
        <p:spPr>
          <a:xfrm>
            <a:off x="5067925" y="3158171"/>
            <a:ext cx="344966" cy="307777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r>
              <a:rPr lang="de-DE" sz="1400" dirty="0" smtClean="0">
                <a:solidFill>
                  <a:schemeClr val="tx1"/>
                </a:solidFill>
                <a:sym typeface="Wingdings"/>
              </a:rPr>
              <a:t>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30" name="Textfeld 29"/>
          <p:cNvSpPr txBox="1"/>
          <p:nvPr/>
        </p:nvSpPr>
        <p:spPr>
          <a:xfrm>
            <a:off x="6302115" y="3164694"/>
            <a:ext cx="344966" cy="307777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r>
              <a:rPr lang="de-DE" sz="1400" dirty="0" smtClean="0">
                <a:solidFill>
                  <a:schemeClr val="tx1"/>
                </a:solidFill>
                <a:sym typeface="Wingdings"/>
              </a:rPr>
              <a:t>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31" name="Textfeld 30"/>
          <p:cNvSpPr txBox="1"/>
          <p:nvPr/>
        </p:nvSpPr>
        <p:spPr>
          <a:xfrm>
            <a:off x="7542359" y="3164694"/>
            <a:ext cx="344966" cy="307777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r>
              <a:rPr lang="de-DE" sz="1400" dirty="0" smtClean="0">
                <a:solidFill>
                  <a:schemeClr val="tx1"/>
                </a:solidFill>
                <a:sym typeface="Wingdings"/>
              </a:rPr>
              <a:t>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33" name="Textfeld 32"/>
          <p:cNvSpPr txBox="1"/>
          <p:nvPr/>
        </p:nvSpPr>
        <p:spPr>
          <a:xfrm>
            <a:off x="5059089" y="3531676"/>
            <a:ext cx="344966" cy="307777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r>
              <a:rPr lang="de-DE" sz="1400" dirty="0" smtClean="0">
                <a:solidFill>
                  <a:schemeClr val="tx1"/>
                </a:solidFill>
                <a:sym typeface="Wingdings"/>
              </a:rPr>
              <a:t>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34" name="Textfeld 33"/>
          <p:cNvSpPr txBox="1"/>
          <p:nvPr/>
        </p:nvSpPr>
        <p:spPr>
          <a:xfrm>
            <a:off x="6293279" y="3538199"/>
            <a:ext cx="344966" cy="307777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r>
              <a:rPr lang="de-DE" sz="1400" dirty="0" smtClean="0">
                <a:solidFill>
                  <a:schemeClr val="tx1"/>
                </a:solidFill>
                <a:sym typeface="Wingdings"/>
              </a:rPr>
              <a:t>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35" name="Textfeld 34"/>
          <p:cNvSpPr txBox="1"/>
          <p:nvPr/>
        </p:nvSpPr>
        <p:spPr>
          <a:xfrm>
            <a:off x="7533523" y="3538199"/>
            <a:ext cx="344966" cy="307777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r>
              <a:rPr lang="de-DE" sz="1400" dirty="0" smtClean="0">
                <a:solidFill>
                  <a:schemeClr val="tx1"/>
                </a:solidFill>
                <a:sym typeface="Wingdings"/>
              </a:rPr>
              <a:t>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37" name="Textfeld 36"/>
          <p:cNvSpPr txBox="1"/>
          <p:nvPr/>
        </p:nvSpPr>
        <p:spPr>
          <a:xfrm>
            <a:off x="5066675" y="4180001"/>
            <a:ext cx="344966" cy="307777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r>
              <a:rPr lang="de-DE" sz="1400" dirty="0" smtClean="0">
                <a:solidFill>
                  <a:schemeClr val="tx1"/>
                </a:solidFill>
                <a:sym typeface="Wingdings"/>
              </a:rPr>
              <a:t>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38" name="Textfeld 37"/>
          <p:cNvSpPr txBox="1"/>
          <p:nvPr/>
        </p:nvSpPr>
        <p:spPr>
          <a:xfrm>
            <a:off x="6300865" y="4186524"/>
            <a:ext cx="344966" cy="307777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r>
              <a:rPr lang="de-DE" sz="1400" dirty="0" smtClean="0">
                <a:solidFill>
                  <a:schemeClr val="tx1"/>
                </a:solidFill>
                <a:sym typeface="Wingdings"/>
              </a:rPr>
              <a:t>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39" name="Textfeld 38"/>
          <p:cNvSpPr txBox="1"/>
          <p:nvPr/>
        </p:nvSpPr>
        <p:spPr>
          <a:xfrm>
            <a:off x="7541109" y="4186524"/>
            <a:ext cx="344966" cy="307777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r>
              <a:rPr lang="de-DE" sz="1400" dirty="0" smtClean="0">
                <a:solidFill>
                  <a:schemeClr val="tx1"/>
                </a:solidFill>
                <a:sym typeface="Wingdings"/>
              </a:rPr>
              <a:t>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grpSp>
        <p:nvGrpSpPr>
          <p:cNvPr id="45" name="Gruppieren 44"/>
          <p:cNvGrpSpPr/>
          <p:nvPr/>
        </p:nvGrpSpPr>
        <p:grpSpPr>
          <a:xfrm>
            <a:off x="5441620" y="6412383"/>
            <a:ext cx="466794" cy="523220"/>
            <a:chOff x="9525000" y="4140226"/>
            <a:chExt cx="466794" cy="523220"/>
          </a:xfrm>
        </p:grpSpPr>
        <p:sp>
          <p:nvSpPr>
            <p:cNvPr id="46" name="Textfeld 45"/>
            <p:cNvSpPr txBox="1"/>
            <p:nvPr/>
          </p:nvSpPr>
          <p:spPr>
            <a:xfrm>
              <a:off x="9525000" y="4270462"/>
              <a:ext cx="344966" cy="307777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rtlCol="0">
              <a:spAutoFit/>
            </a:bodyPr>
            <a:lstStyle/>
            <a:p>
              <a:r>
                <a:rPr lang="de-DE" sz="1400" dirty="0" smtClean="0">
                  <a:solidFill>
                    <a:schemeClr val="tx1"/>
                  </a:solidFill>
                  <a:sym typeface="Wingdings"/>
                </a:rPr>
                <a:t></a:t>
              </a:r>
              <a:endParaRPr lang="de-DE" sz="14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47" name="Rechteck 46"/>
            <p:cNvSpPr/>
            <p:nvPr/>
          </p:nvSpPr>
          <p:spPr>
            <a:xfrm>
              <a:off x="9525000" y="4140226"/>
              <a:ext cx="466794" cy="523220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>
              <a:spAutoFit/>
            </a:bodyPr>
            <a:lstStyle/>
            <a:p>
              <a:r>
                <a:rPr lang="de-DE" sz="2800" b="0" dirty="0">
                  <a:solidFill>
                    <a:srgbClr val="00B0F0"/>
                  </a:solidFill>
                  <a:sym typeface="Wingdings"/>
                </a:rPr>
                <a:t></a:t>
              </a:r>
              <a:endParaRPr lang="de-DE" sz="2800" b="0" dirty="0">
                <a:solidFill>
                  <a:srgbClr val="00B0F0"/>
                </a:solidFill>
              </a:endParaRPr>
            </a:p>
          </p:txBody>
        </p:sp>
      </p:grpSp>
      <p:sp>
        <p:nvSpPr>
          <p:cNvPr id="48" name="Freeform 29"/>
          <p:cNvSpPr>
            <a:spLocks/>
          </p:cNvSpPr>
          <p:nvPr/>
        </p:nvSpPr>
        <p:spPr bwMode="gray">
          <a:xfrm rot="349485">
            <a:off x="6882850" y="6605706"/>
            <a:ext cx="228356" cy="161306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CC0000"/>
          </a:solidFill>
          <a:ln w="6350">
            <a:solidFill>
              <a:srgbClr val="CC0000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de-DE" u="sng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49" name="Rechteck 48"/>
          <p:cNvSpPr/>
          <p:nvPr/>
        </p:nvSpPr>
        <p:spPr>
          <a:xfrm>
            <a:off x="5026102" y="6579078"/>
            <a:ext cx="572593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defTabSz="457200" fontAlgn="b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1F497D"/>
                </a:solidFill>
                <a:latin typeface="Arial"/>
                <a:ea typeface="ＭＳ Ｐゴシック"/>
              </a:rPr>
              <a:t>Agreed:</a:t>
            </a:r>
            <a:endParaRPr lang="en-US" sz="800" dirty="0">
              <a:solidFill>
                <a:srgbClr val="1F497D"/>
              </a:solidFill>
              <a:latin typeface="Arial"/>
              <a:ea typeface="ＭＳ Ｐゴシック"/>
            </a:endParaRPr>
          </a:p>
        </p:txBody>
      </p:sp>
      <p:sp>
        <p:nvSpPr>
          <p:cNvPr id="50" name="Rechteck 49"/>
          <p:cNvSpPr/>
          <p:nvPr/>
        </p:nvSpPr>
        <p:spPr>
          <a:xfrm>
            <a:off x="6034595" y="6579085"/>
            <a:ext cx="89960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defTabSz="457200" fontAlgn="b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1F497D"/>
                </a:solidFill>
                <a:latin typeface="Arial"/>
                <a:ea typeface="ＭＳ Ｐゴシック"/>
              </a:rPr>
              <a:t>Under Review:</a:t>
            </a:r>
            <a:endParaRPr lang="en-US" sz="800" dirty="0">
              <a:solidFill>
                <a:srgbClr val="1F497D"/>
              </a:solidFill>
              <a:latin typeface="Arial"/>
              <a:ea typeface="ＭＳ Ｐゴシック"/>
            </a:endParaRPr>
          </a:p>
        </p:txBody>
      </p:sp>
      <p:sp>
        <p:nvSpPr>
          <p:cNvPr id="51" name="Pfeil nach rechts 50"/>
          <p:cNvSpPr/>
          <p:nvPr/>
        </p:nvSpPr>
        <p:spPr>
          <a:xfrm rot="10800000">
            <a:off x="6324600" y="2115367"/>
            <a:ext cx="837601" cy="251402"/>
          </a:xfrm>
          <a:prstGeom prst="rightArrow">
            <a:avLst>
              <a:gd name="adj1" fmla="val 58411"/>
              <a:gd name="adj2" fmla="val 55011"/>
            </a:avLst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65000"/>
                </a:schemeClr>
              </a:gs>
            </a:gsLst>
            <a:lin ang="0" scaled="1"/>
            <a:tileRect/>
          </a:gradFill>
          <a:ln w="762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Font typeface="Wingdings" pitchFamily="2" charset="2"/>
              <a:buNone/>
            </a:pPr>
            <a:endParaRPr lang="de-DE" sz="1400" dirty="0" err="1" smtClean="0">
              <a:solidFill>
                <a:schemeClr val="tx1">
                  <a:lumMod val="95000"/>
                  <a:lumOff val="5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52" name="Textfeld 51"/>
          <p:cNvSpPr txBox="1"/>
          <p:nvPr/>
        </p:nvSpPr>
        <p:spPr>
          <a:xfrm>
            <a:off x="6781800" y="2113351"/>
            <a:ext cx="69762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 smtClean="0"/>
              <a:t>Level 1</a:t>
            </a:r>
          </a:p>
        </p:txBody>
      </p:sp>
      <p:sp>
        <p:nvSpPr>
          <p:cNvPr id="53" name="Pfeil nach rechts 52"/>
          <p:cNvSpPr/>
          <p:nvPr/>
        </p:nvSpPr>
        <p:spPr>
          <a:xfrm rot="10800000">
            <a:off x="5049703" y="2112228"/>
            <a:ext cx="837601" cy="251402"/>
          </a:xfrm>
          <a:prstGeom prst="rightArrow">
            <a:avLst>
              <a:gd name="adj1" fmla="val 58411"/>
              <a:gd name="adj2" fmla="val 55011"/>
            </a:avLst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65000"/>
                </a:schemeClr>
              </a:gs>
            </a:gsLst>
            <a:lin ang="0" scaled="1"/>
            <a:tileRect/>
          </a:gradFill>
          <a:ln w="762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Font typeface="Wingdings" pitchFamily="2" charset="2"/>
              <a:buNone/>
            </a:pPr>
            <a:endParaRPr lang="de-DE" sz="1400" dirty="0" err="1" smtClean="0">
              <a:solidFill>
                <a:schemeClr val="tx1">
                  <a:lumMod val="95000"/>
                  <a:lumOff val="5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54" name="Textfeld 53"/>
          <p:cNvSpPr txBox="1"/>
          <p:nvPr/>
        </p:nvSpPr>
        <p:spPr>
          <a:xfrm>
            <a:off x="5595561" y="2112850"/>
            <a:ext cx="69762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 smtClean="0"/>
              <a:t>Level 2</a:t>
            </a:r>
          </a:p>
        </p:txBody>
      </p:sp>
      <p:sp>
        <p:nvSpPr>
          <p:cNvPr id="55" name="Pfeil nach rechts 54"/>
          <p:cNvSpPr/>
          <p:nvPr/>
        </p:nvSpPr>
        <p:spPr>
          <a:xfrm rot="10800000">
            <a:off x="4114659" y="2117301"/>
            <a:ext cx="781188" cy="241769"/>
          </a:xfrm>
          <a:prstGeom prst="rightArrow">
            <a:avLst>
              <a:gd name="adj1" fmla="val 100000"/>
              <a:gd name="adj2" fmla="val 0"/>
            </a:avLst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65000"/>
                </a:schemeClr>
              </a:gs>
            </a:gsLst>
            <a:lin ang="0" scaled="1"/>
            <a:tileRect/>
          </a:gradFill>
          <a:ln w="762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Font typeface="Wingdings" pitchFamily="2" charset="2"/>
              <a:buNone/>
            </a:pPr>
            <a:endParaRPr lang="de-DE" sz="1400" dirty="0" err="1" smtClean="0">
              <a:solidFill>
                <a:schemeClr val="tx1">
                  <a:lumMod val="95000"/>
                  <a:lumOff val="5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56" name="Textfeld 55"/>
          <p:cNvSpPr txBox="1"/>
          <p:nvPr/>
        </p:nvSpPr>
        <p:spPr>
          <a:xfrm>
            <a:off x="4334294" y="2110977"/>
            <a:ext cx="69762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 smtClean="0"/>
              <a:t>Level 3</a:t>
            </a:r>
          </a:p>
        </p:txBody>
      </p:sp>
      <p:sp>
        <p:nvSpPr>
          <p:cNvPr id="57" name="Textfeld 56"/>
          <p:cNvSpPr txBox="1"/>
          <p:nvPr/>
        </p:nvSpPr>
        <p:spPr>
          <a:xfrm>
            <a:off x="2374242" y="2110332"/>
            <a:ext cx="175721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/>
              <a:t>Levels of Negotiation:</a:t>
            </a:r>
          </a:p>
        </p:txBody>
      </p:sp>
      <p:sp>
        <p:nvSpPr>
          <p:cNvPr id="58" name="Pfeil nach rechts 57"/>
          <p:cNvSpPr/>
          <p:nvPr/>
        </p:nvSpPr>
        <p:spPr>
          <a:xfrm rot="10800000">
            <a:off x="7544399" y="2117301"/>
            <a:ext cx="837601" cy="251402"/>
          </a:xfrm>
          <a:prstGeom prst="rightArrow">
            <a:avLst>
              <a:gd name="adj1" fmla="val 58411"/>
              <a:gd name="adj2" fmla="val 55011"/>
            </a:avLst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65000"/>
                </a:schemeClr>
              </a:gs>
            </a:gsLst>
            <a:lin ang="0" scaled="1"/>
            <a:tileRect/>
          </a:gradFill>
          <a:ln w="762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Font typeface="Wingdings" pitchFamily="2" charset="2"/>
              <a:buNone/>
            </a:pPr>
            <a:endParaRPr lang="de-DE" sz="1400" dirty="0" err="1" smtClean="0">
              <a:solidFill>
                <a:schemeClr val="tx1">
                  <a:lumMod val="95000"/>
                  <a:lumOff val="5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6309297" y="3019666"/>
            <a:ext cx="466794" cy="52322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>
            <a:spAutoFit/>
          </a:bodyPr>
          <a:lstStyle/>
          <a:p>
            <a:r>
              <a:rPr lang="de-DE" sz="2800" b="0" dirty="0">
                <a:solidFill>
                  <a:srgbClr val="00B0F0"/>
                </a:solidFill>
                <a:sym typeface="Wingdings"/>
              </a:rPr>
              <a:t></a:t>
            </a:r>
            <a:endParaRPr lang="de-DE" sz="2800" b="0" dirty="0">
              <a:solidFill>
                <a:srgbClr val="00B0F0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7544399" y="3011645"/>
            <a:ext cx="466794" cy="52322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>
            <a:spAutoFit/>
          </a:bodyPr>
          <a:lstStyle/>
          <a:p>
            <a:r>
              <a:rPr lang="de-DE" sz="2800" b="0" dirty="0">
                <a:solidFill>
                  <a:srgbClr val="00B0F0"/>
                </a:solidFill>
                <a:sym typeface="Wingdings"/>
              </a:rPr>
              <a:t></a:t>
            </a:r>
            <a:endParaRPr lang="de-DE" sz="2800" b="0" dirty="0">
              <a:solidFill>
                <a:srgbClr val="00B0F0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5072754" y="3012976"/>
            <a:ext cx="466794" cy="52322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>
            <a:spAutoFit/>
          </a:bodyPr>
          <a:lstStyle/>
          <a:p>
            <a:r>
              <a:rPr lang="de-DE" sz="2800" b="0" dirty="0">
                <a:solidFill>
                  <a:srgbClr val="00B0F0"/>
                </a:solidFill>
                <a:sym typeface="Wingdings"/>
              </a:rPr>
              <a:t></a:t>
            </a:r>
            <a:endParaRPr lang="de-DE" sz="2800" b="0" dirty="0">
              <a:solidFill>
                <a:srgbClr val="00B0F0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6298041" y="3395990"/>
            <a:ext cx="466794" cy="52322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>
            <a:spAutoFit/>
          </a:bodyPr>
          <a:lstStyle/>
          <a:p>
            <a:r>
              <a:rPr lang="de-DE" sz="2800" b="0" dirty="0">
                <a:solidFill>
                  <a:srgbClr val="00B0F0"/>
                </a:solidFill>
                <a:sym typeface="Wingdings"/>
              </a:rPr>
              <a:t></a:t>
            </a:r>
            <a:endParaRPr lang="de-DE" sz="2800" b="0" dirty="0">
              <a:solidFill>
                <a:srgbClr val="00B0F0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7533143" y="3387969"/>
            <a:ext cx="466794" cy="52322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>
            <a:spAutoFit/>
          </a:bodyPr>
          <a:lstStyle/>
          <a:p>
            <a:r>
              <a:rPr lang="de-DE" sz="2800" b="0" dirty="0">
                <a:solidFill>
                  <a:srgbClr val="00B0F0"/>
                </a:solidFill>
                <a:sym typeface="Wingdings"/>
              </a:rPr>
              <a:t></a:t>
            </a:r>
            <a:endParaRPr lang="de-DE" sz="2800" b="0" dirty="0">
              <a:solidFill>
                <a:srgbClr val="00B0F0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5061498" y="3389300"/>
            <a:ext cx="466794" cy="52322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>
            <a:spAutoFit/>
          </a:bodyPr>
          <a:lstStyle/>
          <a:p>
            <a:r>
              <a:rPr lang="de-DE" sz="2800" b="0" dirty="0">
                <a:solidFill>
                  <a:srgbClr val="00B0F0"/>
                </a:solidFill>
                <a:sym typeface="Wingdings"/>
              </a:rPr>
              <a:t></a:t>
            </a:r>
            <a:endParaRPr lang="de-DE" sz="2800" b="0" dirty="0">
              <a:solidFill>
                <a:srgbClr val="00B0F0"/>
              </a:solidFill>
            </a:endParaRPr>
          </a:p>
        </p:txBody>
      </p:sp>
      <p:sp>
        <p:nvSpPr>
          <p:cNvPr id="68" name="Rechteck 67"/>
          <p:cNvSpPr/>
          <p:nvPr/>
        </p:nvSpPr>
        <p:spPr>
          <a:xfrm>
            <a:off x="6304488" y="4047490"/>
            <a:ext cx="466794" cy="52322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>
            <a:spAutoFit/>
          </a:bodyPr>
          <a:lstStyle/>
          <a:p>
            <a:r>
              <a:rPr lang="de-DE" sz="2800" b="0" dirty="0">
                <a:solidFill>
                  <a:srgbClr val="00B0F0"/>
                </a:solidFill>
                <a:sym typeface="Wingdings"/>
              </a:rPr>
              <a:t></a:t>
            </a:r>
            <a:endParaRPr lang="de-DE" sz="2800" b="0" dirty="0">
              <a:solidFill>
                <a:srgbClr val="00B0F0"/>
              </a:solidFill>
            </a:endParaRPr>
          </a:p>
        </p:txBody>
      </p:sp>
      <p:sp>
        <p:nvSpPr>
          <p:cNvPr id="69" name="Rechteck 68"/>
          <p:cNvSpPr/>
          <p:nvPr/>
        </p:nvSpPr>
        <p:spPr>
          <a:xfrm>
            <a:off x="7539590" y="4039469"/>
            <a:ext cx="466794" cy="52322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>
            <a:spAutoFit/>
          </a:bodyPr>
          <a:lstStyle/>
          <a:p>
            <a:r>
              <a:rPr lang="de-DE" sz="2800" b="0" dirty="0">
                <a:solidFill>
                  <a:srgbClr val="00B0F0"/>
                </a:solidFill>
                <a:sym typeface="Wingdings"/>
              </a:rPr>
              <a:t></a:t>
            </a:r>
            <a:endParaRPr lang="de-DE" sz="2800" b="0" dirty="0">
              <a:solidFill>
                <a:srgbClr val="00B0F0"/>
              </a:solidFill>
            </a:endParaRPr>
          </a:p>
        </p:txBody>
      </p:sp>
      <p:sp>
        <p:nvSpPr>
          <p:cNvPr id="70" name="Rechteck 69"/>
          <p:cNvSpPr/>
          <p:nvPr/>
        </p:nvSpPr>
        <p:spPr>
          <a:xfrm>
            <a:off x="5067945" y="4040800"/>
            <a:ext cx="466794" cy="52322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>
            <a:spAutoFit/>
          </a:bodyPr>
          <a:lstStyle/>
          <a:p>
            <a:r>
              <a:rPr lang="de-DE" sz="2800" b="0" dirty="0">
                <a:solidFill>
                  <a:srgbClr val="00B0F0"/>
                </a:solidFill>
                <a:sym typeface="Wingdings"/>
              </a:rPr>
              <a:t></a:t>
            </a:r>
            <a:endParaRPr lang="de-DE" sz="2800" b="0" dirty="0">
              <a:solidFill>
                <a:srgbClr val="00B0F0"/>
              </a:solidFill>
            </a:endParaRPr>
          </a:p>
        </p:txBody>
      </p:sp>
      <p:sp>
        <p:nvSpPr>
          <p:cNvPr id="71" name="Textfeld 70"/>
          <p:cNvSpPr txBox="1"/>
          <p:nvPr/>
        </p:nvSpPr>
        <p:spPr>
          <a:xfrm>
            <a:off x="3746272" y="4183336"/>
            <a:ext cx="344966" cy="307777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r>
              <a:rPr lang="de-DE" sz="1400" dirty="0" smtClean="0">
                <a:solidFill>
                  <a:schemeClr val="tx1"/>
                </a:solidFill>
                <a:sym typeface="Wingdings"/>
              </a:rPr>
              <a:t>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3744753" y="4036281"/>
            <a:ext cx="466794" cy="52322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>
            <a:spAutoFit/>
          </a:bodyPr>
          <a:lstStyle/>
          <a:p>
            <a:r>
              <a:rPr lang="de-DE" sz="2800" b="0" dirty="0">
                <a:solidFill>
                  <a:srgbClr val="00B0F0"/>
                </a:solidFill>
                <a:sym typeface="Wingdings"/>
              </a:rPr>
              <a:t></a:t>
            </a:r>
            <a:endParaRPr lang="de-DE" sz="2800" b="0" dirty="0">
              <a:solidFill>
                <a:srgbClr val="00B0F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11272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 bwMode="auto">
          <a:xfrm>
            <a:off x="609600" y="1297168"/>
            <a:ext cx="8153399" cy="5408432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180000" tIns="144000" rIns="91440" bIns="45720" numCol="1" rtlCol="0" anchor="t" anchorCtr="0" compatLnSpc="1">
            <a:prstTxWarp prst="textNoShape">
              <a:avLst/>
            </a:prstTxWarp>
          </a:bodyPr>
          <a:lstStyle/>
          <a:p>
            <a:pPr marL="285750" lvl="1" indent="-285750"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Wingdings" panose="05000000000000000000" pitchFamily="2" charset="2"/>
              <a:buChar char="§"/>
            </a:pPr>
            <a:endParaRPr lang="en-US" sz="100" b="0" dirty="0" smtClean="0"/>
          </a:p>
          <a:p>
            <a:pPr marL="285750" lvl="1" indent="-285750"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 smtClean="0">
                <a:cs typeface="Arial" panose="020B0604020202020204" pitchFamily="34" charset="0"/>
              </a:rPr>
              <a:t>Technical Background for shown CF’s</a:t>
            </a:r>
            <a:endParaRPr lang="en-US" sz="1400" dirty="0">
              <a:cs typeface="Arial" panose="020B0604020202020204" pitchFamily="34" charset="0"/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807719" y="1127892"/>
            <a:ext cx="4069081" cy="338554"/>
          </a:xfrm>
          <a:prstGeom prst="rect">
            <a:avLst/>
          </a:prstGeom>
          <a:solidFill>
            <a:schemeClr val="bg1"/>
          </a:solidFill>
        </p:spPr>
        <p:txBody>
          <a:bodyPr wrap="square" rIns="0">
            <a:spAutoFit/>
          </a:bodyPr>
          <a:lstStyle/>
          <a:p>
            <a:pPr>
              <a:spcAft>
                <a:spcPts val="300"/>
              </a:spcAft>
              <a:buClr>
                <a:schemeClr val="bg1">
                  <a:lumMod val="65000"/>
                </a:schemeClr>
              </a:buClr>
            </a:pPr>
            <a:r>
              <a:rPr lang="en-US" sz="1600" dirty="0"/>
              <a:t>CF’s Argumentation Presentatio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solidFill>
            <a:srgbClr val="DDDDD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en-US" sz="2400" dirty="0"/>
              <a:t>Sub-Group </a:t>
            </a:r>
            <a:br>
              <a:rPr lang="en-US" sz="2400" dirty="0"/>
            </a:br>
            <a:r>
              <a:rPr lang="en-US" sz="2400" dirty="0"/>
              <a:t>CF’s Argumentation Presentation</a:t>
            </a:r>
            <a:endParaRPr lang="de-DE" sz="24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BD4307-8E25-4063-B042-91C9BB9E4C20}" type="slidenum">
              <a:rPr lang="de-DE" smtClean="0"/>
              <a:pPr/>
              <a:t>23</a:t>
            </a:fld>
            <a:endParaRPr lang="de-DE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5686" y="2057400"/>
            <a:ext cx="7261225" cy="422144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35921" dir="2700000" algn="ctr" rotWithShape="0">
              <a:schemeClr val="bg2"/>
            </a:outerShdw>
          </a:effectLst>
        </p:spPr>
      </p:pic>
      <p:sp>
        <p:nvSpPr>
          <p:cNvPr id="6" name="Rechteck 5"/>
          <p:cNvSpPr/>
          <p:nvPr/>
        </p:nvSpPr>
        <p:spPr>
          <a:xfrm rot="406363">
            <a:off x="3985093" y="1604812"/>
            <a:ext cx="5977655" cy="36933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marL="0" lvl="4" algn="ctr">
              <a:spcAft>
                <a:spcPts val="600"/>
              </a:spcAft>
              <a:buClr>
                <a:srgbClr val="FFFFFF">
                  <a:lumMod val="65000"/>
                </a:srgbClr>
              </a:buClr>
            </a:pPr>
            <a:r>
              <a:rPr lang="en-US" sz="1800" dirty="0"/>
              <a:t>- Online discussion during Telco -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1279010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nnex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BD4307-8E25-4063-B042-91C9BB9E4C20}" type="slidenum">
              <a:rPr lang="de-DE" smtClean="0"/>
              <a:pPr/>
              <a:t>2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598851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fluencing Boundary Conditions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BD4307-8E25-4063-B042-91C9BB9E4C20}" type="slidenum">
              <a:rPr lang="de-DE" smtClean="0"/>
              <a:pPr/>
              <a:t>25</a:t>
            </a:fld>
            <a:endParaRPr lang="de-DE" dirty="0"/>
          </a:p>
        </p:txBody>
      </p:sp>
      <p:graphicFrame>
        <p:nvGraphicFramePr>
          <p:cNvPr id="7" name="Diagramm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22755033"/>
              </p:ext>
            </p:extLst>
          </p:nvPr>
        </p:nvGraphicFramePr>
        <p:xfrm>
          <a:off x="-21771" y="1066800"/>
          <a:ext cx="9486900" cy="55168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5299335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/>
        </p:nvSpPr>
        <p:spPr bwMode="auto">
          <a:xfrm>
            <a:off x="609600" y="1297168"/>
            <a:ext cx="8153399" cy="5484632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180000" tIns="144000" rIns="91440" bIns="45720" numCol="1" rtlCol="0" anchor="t" anchorCtr="0" compatLnSpc="1">
            <a:prstTxWarp prst="textNoShape">
              <a:avLst/>
            </a:prstTxWarp>
          </a:bodyPr>
          <a:lstStyle/>
          <a:p>
            <a:pPr marL="285750" lvl="1" indent="-285750"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Wingdings" panose="05000000000000000000" pitchFamily="2" charset="2"/>
              <a:buChar char="§"/>
            </a:pPr>
            <a:endParaRPr lang="en-US" sz="100" b="0" dirty="0" smtClean="0"/>
          </a:p>
          <a:p>
            <a:pPr marL="285750" lvl="1" indent="-285750"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b="0" dirty="0"/>
              <a:t>Feedback of </a:t>
            </a:r>
            <a:r>
              <a:rPr lang="en-US" sz="1400" dirty="0" smtClean="0"/>
              <a:t>10</a:t>
            </a:r>
            <a:r>
              <a:rPr lang="en-US" sz="1400" b="0" dirty="0" smtClean="0"/>
              <a:t> </a:t>
            </a:r>
            <a:r>
              <a:rPr lang="en-US" sz="1400" b="0" dirty="0"/>
              <a:t>Manufacturer</a:t>
            </a:r>
          </a:p>
          <a:p>
            <a:pPr marL="742950" lvl="1" indent="-285750">
              <a:spcAft>
                <a:spcPts val="600"/>
              </a:spcAft>
              <a:buClr>
                <a:schemeClr val="bg1">
                  <a:lumMod val="65000"/>
                </a:schemeClr>
              </a:buClr>
              <a:buFontTx/>
              <a:buChar char="-"/>
            </a:pPr>
            <a:endParaRPr lang="en-US" sz="1400" b="0" dirty="0"/>
          </a:p>
        </p:txBody>
      </p:sp>
      <p:sp>
        <p:nvSpPr>
          <p:cNvPr id="73" name="Rechteck 72"/>
          <p:cNvSpPr/>
          <p:nvPr/>
        </p:nvSpPr>
        <p:spPr bwMode="auto">
          <a:xfrm>
            <a:off x="356268" y="1542650"/>
            <a:ext cx="8577731" cy="503869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3200" b="1" i="0" u="none" strike="noStrike" cap="none" normalizeH="0" baseline="0">
              <a:ln>
                <a:noFill/>
              </a:ln>
              <a:solidFill>
                <a:srgbClr val="336699"/>
              </a:solidFill>
              <a:effectLst/>
              <a:latin typeface="Verdana" charset="0"/>
              <a:ea typeface="ＭＳ Ｐゴシック" charset="0"/>
              <a:cs typeface="Arial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lIns="0" rIns="0"/>
          <a:lstStyle/>
          <a:p>
            <a:r>
              <a:rPr lang="en-US" sz="2400" dirty="0" smtClean="0"/>
              <a:t>Current ACEA walk out position is C3</a:t>
            </a:r>
            <a:endParaRPr lang="en-US" sz="2400" dirty="0"/>
          </a:p>
        </p:txBody>
      </p:sp>
      <p:sp>
        <p:nvSpPr>
          <p:cNvPr id="9" name="Rechteck 8"/>
          <p:cNvSpPr/>
          <p:nvPr/>
        </p:nvSpPr>
        <p:spPr>
          <a:xfrm>
            <a:off x="807719" y="1127892"/>
            <a:ext cx="6278881" cy="338554"/>
          </a:xfrm>
          <a:prstGeom prst="rect">
            <a:avLst/>
          </a:prstGeom>
          <a:solidFill>
            <a:schemeClr val="bg1"/>
          </a:solidFill>
        </p:spPr>
        <p:txBody>
          <a:bodyPr wrap="square" rIns="0">
            <a:spAutoFit/>
          </a:bodyPr>
          <a:lstStyle/>
          <a:p>
            <a:pPr>
              <a:spcAft>
                <a:spcPts val="300"/>
              </a:spcAft>
              <a:buClr>
                <a:schemeClr val="bg1">
                  <a:lumMod val="65000"/>
                </a:schemeClr>
              </a:buClr>
            </a:pPr>
            <a:r>
              <a:rPr lang="en-US" sz="1600" dirty="0" smtClean="0"/>
              <a:t>ACEA-Walk-In-Position </a:t>
            </a:r>
            <a:r>
              <a:rPr lang="en-US" sz="1600" dirty="0"/>
              <a:t>vs. </a:t>
            </a:r>
            <a:r>
              <a:rPr lang="en-US" sz="1600" dirty="0" smtClean="0"/>
              <a:t>EU-COM-Position - Results</a:t>
            </a:r>
            <a:endParaRPr lang="en-US" sz="1600" b="0" dirty="0"/>
          </a:p>
        </p:txBody>
      </p:sp>
      <p:sp>
        <p:nvSpPr>
          <p:cNvPr id="8" name="Rechteck 7"/>
          <p:cNvSpPr/>
          <p:nvPr/>
        </p:nvSpPr>
        <p:spPr>
          <a:xfrm>
            <a:off x="611032" y="1400343"/>
            <a:ext cx="3098036" cy="335011"/>
          </a:xfrm>
          <a:prstGeom prst="rect">
            <a:avLst/>
          </a:prstGeom>
          <a:solidFill>
            <a:schemeClr val="bg1"/>
          </a:solidFill>
        </p:spPr>
        <p:txBody>
          <a:bodyPr wrap="square" anchor="b">
            <a:noAutofit/>
          </a:bodyPr>
          <a:lstStyle/>
          <a:p>
            <a:pPr marL="285750" lvl="1" indent="-285750">
              <a:spcAft>
                <a:spcPts val="600"/>
              </a:spcAft>
              <a:buClr>
                <a:srgbClr val="FFFFFF">
                  <a:lumMod val="65000"/>
                </a:srgbClr>
              </a:buClr>
              <a:buFont typeface="Wingdings" panose="05000000000000000000" pitchFamily="2" charset="2"/>
              <a:buChar char="§"/>
            </a:pPr>
            <a:endParaRPr lang="en-US" sz="100" b="0" dirty="0"/>
          </a:p>
          <a:p>
            <a:pPr marL="285750" lvl="1" indent="-285750">
              <a:spcAft>
                <a:spcPts val="600"/>
              </a:spcAft>
              <a:buClr>
                <a:srgbClr val="FFFFFF">
                  <a:lumMod val="65000"/>
                </a:srgbClr>
              </a:buClr>
              <a:buFont typeface="Wingdings" panose="05000000000000000000" pitchFamily="2" charset="2"/>
              <a:buChar char="§"/>
            </a:pPr>
            <a:r>
              <a:rPr lang="en-US" sz="1400" b="0" dirty="0"/>
              <a:t>Levels of </a:t>
            </a:r>
            <a:r>
              <a:rPr lang="en-US" sz="1400" b="0" dirty="0" smtClean="0"/>
              <a:t>Negotiation:</a:t>
            </a:r>
            <a:endParaRPr lang="en-US" sz="1400" b="0" dirty="0"/>
          </a:p>
        </p:txBody>
      </p:sp>
      <p:graphicFrame>
        <p:nvGraphicFramePr>
          <p:cNvPr id="95" name="Tabelle 9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68555441"/>
              </p:ext>
            </p:extLst>
          </p:nvPr>
        </p:nvGraphicFramePr>
        <p:xfrm>
          <a:off x="356268" y="1763063"/>
          <a:ext cx="8623300" cy="5205057"/>
        </p:xfrm>
        <a:graphic>
          <a:graphicData uri="http://schemas.openxmlformats.org/drawingml/2006/table">
            <a:tbl>
              <a:tblPr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tblPr>
              <a:tblGrid>
                <a:gridCol w="990600"/>
                <a:gridCol w="1219200"/>
                <a:gridCol w="1219200"/>
                <a:gridCol w="1171575"/>
                <a:gridCol w="1343025"/>
                <a:gridCol w="1320132"/>
                <a:gridCol w="1359568"/>
              </a:tblGrid>
              <a:tr h="446737"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Parameter </a:t>
                      </a:r>
                    </a:p>
                  </a:txBody>
                  <a:tcPr marL="18632" marR="0" marT="18632" marB="0">
                    <a:lnL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1" i="0" u="none" strike="noStrike" dirty="0" smtClean="0">
                          <a:solidFill>
                            <a:srgbClr val="1F497D"/>
                          </a:solidFill>
                          <a:effectLst/>
                          <a:latin typeface="Arial"/>
                        </a:rPr>
                        <a:t>ACEA draft</a:t>
                      </a:r>
                    </a:p>
                    <a:p>
                      <a:pPr algn="l" fontAlgn="t"/>
                      <a:r>
                        <a:rPr lang="en-US" sz="1200" b="1" i="0" u="none" strike="noStrike" dirty="0" smtClean="0">
                          <a:solidFill>
                            <a:srgbClr val="1F497D"/>
                          </a:solidFill>
                          <a:effectLst/>
                          <a:latin typeface="Arial"/>
                        </a:rPr>
                        <a:t>Walk-In Position</a:t>
                      </a:r>
                      <a:endParaRPr lang="en-US" sz="1200" b="1" i="0" u="none" strike="noStrike" dirty="0">
                        <a:solidFill>
                          <a:srgbClr val="1F497D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U-COM</a:t>
                      </a:r>
                    </a:p>
                    <a:p>
                      <a:pPr algn="l" fontAlgn="t"/>
                      <a:r>
                        <a:rPr 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Position 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U-COM</a:t>
                      </a:r>
                    </a:p>
                    <a:p>
                      <a:pPr algn="l" fontAlgn="t"/>
                      <a:r>
                        <a:rPr 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ompromise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4E0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CEA </a:t>
                      </a:r>
                      <a:endParaRPr lang="en-US" sz="1200" b="1" i="0" u="none" strike="noStrike" dirty="0" smtClean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  <a:p>
                      <a:pPr algn="l" fontAlgn="t"/>
                      <a:r>
                        <a:rPr 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ompromise C1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CEA </a:t>
                      </a:r>
                      <a:endParaRPr lang="en-US" sz="1200" b="1" i="0" u="none" strike="noStrike" dirty="0" smtClean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  <a:p>
                      <a:pPr algn="l" fontAlgn="t"/>
                      <a:r>
                        <a:rPr 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ompromise 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2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CEA </a:t>
                      </a:r>
                      <a:endParaRPr lang="en-US" sz="1200" b="1" i="0" u="none" strike="noStrike" dirty="0" smtClean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  <a:p>
                      <a:pPr algn="l" fontAlgn="t"/>
                      <a:r>
                        <a:rPr 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ompromise C3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99"/>
                    </a:solidFill>
                  </a:tcPr>
                </a:tc>
              </a:tr>
              <a:tr h="286590"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mbient temperature</a:t>
                      </a:r>
                      <a:br>
                        <a:rPr lang="en-US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</a:br>
                      <a:r>
                        <a:rPr lang="en-US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(Moderate/ Extended) </a:t>
                      </a:r>
                    </a:p>
                  </a:txBody>
                  <a:tcPr marL="18632" marR="0" marT="18632" marB="0">
                    <a:lnL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tep 1: </a:t>
                      </a:r>
                      <a:endParaRPr lang="en-US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+</a:t>
                      </a: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C/ +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C…30C 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od</a:t>
                      </a: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./ext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.</a:t>
                      </a:r>
                    </a:p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tep2</a:t>
                      </a: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: </a:t>
                      </a:r>
                      <a:endParaRPr lang="en-US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+</a:t>
                      </a: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C/ +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C…30C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od</a:t>
                      </a: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./ext.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tep 1: </a:t>
                      </a:r>
                    </a:p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+3C/ -2C…30/35C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M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od./Ext.</a:t>
                      </a:r>
                    </a:p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tep2: </a:t>
                      </a:r>
                    </a:p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+0C/ -7C…30/35C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M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od./Ext. 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18632" marR="0" marT="1863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4E0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tep 1: </a:t>
                      </a:r>
                    </a:p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+3C/ </a:t>
                      </a:r>
                      <a: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2C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…30C 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od./Ext.</a:t>
                      </a:r>
                    </a:p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tep2: </a:t>
                      </a:r>
                    </a:p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+0C/ -7C…30C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M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od./Ext. 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tep 1: </a:t>
                      </a:r>
                    </a:p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+3C/ +0C…30C 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od./Ext.</a:t>
                      </a:r>
                    </a:p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tep2: </a:t>
                      </a:r>
                    </a:p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+0C/ -7C…30C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M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od./Ext.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tep 1: </a:t>
                      </a:r>
                    </a:p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+3C/ +0C…30C 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od./Ext.</a:t>
                      </a:r>
                    </a:p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tep2: </a:t>
                      </a:r>
                    </a:p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+0C/ -3C…30C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M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od./Ext.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</a:p>
                    <a:p>
                      <a:pPr algn="l" fontAlgn="t"/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  <a:r>
                        <a:rPr lang="en-US" sz="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[</a:t>
                      </a:r>
                      <a:r>
                        <a:rPr lang="en-US" sz="7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-</a:t>
                      </a:r>
                      <a:r>
                        <a:rPr lang="en-US" sz="7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7 with add. </a:t>
                      </a:r>
                      <a:r>
                        <a:rPr lang="en-US" sz="7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CF]</a:t>
                      </a:r>
                      <a:endParaRPr lang="en-US" sz="700" b="1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99"/>
                    </a:solidFill>
                  </a:tcPr>
                </a:tc>
              </a:tr>
              <a:tr h="217940">
                <a:tc>
                  <a:txBody>
                    <a:bodyPr/>
                    <a:lstStyle/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Vmax</a:t>
                      </a:r>
                      <a: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/>
                      </a:r>
                      <a:b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</a:br>
                      <a: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(Moderate/Extended) </a:t>
                      </a:r>
                    </a:p>
                  </a:txBody>
                  <a:tcPr marL="18632" marR="0" marT="18632" marB="0">
                    <a:lnL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30 km/h / </a:t>
                      </a:r>
                      <a:b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</a:b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30 km/h + 15 km/h for 3% of time 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45 km/h + 15 km/h </a:t>
                      </a:r>
                      <a:r>
                        <a:rPr lang="en-US" sz="7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für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3 %  of time </a:t>
                      </a:r>
                    </a:p>
                    <a:p>
                      <a:pPr algn="l" fontAlgn="t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4E0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45 km/h + 15 km/h for 3 % of time </a:t>
                      </a:r>
                    </a:p>
                    <a:p>
                      <a:pPr algn="l" fontAlgn="t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30 km/h +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10 km/h 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for 3% of highway distance;</a:t>
                      </a:r>
                    </a:p>
                    <a:p>
                      <a:pPr algn="l" fontAlgn="t"/>
                      <a:r>
                        <a:rPr lang="en-US" sz="7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if </a:t>
                      </a:r>
                      <a:r>
                        <a:rPr lang="en-US" sz="700" b="1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Pwr</a:t>
                      </a:r>
                      <a:r>
                        <a:rPr lang="en-US" sz="7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/mass &lt; 34kW/to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;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/>
                      </a:r>
                      <a:b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</a:b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45 km/h + 15 km/h for 3% of highway distance;</a:t>
                      </a:r>
                    </a:p>
                    <a:p>
                      <a:pPr algn="l" fontAlgn="t"/>
                      <a:r>
                        <a:rPr lang="en-US" sz="7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if </a:t>
                      </a:r>
                      <a:r>
                        <a:rPr lang="en-US" sz="700" b="1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Pwr</a:t>
                      </a:r>
                      <a:r>
                        <a:rPr lang="en-US" sz="7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/mass &gt;= 34kW/to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;</a:t>
                      </a:r>
                      <a:endParaRPr lang="en-US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30 km/h / </a:t>
                      </a:r>
                      <a:b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</a:b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45 km/h + 15 km/h for 3% of highway distance 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99"/>
                    </a:solidFill>
                  </a:tcPr>
                </a:tc>
              </a:tr>
              <a:tr h="149290">
                <a:tc rowSpan="2">
                  <a:txBody>
                    <a:bodyPr/>
                    <a:lstStyle/>
                    <a:p>
                      <a:pPr algn="l" fontAlgn="t"/>
                      <a: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Weight</a:t>
                      </a:r>
                      <a:b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</a:br>
                      <a: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(Moderate/Extended)</a:t>
                      </a:r>
                      <a:endParaRPr 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unladen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weight  + 200 kg</a:t>
                      </a:r>
                    </a:p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ax.: 2840kg 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0 % total mass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18632" marR="0" marT="1863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4E0F4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1: 90 % total mass</a:t>
                      </a:r>
                    </a:p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ax.: 2840kg </a:t>
                      </a:r>
                    </a:p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</a:p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1: + 50% payload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FF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1: </a:t>
                      </a:r>
                      <a:r>
                        <a:rPr lang="en-US" sz="7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unladen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weight  + 200 kg </a:t>
                      </a:r>
                    </a:p>
                    <a:p>
                      <a:pPr algn="l" fontAlgn="t"/>
                      <a:r>
                        <a:rPr lang="en-US" sz="7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if </a:t>
                      </a:r>
                      <a:r>
                        <a:rPr lang="en-US" sz="700" b="1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Pwr</a:t>
                      </a:r>
                      <a:r>
                        <a:rPr lang="en-US" sz="7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/mass &lt; 34kW/to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;</a:t>
                      </a:r>
                      <a:endParaRPr lang="en-US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1: 90 % total mass </a:t>
                      </a:r>
                    </a:p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if </a:t>
                      </a:r>
                      <a:r>
                        <a:rPr lang="en-US" sz="700" b="1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Pwr</a:t>
                      </a:r>
                      <a:r>
                        <a:rPr lang="en-US" sz="7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/mass &gt;=34kW/to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;</a:t>
                      </a:r>
                      <a:endParaRPr lang="en-US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  <a:p>
                      <a:pPr algn="l" fontAlgn="t"/>
                      <a:endParaRPr lang="en-US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ax.: 2840kg </a:t>
                      </a:r>
                    </a:p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1: + 50% payload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unladen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weight  + 200 kg </a:t>
                      </a:r>
                    </a:p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ax.: 2840kg 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99"/>
                    </a:solidFill>
                  </a:tcPr>
                </a:tc>
              </a:tr>
              <a:tr h="137300">
                <a:tc vMerge="1">
                  <a:txBody>
                    <a:bodyPr/>
                    <a:lstStyle/>
                    <a:p>
                      <a:pPr algn="l" fontAlgn="t"/>
                      <a:endParaRPr 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0 % total mass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t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t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t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0 % total mass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99"/>
                    </a:solidFill>
                  </a:tcPr>
                </a:tc>
              </a:tr>
              <a:tr h="149290"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in. ø-speed</a:t>
                      </a:r>
                      <a:b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</a:br>
                      <a:r>
                        <a:rPr lang="en-US" sz="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(City/ overland/ highway)</a:t>
                      </a:r>
                      <a:endParaRPr lang="en-US" sz="6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0 km/h / - / 90 km/h 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5 km/h / - / 90 km/h 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4E0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15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km/h / - / 90 km/h 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0 km/h / - / 90 km/h 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0 km/h / - / 90 km/h 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99"/>
                    </a:solidFill>
                  </a:tcPr>
                </a:tc>
              </a:tr>
              <a:tr h="286590">
                <a:tc rowSpan="2">
                  <a:txBody>
                    <a:bodyPr/>
                    <a:lstStyle/>
                    <a:p>
                      <a:pPr algn="l" fontAlgn="t"/>
                      <a: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iming</a:t>
                      </a:r>
                      <a:endParaRPr 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tep 1: NT2017 / -</a:t>
                      </a:r>
                    </a:p>
                    <a:p>
                      <a:pPr algn="l" fontAlgn="t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/>
                      </a:r>
                      <a:b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</a:b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tep 1: NT2017 / AT2018</a:t>
                      </a:r>
                      <a:b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</a:b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/>
                      </a:r>
                      <a:b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</a:b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1: </a:t>
                      </a:r>
                      <a:r>
                        <a:rPr lang="en-US" sz="7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.b.d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.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tep 1: 9/2017NT / 9/2018 AT   ,N1 + 1year</a:t>
                      </a:r>
                      <a:b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</a:b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  <a:endParaRPr lang="en-US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  <a:p>
                      <a:pPr algn="ctr" fontAlgn="b"/>
                      <a:endParaRPr lang="en-US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  <a:p>
                      <a:pPr algn="ctr" fontAlgn="b"/>
                      <a:endParaRPr lang="en-US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  <a:p>
                      <a:pPr algn="ctr" fontAlgn="b"/>
                      <a:endParaRPr lang="en-US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  <a:p>
                      <a:pPr algn="ctr" fontAlgn="b"/>
                      <a:endParaRPr lang="en-US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tep 2: 2020 / 2021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  |   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1 + 1year</a:t>
                      </a:r>
                    </a:p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18632" marR="0" marT="1863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4E0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tep 1: 9/2017NT / 9/2019 AT   ,N1 + 1year</a:t>
                      </a:r>
                      <a:b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</a:b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&amp; (Flexibility by pre-fulfilling of RDE Reg.)</a:t>
                      </a:r>
                    </a:p>
                    <a:p>
                      <a:pPr algn="l" fontAlgn="t"/>
                      <a: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x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luding Gasoline DI</a:t>
                      </a:r>
                    </a:p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&amp; Hybrid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tep 1: 9/2017NT / 9/2019 AT   ,N1 II</a:t>
                      </a:r>
                      <a:b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</a:b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&amp; (Flexibility by pre-fulfilling of RDE Reg.)</a:t>
                      </a:r>
                    </a:p>
                    <a:p>
                      <a:pPr algn="l" fontAlgn="t"/>
                      <a: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x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luding Gasoline DI</a:t>
                      </a:r>
                    </a:p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&amp; Hybrid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tep 1: 9/2017NT / 9/2019 AT   ,N1 + 1year</a:t>
                      </a:r>
                      <a:b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</a:b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&amp; (Flexibility by pre-fulfilling of RDE Reg.)</a:t>
                      </a:r>
                    </a:p>
                    <a:p>
                      <a:pPr algn="l" fontAlgn="t"/>
                      <a: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x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luding Gasoline DI</a:t>
                      </a:r>
                    </a:p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&amp; Hybrid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99"/>
                    </a:solidFill>
                  </a:tcPr>
                </a:tc>
              </a:tr>
              <a:tr h="217940">
                <a:tc vMerge="1">
                  <a:txBody>
                    <a:bodyPr/>
                    <a:lstStyle/>
                    <a:p>
                      <a:pPr algn="l" fontAlgn="t"/>
                      <a:endParaRPr 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tep 2: 5 years after  OJ (NT2020 / AT2021)</a:t>
                      </a:r>
                      <a:b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</a:br>
                      <a:endParaRPr lang="en-US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1 + 1year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t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tep 2: 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sym typeface="Wingdings" panose="05000000000000000000" pitchFamily="2" charset="2"/>
                        </a:rPr>
                        <a:t>5 years after published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sym typeface="Wingdings" panose="05000000000000000000" pitchFamily="2" charset="2"/>
                        </a:rPr>
                        <a:t> 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sym typeface="Wingdings" panose="05000000000000000000" pitchFamily="2" charset="2"/>
                        </a:rPr>
                        <a:t>in official journal 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/>
                      </a:r>
                      <a:b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</a:b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1 + 1year</a:t>
                      </a:r>
                    </a:p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In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luding Gasoline DI &amp; </a:t>
                      </a:r>
                    </a:p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Hybrid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tep 2: 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sym typeface="Wingdings" panose="05000000000000000000" pitchFamily="2" charset="2"/>
                        </a:rPr>
                        <a:t>5 years after published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sym typeface="Wingdings" panose="05000000000000000000" pitchFamily="2" charset="2"/>
                        </a:rPr>
                        <a:t> 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sym typeface="Wingdings" panose="05000000000000000000" pitchFamily="2" charset="2"/>
                        </a:rPr>
                        <a:t>in official journal 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/>
                      </a:r>
                      <a:b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</a:b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1 + 1year</a:t>
                      </a:r>
                    </a:p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In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luding Gasoline DI &amp; </a:t>
                      </a:r>
                    </a:p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Hybrid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tep 2: 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sym typeface="Wingdings" panose="05000000000000000000" pitchFamily="2" charset="2"/>
                        </a:rPr>
                        <a:t>5 years after published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sym typeface="Wingdings" panose="05000000000000000000" pitchFamily="2" charset="2"/>
                        </a:rPr>
                        <a:t> 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sym typeface="Wingdings" panose="05000000000000000000" pitchFamily="2" charset="2"/>
                        </a:rPr>
                        <a:t>in official journal 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/>
                      </a:r>
                      <a:b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</a:b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1 + 1year</a:t>
                      </a:r>
                    </a:p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In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luding Gasoline DI &amp;</a:t>
                      </a:r>
                    </a:p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Hybrid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99"/>
                    </a:solidFill>
                  </a:tcPr>
                </a:tc>
              </a:tr>
              <a:tr h="149290">
                <a:tc rowSpan="2">
                  <a:txBody>
                    <a:bodyPr/>
                    <a:lstStyle/>
                    <a:p>
                      <a:pPr algn="l" fontAlgn="t"/>
                      <a:r>
                        <a:rPr lang="en-US" sz="7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CF’s</a:t>
                      </a:r>
                      <a:endParaRPr lang="en-US" sz="700" b="1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2-step approach </a:t>
                      </a:r>
                      <a:br>
                        <a:rPr lang="en-US" sz="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</a:br>
                      <a:r>
                        <a:rPr lang="en-US" sz="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Step 1: 3,5 / 5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1-step &lt; 2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2-step approach </a:t>
                      </a:r>
                      <a:br>
                        <a:rPr lang="en-US" sz="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</a:br>
                      <a:r>
                        <a:rPr lang="en-US" sz="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    Step 1: 2,5 / ?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4E0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2-step approach </a:t>
                      </a:r>
                      <a:br>
                        <a:rPr lang="en-US" sz="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</a:br>
                      <a:r>
                        <a:rPr lang="en-US" sz="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Step 1: 3,5 / 5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2-step approach </a:t>
                      </a:r>
                      <a:br>
                        <a:rPr lang="en-US" sz="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</a:br>
                      <a:r>
                        <a:rPr lang="en-US" sz="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Step 1: 3,5 / 5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2-step approach </a:t>
                      </a:r>
                      <a:br>
                        <a:rPr lang="en-US" sz="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</a:br>
                      <a:r>
                        <a:rPr lang="en-US" sz="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Step 1: 3,5 / 5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99"/>
                    </a:solidFill>
                  </a:tcPr>
                </a:tc>
              </a:tr>
              <a:tr h="80640">
                <a:tc vMerge="1">
                  <a:txBody>
                    <a:bodyPr/>
                    <a:lstStyle/>
                    <a:p>
                      <a:pPr algn="l" fontAlgn="t"/>
                      <a:endParaRPr 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Step 2: 2 / 3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t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    Step 2: 1,5 / ?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4E0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Step 2: 2 / 3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Step 2: 2 / 3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Step 2: 2 / 3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99"/>
                    </a:solidFill>
                  </a:tcPr>
                </a:tc>
              </a:tr>
              <a:tr h="217940"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Grade</a:t>
                      </a:r>
                      <a:br>
                        <a:rPr lang="en-US" sz="7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</a:br>
                      <a:r>
                        <a:rPr lang="en-US" sz="7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(Moderate/Extended) </a:t>
                      </a:r>
                    </a:p>
                  </a:txBody>
                  <a:tcPr marL="18632" marR="0" marT="18632" marB="0">
                    <a:lnL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2,0 % / 3,5 % (P95%) </a:t>
                      </a:r>
                      <a:br>
                        <a:rPr lang="en-US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</a:br>
                      <a:r>
                        <a:rPr lang="en-US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cum</a:t>
                      </a:r>
                      <a:r>
                        <a:rPr lang="en-US" sz="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. </a:t>
                      </a:r>
                      <a:r>
                        <a:rPr lang="en-US" sz="7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altit</a:t>
                      </a:r>
                      <a:r>
                        <a:rPr lang="en-US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. 650m/100km; 1000m/100km 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no restriction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If confirmed by task force</a:t>
                      </a:r>
                    </a:p>
                    <a:p>
                      <a:pPr algn="ctr" fontAlgn="b"/>
                      <a:endParaRPr lang="en-US" sz="7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4E0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da-DK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2,0 % / 3,5 % (P95%) </a:t>
                      </a:r>
                      <a:br>
                        <a:rPr lang="da-DK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</a:br>
                      <a:r>
                        <a:rPr lang="en-US" sz="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cum. </a:t>
                      </a:r>
                      <a:r>
                        <a:rPr lang="en-US" sz="7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altit</a:t>
                      </a:r>
                      <a:r>
                        <a:rPr lang="en-US" sz="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. 650m/100km; 1000m/100km </a:t>
                      </a:r>
                      <a:endParaRPr lang="en-US" sz="7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da-DK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2,0 % / 3,5 % (P95%) </a:t>
                      </a:r>
                      <a:br>
                        <a:rPr lang="da-DK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</a:br>
                      <a:r>
                        <a:rPr lang="en-US" sz="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cum. </a:t>
                      </a:r>
                      <a:r>
                        <a:rPr lang="en-US" sz="7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altit</a:t>
                      </a:r>
                      <a:r>
                        <a:rPr lang="en-US" sz="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. 650m/100km; 1000m/100km </a:t>
                      </a:r>
                      <a:endParaRPr lang="en-US" sz="7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2,0 % / 3,5 % (P95%) </a:t>
                      </a:r>
                      <a:br>
                        <a:rPr lang="da-DK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</a:br>
                      <a:r>
                        <a:rPr lang="en-US" sz="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cum. </a:t>
                      </a:r>
                      <a:r>
                        <a:rPr lang="en-US" sz="7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altit</a:t>
                      </a:r>
                      <a:r>
                        <a:rPr lang="en-US" sz="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. 650m/100km; 1000m/100km </a:t>
                      </a:r>
                    </a:p>
                    <a:p>
                      <a:pPr algn="l" fontAlgn="t"/>
                      <a:endParaRPr lang="da-DK" sz="7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99"/>
                    </a:solidFill>
                  </a:tcPr>
                </a:tc>
              </a:tr>
              <a:tr h="355240">
                <a:tc>
                  <a:txBody>
                    <a:bodyPr/>
                    <a:lstStyle/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Dynamic of driving </a:t>
                      </a:r>
                      <a:b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</a:br>
                      <a: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(Moderate/Extended) </a:t>
                      </a:r>
                    </a:p>
                  </a:txBody>
                  <a:tcPr marL="18632" marR="0" marT="18632" marB="0">
                    <a:lnL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+0,288v &lt; v · </a:t>
                      </a:r>
                      <a:r>
                        <a:rPr lang="en-US" sz="7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pos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&lt; 11+0,288v (P95%)</a:t>
                      </a:r>
                      <a:b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</a:b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  <a:b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</a:b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+0,288v &lt; v · </a:t>
                      </a:r>
                      <a:r>
                        <a:rPr lang="en-US" sz="7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pos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&lt; 14+0,288v (P95%)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o restriction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If confirmed by task force</a:t>
                      </a:r>
                    </a:p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8632" marR="0" marT="1863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4E0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+0,288v &lt; v · </a:t>
                      </a:r>
                      <a:r>
                        <a:rPr lang="en-US" sz="7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pos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&lt;  11+0,288v (P95%)</a:t>
                      </a:r>
                      <a:b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</a:b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  <a:b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</a:b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+0,288v &lt; v · </a:t>
                      </a:r>
                      <a:r>
                        <a:rPr lang="en-US" sz="7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pos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&lt;  14+0,288v (P95%)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+0,288v &lt; v · </a:t>
                      </a:r>
                      <a:r>
                        <a:rPr lang="en-US" sz="7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pos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&lt; 11+0,288v (P95%)</a:t>
                      </a:r>
                      <a:b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</a:b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  <a:b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</a:b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+0,288v &lt; v · </a:t>
                      </a:r>
                      <a:r>
                        <a:rPr lang="en-US" sz="7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pos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&lt; 14+0,288v (P95%)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+0,288v &lt; v · </a:t>
                      </a:r>
                      <a:r>
                        <a:rPr lang="en-US" sz="7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pos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&lt; </a:t>
                      </a:r>
                    </a:p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1+0,288v (P95%)</a:t>
                      </a:r>
                      <a:b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</a:b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  <a:b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</a:b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+0,288v &lt; v · </a:t>
                      </a:r>
                      <a:r>
                        <a:rPr lang="en-US" sz="7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pos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&lt; </a:t>
                      </a:r>
                    </a:p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4+0,288v (P95%)</a:t>
                      </a:r>
                    </a:p>
                  </a:txBody>
                  <a:tcPr marL="18632" marR="0" marT="1863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99"/>
                    </a:solidFill>
                  </a:tcPr>
                </a:tc>
              </a:tr>
            </a:tbl>
          </a:graphicData>
        </a:graphic>
      </p:graphicFrame>
      <p:sp>
        <p:nvSpPr>
          <p:cNvPr id="99" name="Pfeil nach rechts 98"/>
          <p:cNvSpPr/>
          <p:nvPr/>
        </p:nvSpPr>
        <p:spPr>
          <a:xfrm rot="10800000">
            <a:off x="7595656" y="1480982"/>
            <a:ext cx="949993" cy="248263"/>
          </a:xfrm>
          <a:prstGeom prst="rightArrow">
            <a:avLst>
              <a:gd name="adj1" fmla="val 58411"/>
              <a:gd name="adj2" fmla="val 55011"/>
            </a:avLst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65000"/>
                </a:schemeClr>
              </a:gs>
            </a:gsLst>
            <a:lin ang="0" scaled="1"/>
            <a:tileRect/>
          </a:gradFill>
          <a:ln w="762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Font typeface="Wingdings" pitchFamily="2" charset="2"/>
              <a:buNone/>
            </a:pPr>
            <a:endParaRPr lang="de-DE" sz="1400" dirty="0" err="1" smtClean="0">
              <a:solidFill>
                <a:schemeClr val="tx1">
                  <a:lumMod val="95000"/>
                  <a:lumOff val="5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00" name="Textfeld 99"/>
          <p:cNvSpPr txBox="1"/>
          <p:nvPr/>
        </p:nvSpPr>
        <p:spPr>
          <a:xfrm>
            <a:off x="7900068" y="1462032"/>
            <a:ext cx="62542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 smtClean="0"/>
              <a:t>Level 1</a:t>
            </a:r>
          </a:p>
        </p:txBody>
      </p:sp>
      <p:sp>
        <p:nvSpPr>
          <p:cNvPr id="101" name="Pfeil nach rechts 100"/>
          <p:cNvSpPr/>
          <p:nvPr/>
        </p:nvSpPr>
        <p:spPr>
          <a:xfrm rot="10800000">
            <a:off x="6054016" y="1477843"/>
            <a:ext cx="1274897" cy="251402"/>
          </a:xfrm>
          <a:prstGeom prst="rightArrow">
            <a:avLst>
              <a:gd name="adj1" fmla="val 58411"/>
              <a:gd name="adj2" fmla="val 55011"/>
            </a:avLst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65000"/>
                </a:schemeClr>
              </a:gs>
            </a:gsLst>
            <a:lin ang="0" scaled="1"/>
            <a:tileRect/>
          </a:gradFill>
          <a:ln w="762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Font typeface="Wingdings" pitchFamily="2" charset="2"/>
              <a:buNone/>
            </a:pPr>
            <a:endParaRPr lang="de-DE" sz="1400" dirty="0" err="1" smtClean="0">
              <a:solidFill>
                <a:schemeClr val="tx1">
                  <a:lumMod val="95000"/>
                  <a:lumOff val="5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02" name="Textfeld 101"/>
          <p:cNvSpPr txBox="1"/>
          <p:nvPr/>
        </p:nvSpPr>
        <p:spPr>
          <a:xfrm>
            <a:off x="6599876" y="1461531"/>
            <a:ext cx="62542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 smtClean="0"/>
              <a:t>Level 2</a:t>
            </a:r>
          </a:p>
        </p:txBody>
      </p:sp>
      <p:sp>
        <p:nvSpPr>
          <p:cNvPr id="103" name="Pfeil nach rechts 102"/>
          <p:cNvSpPr/>
          <p:nvPr/>
        </p:nvSpPr>
        <p:spPr>
          <a:xfrm rot="10800000">
            <a:off x="5024606" y="1465981"/>
            <a:ext cx="847321" cy="241769"/>
          </a:xfrm>
          <a:prstGeom prst="rightArrow">
            <a:avLst>
              <a:gd name="adj1" fmla="val 100000"/>
              <a:gd name="adj2" fmla="val 0"/>
            </a:avLst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65000"/>
                </a:schemeClr>
              </a:gs>
            </a:gsLst>
            <a:lin ang="0" scaled="1"/>
            <a:tileRect/>
          </a:gradFill>
          <a:ln w="762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Font typeface="Wingdings" pitchFamily="2" charset="2"/>
              <a:buNone/>
            </a:pPr>
            <a:endParaRPr lang="de-DE" sz="1400" dirty="0" err="1" smtClean="0">
              <a:solidFill>
                <a:schemeClr val="tx1">
                  <a:lumMod val="95000"/>
                  <a:lumOff val="5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04" name="Textfeld 103"/>
          <p:cNvSpPr txBox="1"/>
          <p:nvPr/>
        </p:nvSpPr>
        <p:spPr>
          <a:xfrm>
            <a:off x="5293440" y="1459658"/>
            <a:ext cx="62542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 smtClean="0"/>
              <a:t>Level 3</a:t>
            </a:r>
          </a:p>
        </p:txBody>
      </p:sp>
      <p:pic>
        <p:nvPicPr>
          <p:cNvPr id="105" name="Picture 2" descr="European Commission logo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93371" y="1622651"/>
            <a:ext cx="445295" cy="308082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6" name="Picture 5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39358" y="1684009"/>
            <a:ext cx="292469" cy="3213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1" name="Picture 2" descr="European Commission logo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55228" y="1646890"/>
            <a:ext cx="445295" cy="308082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6" name="Pfeil nach oben und unten 145"/>
          <p:cNvSpPr/>
          <p:nvPr/>
        </p:nvSpPr>
        <p:spPr>
          <a:xfrm rot="5400000">
            <a:off x="3697932" y="3936419"/>
            <a:ext cx="102722" cy="206130"/>
          </a:xfrm>
          <a:prstGeom prst="upDownArrow">
            <a:avLst>
              <a:gd name="adj1" fmla="val 44480"/>
              <a:gd name="adj2" fmla="val 69553"/>
            </a:avLst>
          </a:prstGeom>
          <a:gradFill flip="none" rotWithShape="1">
            <a:gsLst>
              <a:gs pos="16000">
                <a:srgbClr val="FFBDCE"/>
              </a:gs>
              <a:gs pos="55000">
                <a:srgbClr val="D4E0F4"/>
              </a:gs>
            </a:gsLst>
            <a:lin ang="16200000" scaled="1"/>
            <a:tileRect/>
          </a:gradFill>
          <a:ln w="6350" cap="flat" cmpd="sng" algn="ctr">
            <a:solidFill>
              <a:schemeClr val="bg2"/>
            </a:solidFill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 err="1" smtClean="0">
              <a:ln>
                <a:noFill/>
              </a:ln>
              <a:solidFill>
                <a:srgbClr val="000000">
                  <a:lumMod val="95000"/>
                  <a:lumOff val="5000"/>
                </a:srgbClr>
              </a:solidFill>
              <a:effectLst/>
              <a:uLnTx/>
              <a:uFillTx/>
              <a:latin typeface="Calibri"/>
              <a:ea typeface="+mn-ea"/>
              <a:cs typeface="Calibri" pitchFamily="34" charset="0"/>
            </a:endParaRPr>
          </a:p>
        </p:txBody>
      </p:sp>
      <p:sp>
        <p:nvSpPr>
          <p:cNvPr id="147" name="Pfeil nach oben und unten 146"/>
          <p:cNvSpPr/>
          <p:nvPr/>
        </p:nvSpPr>
        <p:spPr>
          <a:xfrm rot="5400000">
            <a:off x="3730515" y="3080687"/>
            <a:ext cx="102722" cy="206130"/>
          </a:xfrm>
          <a:prstGeom prst="upDownArrow">
            <a:avLst>
              <a:gd name="adj1" fmla="val 44480"/>
              <a:gd name="adj2" fmla="val 69553"/>
            </a:avLst>
          </a:prstGeom>
          <a:gradFill flip="none" rotWithShape="1">
            <a:gsLst>
              <a:gs pos="16000">
                <a:srgbClr val="FFBDCE"/>
              </a:gs>
              <a:gs pos="55000">
                <a:srgbClr val="D4E0F4"/>
              </a:gs>
            </a:gsLst>
            <a:lin ang="16200000" scaled="1"/>
            <a:tileRect/>
          </a:gradFill>
          <a:ln w="6350" cap="flat" cmpd="sng" algn="ctr">
            <a:solidFill>
              <a:schemeClr val="bg2"/>
            </a:solidFill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 err="1" smtClean="0">
              <a:ln>
                <a:noFill/>
              </a:ln>
              <a:solidFill>
                <a:srgbClr val="000000">
                  <a:lumMod val="95000"/>
                  <a:lumOff val="5000"/>
                </a:srgbClr>
              </a:solidFill>
              <a:effectLst/>
              <a:uLnTx/>
              <a:uFillTx/>
              <a:latin typeface="Calibri"/>
              <a:ea typeface="+mn-ea"/>
              <a:cs typeface="Calibri" pitchFamily="34" charset="0"/>
            </a:endParaRPr>
          </a:p>
        </p:txBody>
      </p:sp>
      <p:sp>
        <p:nvSpPr>
          <p:cNvPr id="7" name="Textfeld 6"/>
          <p:cNvSpPr txBox="1"/>
          <p:nvPr/>
        </p:nvSpPr>
        <p:spPr>
          <a:xfrm>
            <a:off x="3852358" y="2134423"/>
            <a:ext cx="1008609" cy="168172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  <a:reflection blurRad="6350" stA="52000" endA="300" endPos="35000" dir="5400000" sy="-100000" algn="bl" rotWithShape="0"/>
          </a:effectLst>
        </p:spPr>
        <p:txBody>
          <a:bodyPr wrap="none" rtlCol="0" anchor="ctr">
            <a:spAutoFit/>
          </a:bodyPr>
          <a:lstStyle/>
          <a:p>
            <a:r>
              <a:rPr lang="de-DE" sz="1000" dirty="0" smtClean="0"/>
              <a:t>!ROOMERS!</a:t>
            </a:r>
            <a:endParaRPr lang="en-US" sz="1000" dirty="0" smtClean="0"/>
          </a:p>
        </p:txBody>
      </p:sp>
      <p:cxnSp>
        <p:nvCxnSpPr>
          <p:cNvPr id="11" name="Gerade Verbindung 10"/>
          <p:cNvCxnSpPr/>
          <p:nvPr/>
        </p:nvCxnSpPr>
        <p:spPr bwMode="auto">
          <a:xfrm>
            <a:off x="7595657" y="1480982"/>
            <a:ext cx="0" cy="2252818"/>
          </a:xfrm>
          <a:prstGeom prst="line">
            <a:avLst/>
          </a:prstGeom>
          <a:solidFill>
            <a:srgbClr val="DDDDDD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66" name="Textfeld 265"/>
          <p:cNvSpPr txBox="1"/>
          <p:nvPr/>
        </p:nvSpPr>
        <p:spPr>
          <a:xfrm>
            <a:off x="778823" y="5661650"/>
            <a:ext cx="1003801" cy="26161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de-DE" sz="1100" dirty="0" smtClean="0">
                <a:solidFill>
                  <a:srgbClr val="FF0000"/>
                </a:solidFill>
              </a:rPr>
              <a:t>Task </a:t>
            </a:r>
            <a:r>
              <a:rPr lang="de-DE" sz="1100" dirty="0" err="1" smtClean="0">
                <a:solidFill>
                  <a:srgbClr val="FF0000"/>
                </a:solidFill>
              </a:rPr>
              <a:t>force</a:t>
            </a:r>
            <a:endParaRPr lang="de-DE" sz="1100" dirty="0" smtClean="0">
              <a:solidFill>
                <a:srgbClr val="FF0000"/>
              </a:solidFill>
            </a:endParaRPr>
          </a:p>
        </p:txBody>
      </p:sp>
      <p:sp>
        <p:nvSpPr>
          <p:cNvPr id="267" name="Textfeld 266"/>
          <p:cNvSpPr txBox="1"/>
          <p:nvPr/>
        </p:nvSpPr>
        <p:spPr>
          <a:xfrm>
            <a:off x="762000" y="6104900"/>
            <a:ext cx="1003801" cy="26161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de-DE" sz="1100" dirty="0" smtClean="0">
                <a:solidFill>
                  <a:srgbClr val="FF0000"/>
                </a:solidFill>
              </a:rPr>
              <a:t>Task </a:t>
            </a:r>
            <a:r>
              <a:rPr lang="de-DE" sz="1100" dirty="0" err="1" smtClean="0">
                <a:solidFill>
                  <a:srgbClr val="FF0000"/>
                </a:solidFill>
              </a:rPr>
              <a:t>force</a:t>
            </a:r>
            <a:endParaRPr lang="de-DE" sz="1100" dirty="0" smtClean="0">
              <a:solidFill>
                <a:srgbClr val="FF0000"/>
              </a:solidFill>
            </a:endParaRPr>
          </a:p>
        </p:txBody>
      </p:sp>
      <p:sp>
        <p:nvSpPr>
          <p:cNvPr id="268" name="Textfeld 267"/>
          <p:cNvSpPr txBox="1"/>
          <p:nvPr/>
        </p:nvSpPr>
        <p:spPr>
          <a:xfrm>
            <a:off x="762000" y="3873372"/>
            <a:ext cx="1361270" cy="26161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de-DE" sz="1100" dirty="0" smtClean="0">
                <a:solidFill>
                  <a:srgbClr val="FF0000"/>
                </a:solidFill>
              </a:rPr>
              <a:t>2nd </a:t>
            </a:r>
            <a:r>
              <a:rPr lang="de-DE" sz="1100" dirty="0" err="1" smtClean="0">
                <a:solidFill>
                  <a:srgbClr val="FF0000"/>
                </a:solidFill>
              </a:rPr>
              <a:t>road</a:t>
            </a:r>
            <a:r>
              <a:rPr lang="de-DE" sz="1100" dirty="0" smtClean="0">
                <a:solidFill>
                  <a:srgbClr val="FF0000"/>
                </a:solidFill>
              </a:rPr>
              <a:t> </a:t>
            </a:r>
            <a:r>
              <a:rPr lang="de-DE" sz="1100" dirty="0" err="1" smtClean="0">
                <a:solidFill>
                  <a:srgbClr val="FF0000"/>
                </a:solidFill>
              </a:rPr>
              <a:t>show</a:t>
            </a:r>
            <a:endParaRPr lang="de-DE" sz="1100" dirty="0" smtClean="0">
              <a:solidFill>
                <a:srgbClr val="FF0000"/>
              </a:solidFill>
            </a:endParaRPr>
          </a:p>
        </p:txBody>
      </p:sp>
      <p:sp>
        <p:nvSpPr>
          <p:cNvPr id="270" name="Textfeld 269"/>
          <p:cNvSpPr txBox="1"/>
          <p:nvPr/>
        </p:nvSpPr>
        <p:spPr>
          <a:xfrm>
            <a:off x="762000" y="5140430"/>
            <a:ext cx="1676400" cy="261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sz="1100" dirty="0" smtClean="0">
                <a:solidFill>
                  <a:srgbClr val="FF0000"/>
                </a:solidFill>
              </a:rPr>
              <a:t>3rd </a:t>
            </a:r>
            <a:r>
              <a:rPr lang="de-DE" sz="1100" dirty="0" err="1" smtClean="0">
                <a:solidFill>
                  <a:srgbClr val="FF0000"/>
                </a:solidFill>
              </a:rPr>
              <a:t>road</a:t>
            </a:r>
            <a:r>
              <a:rPr lang="de-DE" sz="1100" dirty="0" smtClean="0">
                <a:solidFill>
                  <a:srgbClr val="FF0000"/>
                </a:solidFill>
              </a:rPr>
              <a:t> </a:t>
            </a:r>
            <a:r>
              <a:rPr lang="de-DE" sz="1100" dirty="0" err="1" smtClean="0">
                <a:solidFill>
                  <a:srgbClr val="FF0000"/>
                </a:solidFill>
              </a:rPr>
              <a:t>show</a:t>
            </a:r>
            <a:endParaRPr lang="de-DE" sz="1100" dirty="0" smtClean="0">
              <a:solidFill>
                <a:srgbClr val="FF0000"/>
              </a:solidFill>
            </a:endParaRPr>
          </a:p>
        </p:txBody>
      </p:sp>
      <p:sp>
        <p:nvSpPr>
          <p:cNvPr id="307" name="Textfeld 306"/>
          <p:cNvSpPr txBox="1"/>
          <p:nvPr/>
        </p:nvSpPr>
        <p:spPr>
          <a:xfrm>
            <a:off x="797626" y="3410197"/>
            <a:ext cx="1003801" cy="26161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de-DE" sz="1100" dirty="0" smtClean="0">
                <a:solidFill>
                  <a:srgbClr val="FF0000"/>
                </a:solidFill>
              </a:rPr>
              <a:t>Task </a:t>
            </a:r>
            <a:r>
              <a:rPr lang="de-DE" sz="1100" dirty="0" err="1" smtClean="0">
                <a:solidFill>
                  <a:srgbClr val="FF0000"/>
                </a:solidFill>
              </a:rPr>
              <a:t>force</a:t>
            </a:r>
            <a:endParaRPr lang="de-DE" sz="1100" dirty="0" smtClean="0">
              <a:solidFill>
                <a:srgbClr val="FF0000"/>
              </a:solidFill>
            </a:endParaRPr>
          </a:p>
        </p:txBody>
      </p:sp>
      <p:sp>
        <p:nvSpPr>
          <p:cNvPr id="308" name="Textfeld 307"/>
          <p:cNvSpPr txBox="1"/>
          <p:nvPr/>
        </p:nvSpPr>
        <p:spPr>
          <a:xfrm rot="16200000">
            <a:off x="-264357" y="2709167"/>
            <a:ext cx="74411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>
                <a:solidFill>
                  <a:srgbClr val="FF0000"/>
                </a:solidFill>
              </a:rPr>
              <a:t>FORD</a:t>
            </a:r>
          </a:p>
        </p:txBody>
      </p:sp>
      <p:sp>
        <p:nvSpPr>
          <p:cNvPr id="12" name="Geschweifte Klammer links 11"/>
          <p:cNvSpPr/>
          <p:nvPr/>
        </p:nvSpPr>
        <p:spPr bwMode="auto">
          <a:xfrm>
            <a:off x="182008" y="2145026"/>
            <a:ext cx="271200" cy="1294576"/>
          </a:xfrm>
          <a:prstGeom prst="leftBrace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3200" b="1" i="0" u="none" strike="noStrike" cap="none" normalizeH="0" baseline="0">
              <a:ln>
                <a:noFill/>
              </a:ln>
              <a:solidFill>
                <a:srgbClr val="336699"/>
              </a:solidFill>
              <a:effectLst/>
              <a:latin typeface="Verdana" charset="0"/>
              <a:ea typeface="ＭＳ Ｐゴシック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1516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/>
          <p:cNvSpPr/>
          <p:nvPr/>
        </p:nvSpPr>
        <p:spPr bwMode="auto">
          <a:xfrm>
            <a:off x="990600" y="2403144"/>
            <a:ext cx="7772400" cy="721056"/>
          </a:xfrm>
          <a:prstGeom prst="rect">
            <a:avLst/>
          </a:prstGeom>
          <a:solidFill>
            <a:srgbClr val="DDDDD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3200" b="1" i="0" u="none" strike="noStrike" cap="none" normalizeH="0" baseline="0">
              <a:ln>
                <a:noFill/>
              </a:ln>
              <a:solidFill>
                <a:srgbClr val="336699"/>
              </a:solidFill>
              <a:effectLst/>
              <a:latin typeface="Verdana" charset="0"/>
              <a:ea typeface="ＭＳ Ｐゴシック" charset="0"/>
              <a:cs typeface="Arial" charset="0"/>
            </a:endParaRPr>
          </a:p>
        </p:txBody>
      </p:sp>
      <p:sp>
        <p:nvSpPr>
          <p:cNvPr id="9" name="Rechteck 8"/>
          <p:cNvSpPr/>
          <p:nvPr/>
        </p:nvSpPr>
        <p:spPr bwMode="auto">
          <a:xfrm>
            <a:off x="990600" y="1248269"/>
            <a:ext cx="7772400" cy="340056"/>
          </a:xfrm>
          <a:prstGeom prst="rect">
            <a:avLst/>
          </a:prstGeom>
          <a:solidFill>
            <a:srgbClr val="DDDDD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3200" b="1" i="0" u="none" strike="noStrike" cap="none" normalizeH="0" baseline="0">
              <a:ln>
                <a:noFill/>
              </a:ln>
              <a:solidFill>
                <a:srgbClr val="336699"/>
              </a:solidFill>
              <a:effectLst/>
              <a:latin typeface="Verdana" charset="0"/>
              <a:ea typeface="ＭＳ Ｐゴシック" charset="0"/>
              <a:cs typeface="Arial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Conclusion</a:t>
            </a:r>
            <a:r>
              <a:rPr lang="de-DE" dirty="0" smtClean="0"/>
              <a:t> of ACEA </a:t>
            </a:r>
            <a:r>
              <a:rPr lang="de-DE" dirty="0" err="1" smtClean="0"/>
              <a:t>compromise</a:t>
            </a:r>
            <a:r>
              <a:rPr lang="de-DE" dirty="0" smtClean="0"/>
              <a:t> Version A ??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BD4307-8E25-4063-B042-91C9BB9E4C20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6" name="Textfeld 5"/>
          <p:cNvSpPr txBox="1"/>
          <p:nvPr/>
        </p:nvSpPr>
        <p:spPr>
          <a:xfrm>
            <a:off x="991940" y="1219200"/>
            <a:ext cx="777106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 smtClean="0">
                <a:solidFill>
                  <a:schemeClr val="tx1"/>
                </a:solidFill>
              </a:rPr>
              <a:t>ACEA </a:t>
            </a:r>
            <a:r>
              <a:rPr lang="de-DE" sz="1600" dirty="0" err="1" smtClean="0">
                <a:solidFill>
                  <a:schemeClr val="tx1"/>
                </a:solidFill>
              </a:rPr>
              <a:t>offers</a:t>
            </a:r>
            <a:r>
              <a:rPr lang="de-DE" sz="1600" dirty="0" smtClean="0">
                <a:solidFill>
                  <a:schemeClr val="tx1"/>
                </a:solidFill>
              </a:rPr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b="0" dirty="0" smtClean="0">
              <a:solidFill>
                <a:schemeClr val="tx1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600" b="0" dirty="0" smtClean="0">
                <a:solidFill>
                  <a:schemeClr val="tx1"/>
                </a:solidFill>
              </a:rPr>
              <a:t>Small </a:t>
            </a:r>
            <a:r>
              <a:rPr lang="de-DE" sz="1600" b="0" dirty="0" err="1" smtClean="0">
                <a:solidFill>
                  <a:schemeClr val="tx1"/>
                </a:solidFill>
              </a:rPr>
              <a:t>step</a:t>
            </a:r>
            <a:r>
              <a:rPr lang="de-DE" sz="1600" b="0" dirty="0" smtClean="0">
                <a:solidFill>
                  <a:schemeClr val="tx1"/>
                </a:solidFill>
              </a:rPr>
              <a:t> </a:t>
            </a:r>
            <a:r>
              <a:rPr lang="de-DE" sz="1600" b="0" dirty="0" err="1" smtClean="0">
                <a:solidFill>
                  <a:schemeClr val="tx1"/>
                </a:solidFill>
              </a:rPr>
              <a:t>forward</a:t>
            </a:r>
            <a:r>
              <a:rPr lang="de-DE" sz="1600" b="0" dirty="0" smtClean="0">
                <a:solidFill>
                  <a:schemeClr val="tx1"/>
                </a:solidFill>
              </a:rPr>
              <a:t> </a:t>
            </a:r>
            <a:r>
              <a:rPr lang="de-DE" sz="1600" b="0" dirty="0" err="1" smtClean="0">
                <a:solidFill>
                  <a:schemeClr val="tx1"/>
                </a:solidFill>
              </a:rPr>
              <a:t>by</a:t>
            </a:r>
            <a:r>
              <a:rPr lang="de-DE" sz="1600" b="0" dirty="0" smtClean="0">
                <a:solidFill>
                  <a:schemeClr val="tx1"/>
                </a:solidFill>
              </a:rPr>
              <a:t> BC </a:t>
            </a:r>
            <a:r>
              <a:rPr lang="de-DE" sz="1600" b="0" dirty="0" err="1" smtClean="0">
                <a:solidFill>
                  <a:schemeClr val="tx1"/>
                </a:solidFill>
              </a:rPr>
              <a:t>temperature</a:t>
            </a:r>
            <a:endParaRPr lang="de-DE" sz="1600" b="0" dirty="0" smtClean="0">
              <a:solidFill>
                <a:schemeClr val="tx1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600" b="0" dirty="0" smtClean="0">
                <a:solidFill>
                  <a:schemeClr val="tx1"/>
                </a:solidFill>
              </a:rPr>
              <a:t>Medium </a:t>
            </a:r>
            <a:r>
              <a:rPr lang="de-DE" sz="1600" b="0" dirty="0" err="1" smtClean="0">
                <a:solidFill>
                  <a:schemeClr val="tx1"/>
                </a:solidFill>
              </a:rPr>
              <a:t>step</a:t>
            </a:r>
            <a:r>
              <a:rPr lang="de-DE" sz="1600" b="0" dirty="0" smtClean="0">
                <a:solidFill>
                  <a:schemeClr val="tx1"/>
                </a:solidFill>
              </a:rPr>
              <a:t> </a:t>
            </a:r>
            <a:r>
              <a:rPr lang="de-DE" sz="1600" b="0" dirty="0" err="1" smtClean="0">
                <a:solidFill>
                  <a:schemeClr val="tx1"/>
                </a:solidFill>
              </a:rPr>
              <a:t>forward</a:t>
            </a:r>
            <a:r>
              <a:rPr lang="de-DE" sz="1600" b="0" dirty="0" smtClean="0">
                <a:solidFill>
                  <a:schemeClr val="tx1"/>
                </a:solidFill>
              </a:rPr>
              <a:t> </a:t>
            </a:r>
            <a:r>
              <a:rPr lang="de-DE" sz="1600" b="0" dirty="0" err="1" smtClean="0">
                <a:solidFill>
                  <a:schemeClr val="tx1"/>
                </a:solidFill>
              </a:rPr>
              <a:t>by</a:t>
            </a:r>
            <a:r>
              <a:rPr lang="de-DE" sz="1600" b="0" dirty="0" smtClean="0">
                <a:solidFill>
                  <a:schemeClr val="tx1"/>
                </a:solidFill>
              </a:rPr>
              <a:t> </a:t>
            </a:r>
            <a:r>
              <a:rPr lang="de-DE" sz="1600" b="0" dirty="0" err="1" smtClean="0">
                <a:solidFill>
                  <a:schemeClr val="tx1"/>
                </a:solidFill>
              </a:rPr>
              <a:t>including</a:t>
            </a:r>
            <a:r>
              <a:rPr lang="de-DE" sz="1600" b="0" dirty="0" smtClean="0">
                <a:solidFill>
                  <a:schemeClr val="tx1"/>
                </a:solidFill>
              </a:rPr>
              <a:t> AT 9/2019 </a:t>
            </a:r>
            <a:r>
              <a:rPr lang="de-DE" sz="1600" b="0" dirty="0" err="1" smtClean="0">
                <a:solidFill>
                  <a:schemeClr val="tx1"/>
                </a:solidFill>
              </a:rPr>
              <a:t>for</a:t>
            </a:r>
            <a:r>
              <a:rPr lang="de-DE" sz="1600" b="0" dirty="0" smtClean="0">
                <a:solidFill>
                  <a:schemeClr val="tx1"/>
                </a:solidFill>
              </a:rPr>
              <a:t> RDE </a:t>
            </a:r>
            <a:r>
              <a:rPr lang="de-DE" sz="1600" b="0" dirty="0" err="1" smtClean="0">
                <a:solidFill>
                  <a:schemeClr val="tx1"/>
                </a:solidFill>
              </a:rPr>
              <a:t>step</a:t>
            </a:r>
            <a:r>
              <a:rPr lang="de-DE" sz="1600" b="0" dirty="0" smtClean="0">
                <a:solidFill>
                  <a:schemeClr val="tx1"/>
                </a:solidFill>
              </a:rPr>
              <a:t> 1 </a:t>
            </a:r>
          </a:p>
        </p:txBody>
      </p:sp>
      <p:sp>
        <p:nvSpPr>
          <p:cNvPr id="7" name="Textfeld 6"/>
          <p:cNvSpPr txBox="1"/>
          <p:nvPr/>
        </p:nvSpPr>
        <p:spPr>
          <a:xfrm>
            <a:off x="956953" y="2438400"/>
            <a:ext cx="7966013" cy="42780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 smtClean="0">
                <a:solidFill>
                  <a:schemeClr val="tx1"/>
                </a:solidFill>
              </a:rPr>
              <a:t>On </a:t>
            </a:r>
            <a:r>
              <a:rPr lang="de-DE" sz="1600" dirty="0" err="1" smtClean="0">
                <a:solidFill>
                  <a:schemeClr val="tx1"/>
                </a:solidFill>
              </a:rPr>
              <a:t>the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other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side</a:t>
            </a:r>
            <a:r>
              <a:rPr lang="de-DE" sz="1600" dirty="0" smtClean="0">
                <a:solidFill>
                  <a:schemeClr val="tx1"/>
                </a:solidFill>
              </a:rPr>
              <a:t> ACEA </a:t>
            </a:r>
            <a:r>
              <a:rPr lang="de-DE" sz="1600" dirty="0" err="1" smtClean="0">
                <a:solidFill>
                  <a:schemeClr val="tx1"/>
                </a:solidFill>
              </a:rPr>
              <a:t>demands</a:t>
            </a:r>
            <a:r>
              <a:rPr lang="de-DE" sz="1600" dirty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from</a:t>
            </a:r>
            <a:r>
              <a:rPr lang="de-DE" sz="1600" dirty="0" smtClean="0">
                <a:solidFill>
                  <a:schemeClr val="tx1"/>
                </a:solidFill>
              </a:rPr>
              <a:t> DG </a:t>
            </a:r>
            <a:r>
              <a:rPr lang="de-DE" sz="1600" dirty="0" err="1" smtClean="0">
                <a:solidFill>
                  <a:schemeClr val="tx1"/>
                </a:solidFill>
              </a:rPr>
              <a:t>Gr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ake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over</a:t>
            </a:r>
            <a:r>
              <a:rPr lang="de-DE" sz="1600" dirty="0" smtClean="0">
                <a:solidFill>
                  <a:schemeClr val="tx1"/>
                </a:solidFill>
              </a:rPr>
              <a:t> ACEA RDE </a:t>
            </a:r>
            <a:r>
              <a:rPr lang="de-DE" sz="1600" dirty="0" err="1" smtClean="0">
                <a:solidFill>
                  <a:schemeClr val="tx1"/>
                </a:solidFill>
              </a:rPr>
              <a:t>draft</a:t>
            </a:r>
            <a:r>
              <a:rPr lang="de-DE" sz="1600" dirty="0" smtClean="0">
                <a:solidFill>
                  <a:schemeClr val="tx1"/>
                </a:solidFill>
              </a:rPr>
              <a:t> 17.12.2014 </a:t>
            </a:r>
            <a:r>
              <a:rPr lang="de-DE" sz="1600" dirty="0" err="1" smtClean="0">
                <a:solidFill>
                  <a:schemeClr val="tx1"/>
                </a:solidFill>
              </a:rPr>
              <a:t>content</a:t>
            </a:r>
            <a:r>
              <a:rPr lang="de-DE" sz="1600" dirty="0" smtClean="0">
                <a:solidFill>
                  <a:schemeClr val="tx1"/>
                </a:solidFill>
              </a:rPr>
              <a:t>  </a:t>
            </a:r>
            <a:r>
              <a:rPr lang="de-DE" sz="1600" dirty="0" err="1" smtClean="0">
                <a:solidFill>
                  <a:schemeClr val="tx1"/>
                </a:solidFill>
              </a:rPr>
              <a:t>for</a:t>
            </a:r>
            <a:r>
              <a:rPr lang="de-DE" sz="1600" dirty="0" smtClean="0">
                <a:solidFill>
                  <a:schemeClr val="tx1"/>
                </a:solidFill>
              </a:rPr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b="0" dirty="0" smtClean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b="0" dirty="0">
              <a:solidFill>
                <a:schemeClr val="tx1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600" b="0" dirty="0" smtClean="0">
                <a:solidFill>
                  <a:schemeClr val="tx1"/>
                </a:solidFill>
              </a:rPr>
              <a:t>BC </a:t>
            </a:r>
            <a:r>
              <a:rPr lang="de-DE" sz="1600" b="0" dirty="0" err="1" smtClean="0">
                <a:solidFill>
                  <a:schemeClr val="tx1"/>
                </a:solidFill>
              </a:rPr>
              <a:t>vehicle</a:t>
            </a:r>
            <a:r>
              <a:rPr lang="de-DE" sz="1600" b="0" dirty="0" smtClean="0">
                <a:solidFill>
                  <a:schemeClr val="tx1"/>
                </a:solidFill>
              </a:rPr>
              <a:t> </a:t>
            </a:r>
            <a:r>
              <a:rPr lang="de-DE" sz="1600" b="0" dirty="0" err="1" smtClean="0">
                <a:solidFill>
                  <a:schemeClr val="tx1"/>
                </a:solidFill>
              </a:rPr>
              <a:t>speed</a:t>
            </a:r>
            <a:endParaRPr lang="de-DE" sz="1600" b="0" dirty="0">
              <a:solidFill>
                <a:schemeClr val="tx1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600" b="0" dirty="0" smtClean="0">
                <a:solidFill>
                  <a:schemeClr val="tx1"/>
                </a:solidFill>
              </a:rPr>
              <a:t>BC </a:t>
            </a:r>
            <a:r>
              <a:rPr lang="de-DE" sz="1600" b="0" dirty="0" err="1" smtClean="0">
                <a:solidFill>
                  <a:schemeClr val="tx1"/>
                </a:solidFill>
              </a:rPr>
              <a:t>mass</a:t>
            </a:r>
            <a:endParaRPr lang="de-DE" sz="1600" b="0" dirty="0" smtClean="0">
              <a:solidFill>
                <a:schemeClr val="tx1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600" b="0" dirty="0" smtClean="0">
                <a:solidFill>
                  <a:schemeClr val="tx1"/>
                </a:solidFill>
              </a:rPr>
              <a:t>BC </a:t>
            </a:r>
            <a:r>
              <a:rPr lang="de-DE" sz="1600" b="0" dirty="0" err="1" smtClean="0">
                <a:solidFill>
                  <a:schemeClr val="tx1"/>
                </a:solidFill>
              </a:rPr>
              <a:t>idle</a:t>
            </a:r>
            <a:r>
              <a:rPr lang="de-DE" sz="1600" b="0" dirty="0" smtClean="0">
                <a:solidFill>
                  <a:schemeClr val="tx1"/>
                </a:solidFill>
              </a:rPr>
              <a:t> </a:t>
            </a:r>
            <a:r>
              <a:rPr lang="de-DE" sz="1600" b="0" dirty="0" err="1" smtClean="0">
                <a:solidFill>
                  <a:schemeClr val="tx1"/>
                </a:solidFill>
              </a:rPr>
              <a:t>fraction</a:t>
            </a:r>
            <a:endParaRPr lang="de-DE" sz="1600" b="0" dirty="0" smtClean="0">
              <a:solidFill>
                <a:schemeClr val="tx1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600" b="0" dirty="0" smtClean="0">
                <a:solidFill>
                  <a:schemeClr val="tx1"/>
                </a:solidFill>
              </a:rPr>
              <a:t>BC </a:t>
            </a:r>
            <a:r>
              <a:rPr lang="de-DE" sz="1600" b="0" dirty="0" err="1" smtClean="0">
                <a:solidFill>
                  <a:schemeClr val="tx1"/>
                </a:solidFill>
              </a:rPr>
              <a:t>city</a:t>
            </a:r>
            <a:r>
              <a:rPr lang="de-DE" sz="1600" b="0" dirty="0" smtClean="0">
                <a:solidFill>
                  <a:schemeClr val="tx1"/>
                </a:solidFill>
              </a:rPr>
              <a:t> </a:t>
            </a:r>
            <a:r>
              <a:rPr lang="de-DE" sz="1600" b="0" dirty="0" err="1" smtClean="0">
                <a:solidFill>
                  <a:schemeClr val="tx1"/>
                </a:solidFill>
              </a:rPr>
              <a:t>average</a:t>
            </a:r>
            <a:r>
              <a:rPr lang="de-DE" sz="1600" b="0" dirty="0" smtClean="0">
                <a:solidFill>
                  <a:schemeClr val="tx1"/>
                </a:solidFill>
              </a:rPr>
              <a:t> </a:t>
            </a:r>
            <a:r>
              <a:rPr lang="de-DE" sz="1600" b="0" dirty="0" err="1" smtClean="0">
                <a:solidFill>
                  <a:schemeClr val="tx1"/>
                </a:solidFill>
              </a:rPr>
              <a:t>speed</a:t>
            </a:r>
            <a:endParaRPr lang="de-DE" sz="1600" b="0" dirty="0" smtClean="0">
              <a:solidFill>
                <a:schemeClr val="tx1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600" b="0" dirty="0" smtClean="0">
                <a:solidFill>
                  <a:schemeClr val="tx1"/>
                </a:solidFill>
              </a:rPr>
              <a:t>Add BCs: grade, </a:t>
            </a:r>
            <a:r>
              <a:rPr lang="de-DE" sz="1600" b="0" dirty="0" err="1" smtClean="0">
                <a:solidFill>
                  <a:schemeClr val="tx1"/>
                </a:solidFill>
              </a:rPr>
              <a:t>dynamic</a:t>
            </a:r>
            <a:r>
              <a:rPr lang="de-DE" sz="1600" b="0" dirty="0" smtClean="0">
                <a:solidFill>
                  <a:schemeClr val="tx1"/>
                </a:solidFill>
              </a:rPr>
              <a:t> (v x </a:t>
            </a:r>
            <a:r>
              <a:rPr lang="de-DE" sz="1600" b="0" dirty="0" err="1" smtClean="0">
                <a:solidFill>
                  <a:schemeClr val="tx1"/>
                </a:solidFill>
              </a:rPr>
              <a:t>a</a:t>
            </a:r>
            <a:r>
              <a:rPr lang="de-DE" sz="1600" b="0" baseline="-25000" dirty="0" err="1" smtClean="0">
                <a:solidFill>
                  <a:schemeClr val="tx1"/>
                </a:solidFill>
              </a:rPr>
              <a:t>pos</a:t>
            </a:r>
            <a:r>
              <a:rPr lang="de-DE" sz="1600" b="0" dirty="0" smtClean="0">
                <a:solidFill>
                  <a:schemeClr val="tx1"/>
                </a:solidFill>
              </a:rPr>
              <a:t>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600" b="0" dirty="0" smtClean="0">
                <a:solidFill>
                  <a:schemeClr val="tx1"/>
                </a:solidFill>
              </a:rPr>
              <a:t>CFs </a:t>
            </a:r>
            <a:r>
              <a:rPr lang="de-DE" sz="1600" b="0" dirty="0" err="1" smtClean="0">
                <a:solidFill>
                  <a:schemeClr val="tx1"/>
                </a:solidFill>
              </a:rPr>
              <a:t>for</a:t>
            </a:r>
            <a:r>
              <a:rPr lang="de-DE" sz="1600" b="0" dirty="0" smtClean="0">
                <a:solidFill>
                  <a:schemeClr val="tx1"/>
                </a:solidFill>
              </a:rPr>
              <a:t> step1 </a:t>
            </a:r>
            <a:r>
              <a:rPr lang="de-DE" sz="1600" b="0" dirty="0" err="1" smtClean="0">
                <a:solidFill>
                  <a:schemeClr val="tx1"/>
                </a:solidFill>
              </a:rPr>
              <a:t>and</a:t>
            </a:r>
            <a:r>
              <a:rPr lang="de-DE" sz="1600" b="0" dirty="0" smtClean="0">
                <a:solidFill>
                  <a:schemeClr val="tx1"/>
                </a:solidFill>
              </a:rPr>
              <a:t> </a:t>
            </a:r>
            <a:r>
              <a:rPr lang="de-DE" sz="1600" b="0" dirty="0" err="1" smtClean="0">
                <a:solidFill>
                  <a:schemeClr val="tx1"/>
                </a:solidFill>
              </a:rPr>
              <a:t>step</a:t>
            </a:r>
            <a:r>
              <a:rPr lang="de-DE" sz="1600" b="0" dirty="0" smtClean="0">
                <a:solidFill>
                  <a:schemeClr val="tx1"/>
                </a:solidFill>
              </a:rPr>
              <a:t> 2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600" b="0" dirty="0" err="1" smtClean="0">
                <a:solidFill>
                  <a:schemeClr val="tx1"/>
                </a:solidFill>
              </a:rPr>
              <a:t>Excluding</a:t>
            </a:r>
            <a:r>
              <a:rPr lang="de-DE" sz="1600" b="0" dirty="0" smtClean="0">
                <a:solidFill>
                  <a:schemeClr val="tx1"/>
                </a:solidFill>
              </a:rPr>
              <a:t> GDI </a:t>
            </a:r>
            <a:r>
              <a:rPr lang="de-DE" sz="1600" b="0" dirty="0" err="1" smtClean="0">
                <a:solidFill>
                  <a:schemeClr val="tx1"/>
                </a:solidFill>
              </a:rPr>
              <a:t>and</a:t>
            </a:r>
            <a:r>
              <a:rPr lang="de-DE" sz="1600" b="0" dirty="0" smtClean="0">
                <a:solidFill>
                  <a:schemeClr val="tx1"/>
                </a:solidFill>
              </a:rPr>
              <a:t> N1 </a:t>
            </a:r>
            <a:r>
              <a:rPr lang="de-DE" sz="1600" b="0" dirty="0" err="1" smtClean="0">
                <a:solidFill>
                  <a:schemeClr val="tx1"/>
                </a:solidFill>
              </a:rPr>
              <a:t>class</a:t>
            </a:r>
            <a:r>
              <a:rPr lang="de-DE" sz="1600" b="0" dirty="0" smtClean="0">
                <a:solidFill>
                  <a:schemeClr val="tx1"/>
                </a:solidFill>
              </a:rPr>
              <a:t> II&amp;III </a:t>
            </a:r>
            <a:r>
              <a:rPr lang="de-DE" sz="1600" b="0" dirty="0" err="1" smtClean="0">
                <a:solidFill>
                  <a:schemeClr val="tx1"/>
                </a:solidFill>
              </a:rPr>
              <a:t>from</a:t>
            </a:r>
            <a:r>
              <a:rPr lang="de-DE" sz="1600" b="0" dirty="0" smtClean="0">
                <a:solidFill>
                  <a:schemeClr val="tx1"/>
                </a:solidFill>
              </a:rPr>
              <a:t> </a:t>
            </a:r>
            <a:r>
              <a:rPr lang="de-DE" sz="1600" b="0" dirty="0" err="1" smtClean="0">
                <a:solidFill>
                  <a:schemeClr val="tx1"/>
                </a:solidFill>
              </a:rPr>
              <a:t>step</a:t>
            </a:r>
            <a:r>
              <a:rPr lang="de-DE" sz="1600" b="0" dirty="0" smtClean="0">
                <a:solidFill>
                  <a:schemeClr val="tx1"/>
                </a:solidFill>
              </a:rPr>
              <a:t> 1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600" b="0" dirty="0" err="1" smtClean="0">
                <a:solidFill>
                  <a:schemeClr val="tx1"/>
                </a:solidFill>
              </a:rPr>
              <a:t>Use</a:t>
            </a:r>
            <a:r>
              <a:rPr lang="de-DE" sz="1600" b="0" dirty="0" smtClean="0">
                <a:solidFill>
                  <a:schemeClr val="tx1"/>
                </a:solidFill>
              </a:rPr>
              <a:t> of OBD </a:t>
            </a:r>
            <a:r>
              <a:rPr lang="de-DE" sz="1600" b="0" dirty="0" err="1" smtClean="0">
                <a:solidFill>
                  <a:schemeClr val="tx1"/>
                </a:solidFill>
              </a:rPr>
              <a:t>signals</a:t>
            </a:r>
            <a:endParaRPr lang="de-DE" sz="1600" b="0" dirty="0" smtClean="0">
              <a:solidFill>
                <a:schemeClr val="tx1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600" b="0" dirty="0" err="1" smtClean="0">
                <a:solidFill>
                  <a:schemeClr val="tx1"/>
                </a:solidFill>
              </a:rPr>
              <a:t>No</a:t>
            </a:r>
            <a:r>
              <a:rPr lang="de-DE" sz="1600" b="0" dirty="0" smtClean="0">
                <a:solidFill>
                  <a:schemeClr val="tx1"/>
                </a:solidFill>
              </a:rPr>
              <a:t> </a:t>
            </a:r>
            <a:r>
              <a:rPr lang="de-DE" sz="1600" b="0" dirty="0" err="1" smtClean="0">
                <a:solidFill>
                  <a:schemeClr val="tx1"/>
                </a:solidFill>
              </a:rPr>
              <a:t>detailed</a:t>
            </a:r>
            <a:r>
              <a:rPr lang="de-DE" sz="1600" b="0" dirty="0" smtClean="0">
                <a:solidFill>
                  <a:schemeClr val="tx1"/>
                </a:solidFill>
              </a:rPr>
              <a:t> PEMS </a:t>
            </a:r>
            <a:r>
              <a:rPr lang="de-DE" sz="1600" b="0" dirty="0" err="1" smtClean="0">
                <a:solidFill>
                  <a:schemeClr val="tx1"/>
                </a:solidFill>
              </a:rPr>
              <a:t>trip</a:t>
            </a:r>
            <a:r>
              <a:rPr lang="de-DE" sz="1600" b="0" dirty="0" smtClean="0">
                <a:solidFill>
                  <a:schemeClr val="tx1"/>
                </a:solidFill>
              </a:rPr>
              <a:t> </a:t>
            </a:r>
            <a:r>
              <a:rPr lang="de-DE" sz="1600" b="0" dirty="0" err="1" smtClean="0">
                <a:solidFill>
                  <a:schemeClr val="tx1"/>
                </a:solidFill>
              </a:rPr>
              <a:t>data</a:t>
            </a:r>
            <a:r>
              <a:rPr lang="de-DE" sz="1600" b="0" dirty="0" smtClean="0">
                <a:solidFill>
                  <a:schemeClr val="tx1"/>
                </a:solidFill>
              </a:rPr>
              <a:t> </a:t>
            </a:r>
            <a:r>
              <a:rPr lang="de-DE" sz="1600" b="0" dirty="0" err="1" smtClean="0">
                <a:solidFill>
                  <a:schemeClr val="tx1"/>
                </a:solidFill>
              </a:rPr>
              <a:t>for</a:t>
            </a:r>
            <a:r>
              <a:rPr lang="de-DE" sz="1600" b="0" dirty="0" smtClean="0">
                <a:solidFill>
                  <a:schemeClr val="tx1"/>
                </a:solidFill>
              </a:rPr>
              <a:t> 3rd </a:t>
            </a:r>
            <a:r>
              <a:rPr lang="de-DE" sz="1600" b="0" dirty="0" err="1" smtClean="0">
                <a:solidFill>
                  <a:schemeClr val="tx1"/>
                </a:solidFill>
              </a:rPr>
              <a:t>parties</a:t>
            </a:r>
            <a:endParaRPr lang="de-DE" sz="1600" b="0" dirty="0" smtClean="0">
              <a:solidFill>
                <a:schemeClr val="tx1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600" b="0" dirty="0" err="1" smtClean="0">
                <a:solidFill>
                  <a:schemeClr val="tx1"/>
                </a:solidFill>
              </a:rPr>
              <a:t>no</a:t>
            </a:r>
            <a:r>
              <a:rPr lang="de-DE" sz="1600" b="0" dirty="0" smtClean="0">
                <a:solidFill>
                  <a:schemeClr val="tx1"/>
                </a:solidFill>
              </a:rPr>
              <a:t> </a:t>
            </a:r>
            <a:r>
              <a:rPr lang="de-DE" sz="1600" b="0" dirty="0" err="1" smtClean="0">
                <a:solidFill>
                  <a:schemeClr val="tx1"/>
                </a:solidFill>
              </a:rPr>
              <a:t>actions</a:t>
            </a:r>
            <a:r>
              <a:rPr lang="de-DE" sz="1600" b="0" dirty="0" smtClean="0">
                <a:solidFill>
                  <a:schemeClr val="tx1"/>
                </a:solidFill>
              </a:rPr>
              <a:t> </a:t>
            </a:r>
            <a:r>
              <a:rPr lang="de-DE" sz="1600" b="0" dirty="0" err="1" smtClean="0">
                <a:solidFill>
                  <a:schemeClr val="tx1"/>
                </a:solidFill>
              </a:rPr>
              <a:t>regarding</a:t>
            </a:r>
            <a:r>
              <a:rPr lang="de-DE" sz="1600" b="0" dirty="0" smtClean="0">
                <a:solidFill>
                  <a:schemeClr val="tx1"/>
                </a:solidFill>
              </a:rPr>
              <a:t> type </a:t>
            </a:r>
            <a:r>
              <a:rPr lang="de-DE" sz="1600" b="0" dirty="0" err="1" smtClean="0">
                <a:solidFill>
                  <a:schemeClr val="tx1"/>
                </a:solidFill>
              </a:rPr>
              <a:t>approval</a:t>
            </a:r>
            <a:r>
              <a:rPr lang="de-DE" sz="1600" b="0" dirty="0" smtClean="0">
                <a:solidFill>
                  <a:schemeClr val="tx1"/>
                </a:solidFill>
              </a:rPr>
              <a:t> </a:t>
            </a:r>
            <a:r>
              <a:rPr lang="de-DE" sz="1600" b="0" dirty="0" err="1" smtClean="0">
                <a:solidFill>
                  <a:schemeClr val="tx1"/>
                </a:solidFill>
              </a:rPr>
              <a:t>by</a:t>
            </a:r>
            <a:r>
              <a:rPr lang="de-DE" sz="1600" b="0" dirty="0" smtClean="0">
                <a:solidFill>
                  <a:schemeClr val="tx1"/>
                </a:solidFill>
              </a:rPr>
              <a:t> 3rd </a:t>
            </a:r>
            <a:r>
              <a:rPr lang="de-DE" sz="1600" b="0" dirty="0" err="1" smtClean="0">
                <a:solidFill>
                  <a:schemeClr val="tx1"/>
                </a:solidFill>
              </a:rPr>
              <a:t>parties</a:t>
            </a:r>
            <a:r>
              <a:rPr lang="de-DE" sz="1600" b="0" dirty="0" smtClean="0">
                <a:solidFill>
                  <a:schemeClr val="tx1"/>
                </a:solidFill>
              </a:rPr>
              <a:t> due </a:t>
            </a:r>
            <a:r>
              <a:rPr lang="de-DE" sz="1600" b="0" dirty="0" err="1" smtClean="0">
                <a:solidFill>
                  <a:schemeClr val="tx1"/>
                </a:solidFill>
              </a:rPr>
              <a:t>to</a:t>
            </a:r>
            <a:r>
              <a:rPr lang="de-DE" sz="1600" b="0" dirty="0" smtClean="0">
                <a:solidFill>
                  <a:schemeClr val="tx1"/>
                </a:solidFill>
              </a:rPr>
              <a:t> </a:t>
            </a:r>
            <a:r>
              <a:rPr lang="de-DE" sz="1600" b="0" dirty="0" err="1" smtClean="0">
                <a:solidFill>
                  <a:schemeClr val="tx1"/>
                </a:solidFill>
              </a:rPr>
              <a:t>failed</a:t>
            </a:r>
            <a:r>
              <a:rPr lang="de-DE" sz="1600" b="0" dirty="0" smtClean="0">
                <a:solidFill>
                  <a:schemeClr val="tx1"/>
                </a:solidFill>
              </a:rPr>
              <a:t> PEMS </a:t>
            </a:r>
            <a:r>
              <a:rPr lang="de-DE" sz="1600" b="0" dirty="0" err="1" smtClean="0">
                <a:solidFill>
                  <a:schemeClr val="tx1"/>
                </a:solidFill>
              </a:rPr>
              <a:t>trips</a:t>
            </a:r>
            <a:endParaRPr lang="de-DE" sz="1600" b="0" dirty="0" smtClean="0">
              <a:solidFill>
                <a:schemeClr val="tx1"/>
              </a:solidFill>
            </a:endParaRPr>
          </a:p>
          <a:p>
            <a:pPr lvl="1"/>
            <a:r>
              <a:rPr lang="de-DE" sz="1600" b="0" dirty="0" smtClean="0">
                <a:solidFill>
                  <a:schemeClr val="tx1"/>
                </a:solidFill>
              </a:rPr>
              <a:t>&amp;</a:t>
            </a:r>
            <a:endParaRPr lang="de-DE" sz="1600" b="0" dirty="0">
              <a:solidFill>
                <a:schemeClr val="tx1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600" b="0" dirty="0" err="1" smtClean="0">
                <a:solidFill>
                  <a:schemeClr val="tx1"/>
                </a:solidFill>
              </a:rPr>
              <a:t>complete</a:t>
            </a:r>
            <a:r>
              <a:rPr lang="de-DE" sz="1600" b="0" dirty="0" smtClean="0">
                <a:solidFill>
                  <a:schemeClr val="tx1"/>
                </a:solidFill>
              </a:rPr>
              <a:t> RDE must </a:t>
            </a:r>
            <a:r>
              <a:rPr lang="de-DE" sz="1600" b="0" dirty="0" err="1" smtClean="0">
                <a:solidFill>
                  <a:schemeClr val="tx1"/>
                </a:solidFill>
              </a:rPr>
              <a:t>be</a:t>
            </a:r>
            <a:r>
              <a:rPr lang="de-DE" sz="1600" b="0" dirty="0" smtClean="0">
                <a:solidFill>
                  <a:schemeClr val="tx1"/>
                </a:solidFill>
              </a:rPr>
              <a:t> </a:t>
            </a:r>
            <a:r>
              <a:rPr lang="de-DE" sz="1600" b="0" dirty="0" err="1" smtClean="0">
                <a:solidFill>
                  <a:schemeClr val="tx1"/>
                </a:solidFill>
              </a:rPr>
              <a:t>defined</a:t>
            </a:r>
            <a:r>
              <a:rPr lang="de-DE" sz="1600" b="0" dirty="0" smtClean="0">
                <a:solidFill>
                  <a:schemeClr val="tx1"/>
                </a:solidFill>
              </a:rPr>
              <a:t> </a:t>
            </a:r>
            <a:r>
              <a:rPr lang="de-DE" sz="1600" b="0" dirty="0" err="1" smtClean="0">
                <a:solidFill>
                  <a:schemeClr val="tx1"/>
                </a:solidFill>
              </a:rPr>
              <a:t>by</a:t>
            </a:r>
            <a:r>
              <a:rPr lang="de-DE" sz="1600" b="0" dirty="0" smtClean="0">
                <a:solidFill>
                  <a:schemeClr val="tx1"/>
                </a:solidFill>
              </a:rPr>
              <a:t> TCMV 5/2015</a:t>
            </a:r>
            <a:r>
              <a:rPr lang="de-DE" sz="1600" b="0" dirty="0">
                <a:solidFill>
                  <a:schemeClr val="tx1"/>
                </a:solidFill>
              </a:rPr>
              <a:t>	</a:t>
            </a:r>
            <a:r>
              <a:rPr lang="de-DE" sz="1600" b="0" dirty="0" smtClean="0">
                <a:solidFill>
                  <a:schemeClr val="tx1"/>
                </a:solidFill>
              </a:rPr>
              <a:t>	</a:t>
            </a:r>
            <a:endParaRPr lang="de-DE" sz="1600" b="0" dirty="0">
              <a:solidFill>
                <a:schemeClr val="tx1"/>
              </a:solidFill>
            </a:endParaRPr>
          </a:p>
        </p:txBody>
      </p:sp>
      <p:sp>
        <p:nvSpPr>
          <p:cNvPr id="3" name="Textfeld 2"/>
          <p:cNvSpPr txBox="1"/>
          <p:nvPr/>
        </p:nvSpPr>
        <p:spPr>
          <a:xfrm rot="21015144">
            <a:off x="5968649" y="1199340"/>
            <a:ext cx="320273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b="0" dirty="0" err="1" smtClean="0">
                <a:solidFill>
                  <a:srgbClr val="FF0000"/>
                </a:solidFill>
              </a:rPr>
              <a:t>Is</a:t>
            </a:r>
            <a:r>
              <a:rPr lang="de-DE" sz="1200" b="0" dirty="0" smtClean="0">
                <a:solidFill>
                  <a:srgbClr val="FF0000"/>
                </a:solidFill>
              </a:rPr>
              <a:t> </a:t>
            </a:r>
            <a:r>
              <a:rPr lang="de-DE" sz="1200" b="0" dirty="0" err="1" smtClean="0">
                <a:solidFill>
                  <a:srgbClr val="FF0000"/>
                </a:solidFill>
              </a:rPr>
              <a:t>this</a:t>
            </a:r>
            <a:r>
              <a:rPr lang="de-DE" sz="1200" b="0" dirty="0" smtClean="0">
                <a:solidFill>
                  <a:srgbClr val="FF0000"/>
                </a:solidFill>
              </a:rPr>
              <a:t> a </a:t>
            </a:r>
            <a:r>
              <a:rPr lang="de-DE" sz="1200" b="0" dirty="0" err="1" smtClean="0">
                <a:solidFill>
                  <a:srgbClr val="FF0000"/>
                </a:solidFill>
              </a:rPr>
              <a:t>realistic</a:t>
            </a:r>
            <a:r>
              <a:rPr lang="de-DE" sz="1200" b="0" dirty="0" smtClean="0">
                <a:solidFill>
                  <a:srgbClr val="FF0000"/>
                </a:solidFill>
              </a:rPr>
              <a:t> </a:t>
            </a:r>
            <a:r>
              <a:rPr lang="de-DE" sz="1200" b="0" dirty="0" err="1" smtClean="0">
                <a:solidFill>
                  <a:srgbClr val="FF0000"/>
                </a:solidFill>
              </a:rPr>
              <a:t>compromise</a:t>
            </a:r>
            <a:r>
              <a:rPr lang="de-DE" sz="1200" b="0" dirty="0" smtClean="0">
                <a:solidFill>
                  <a:srgbClr val="FF0000"/>
                </a:solidFill>
              </a:rPr>
              <a:t> </a:t>
            </a:r>
            <a:r>
              <a:rPr lang="de-DE" sz="1200" b="0" dirty="0" err="1" smtClean="0">
                <a:solidFill>
                  <a:srgbClr val="FF0000"/>
                </a:solidFill>
              </a:rPr>
              <a:t>which</a:t>
            </a:r>
            <a:r>
              <a:rPr lang="de-DE" sz="1200" b="0" dirty="0" smtClean="0">
                <a:solidFill>
                  <a:srgbClr val="FF0000"/>
                </a:solidFill>
              </a:rPr>
              <a:t>  </a:t>
            </a:r>
          </a:p>
          <a:p>
            <a:r>
              <a:rPr lang="de-DE" sz="1200" b="0" dirty="0" err="1" smtClean="0">
                <a:solidFill>
                  <a:srgbClr val="FF0000"/>
                </a:solidFill>
              </a:rPr>
              <a:t>can</a:t>
            </a:r>
            <a:r>
              <a:rPr lang="de-DE" sz="1200" b="0" dirty="0" smtClean="0">
                <a:solidFill>
                  <a:srgbClr val="FF0000"/>
                </a:solidFill>
              </a:rPr>
              <a:t> </a:t>
            </a:r>
            <a:r>
              <a:rPr lang="de-DE" sz="1200" b="0" dirty="0" err="1" smtClean="0">
                <a:solidFill>
                  <a:srgbClr val="FF0000"/>
                </a:solidFill>
              </a:rPr>
              <a:t>be</a:t>
            </a:r>
            <a:r>
              <a:rPr lang="de-DE" sz="1200" b="0" dirty="0" smtClean="0">
                <a:solidFill>
                  <a:srgbClr val="FF0000"/>
                </a:solidFill>
              </a:rPr>
              <a:t> </a:t>
            </a:r>
            <a:r>
              <a:rPr lang="de-DE" sz="1200" b="0" dirty="0" err="1" smtClean="0">
                <a:solidFill>
                  <a:srgbClr val="FF0000"/>
                </a:solidFill>
              </a:rPr>
              <a:t>accepted</a:t>
            </a:r>
            <a:r>
              <a:rPr lang="de-DE" sz="1200" b="0" dirty="0" smtClean="0">
                <a:solidFill>
                  <a:srgbClr val="FF0000"/>
                </a:solidFill>
              </a:rPr>
              <a:t> </a:t>
            </a:r>
            <a:r>
              <a:rPr lang="de-DE" sz="1200" b="0" dirty="0" err="1" smtClean="0">
                <a:solidFill>
                  <a:srgbClr val="FF0000"/>
                </a:solidFill>
              </a:rPr>
              <a:t>by</a:t>
            </a:r>
            <a:r>
              <a:rPr lang="de-DE" sz="1200" b="0" dirty="0" smtClean="0">
                <a:solidFill>
                  <a:srgbClr val="FF0000"/>
                </a:solidFill>
              </a:rPr>
              <a:t> DG </a:t>
            </a:r>
            <a:r>
              <a:rPr lang="de-DE" sz="1200" b="0" dirty="0" err="1" smtClean="0">
                <a:solidFill>
                  <a:srgbClr val="FF0000"/>
                </a:solidFill>
              </a:rPr>
              <a:t>Grow</a:t>
            </a:r>
            <a:r>
              <a:rPr lang="de-DE" sz="1200" b="0" dirty="0" smtClean="0">
                <a:solidFill>
                  <a:srgbClr val="FF0000"/>
                </a:solidFill>
              </a:rPr>
              <a:t> </a:t>
            </a:r>
            <a:r>
              <a:rPr lang="de-DE" sz="1200" b="0" dirty="0" err="1" smtClean="0">
                <a:solidFill>
                  <a:srgbClr val="FF0000"/>
                </a:solidFill>
              </a:rPr>
              <a:t>and</a:t>
            </a:r>
            <a:r>
              <a:rPr lang="de-DE" sz="1200" b="0" dirty="0" smtClean="0">
                <a:solidFill>
                  <a:srgbClr val="FF0000"/>
                </a:solidFill>
              </a:rPr>
              <a:t> MS ?</a:t>
            </a:r>
          </a:p>
        </p:txBody>
      </p:sp>
    </p:spTree>
    <p:extLst>
      <p:ext uri="{BB962C8B-B14F-4D97-AF65-F5344CB8AC3E}">
        <p14:creationId xmlns:p14="http://schemas.microsoft.com/office/powerpoint/2010/main" val="1223304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Possible</a:t>
            </a:r>
            <a:r>
              <a:rPr lang="de-DE" dirty="0" smtClean="0"/>
              <a:t> Packages / ACEA </a:t>
            </a:r>
            <a:r>
              <a:rPr lang="de-DE" dirty="0" err="1" smtClean="0"/>
              <a:t>position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BD4307-8E25-4063-B042-91C9BB9E4C20}" type="slidenum">
              <a:rPr lang="de-DE" smtClean="0"/>
              <a:pPr/>
              <a:t>5</a:t>
            </a:fld>
            <a:endParaRPr lang="de-DE" dirty="0"/>
          </a:p>
        </p:txBody>
      </p:sp>
      <p:graphicFrame>
        <p:nvGraphicFramePr>
          <p:cNvPr id="5" name="Tabel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81250802"/>
              </p:ext>
            </p:extLst>
          </p:nvPr>
        </p:nvGraphicFramePr>
        <p:xfrm>
          <a:off x="381001" y="1219200"/>
          <a:ext cx="8610600" cy="5378137"/>
        </p:xfrm>
        <a:graphic>
          <a:graphicData uri="http://schemas.openxmlformats.org/drawingml/2006/table">
            <a:tbl>
              <a:tblPr/>
              <a:tblGrid>
                <a:gridCol w="1184194"/>
                <a:gridCol w="1221987"/>
                <a:gridCol w="1404655"/>
                <a:gridCol w="1404655"/>
                <a:gridCol w="907042"/>
                <a:gridCol w="907042"/>
                <a:gridCol w="749569"/>
                <a:gridCol w="415728"/>
                <a:gridCol w="415728"/>
              </a:tblGrid>
              <a:tr h="152162">
                <a:tc>
                  <a:txBody>
                    <a:bodyPr/>
                    <a:lstStyle/>
                    <a:p>
                      <a:pPr algn="l" fontAlgn="b"/>
                      <a:endParaRPr lang="de-DE" sz="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U-COM TCMV 3/2015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U-COM TCMV 5/2015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U-COM TCMV End/2015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6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6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CEA</a:t>
                      </a: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6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58503">
                <a:tc>
                  <a:txBody>
                    <a:bodyPr/>
                    <a:lstStyle/>
                    <a:p>
                      <a:pPr algn="l" fontAlgn="b"/>
                      <a:endParaRPr lang="de-DE" sz="6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7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7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6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6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de-DE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Feedback</a:t>
                      </a: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</a:tr>
              <a:tr h="114289">
                <a:tc>
                  <a:txBody>
                    <a:bodyPr/>
                    <a:lstStyle/>
                    <a:p>
                      <a:pPr algn="l" fontAlgn="b"/>
                      <a:endParaRPr lang="de-DE" sz="6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6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6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6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6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6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6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6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33142">
                <a:tc rowSpan="2">
                  <a:txBody>
                    <a:bodyPr/>
                    <a:lstStyle/>
                    <a:p>
                      <a:pPr algn="l" rtl="0" fontAlgn="t"/>
                      <a:r>
                        <a:rPr lang="de-DE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cenario </a:t>
                      </a:r>
                      <a:r>
                        <a:rPr lang="de-DE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liklyhood</a:t>
                      </a:r>
                      <a:endParaRPr lang="de-DE" sz="7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7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U-COM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7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7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U-COM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7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7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CEA 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7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easons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7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Yes</a:t>
                      </a:r>
                    </a:p>
                  </a:txBody>
                  <a:tcPr marL="5370" marR="5370" marT="537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7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o</a:t>
                      </a: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58221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package</a:t>
                      </a:r>
                      <a:r>
                        <a:rPr lang="de-DE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1 3/2015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7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package 2 latest  by end of 2015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7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eaction</a:t>
                      </a:r>
                      <a:endParaRPr lang="de-DE" sz="7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7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7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22238"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djustemnets</a:t>
                      </a:r>
                      <a:r>
                        <a:rPr lang="de-D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  <a:r>
                        <a:rPr lang="de-DE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of</a:t>
                      </a:r>
                      <a:r>
                        <a:rPr lang="de-D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EU </a:t>
                      </a:r>
                      <a:r>
                        <a:rPr lang="de-DE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om</a:t>
                      </a:r>
                      <a:r>
                        <a:rPr lang="de-D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  <a:r>
                        <a:rPr lang="de-DE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DEdraft</a:t>
                      </a:r>
                      <a:r>
                        <a:rPr lang="de-D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end </a:t>
                      </a:r>
                      <a:r>
                        <a:rPr lang="de-DE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of</a:t>
                      </a:r>
                      <a:r>
                        <a:rPr lang="de-D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2014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- timing not acceptable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7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7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30187"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- BC </a:t>
                      </a:r>
                      <a:r>
                        <a:rPr lang="en-US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emperatureMod</a:t>
                      </a: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/Ext +3C/-2C   2. Step   0C/-7C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- no additional dynamic BCs included</a:t>
                      </a:r>
                    </a:p>
                  </a:txBody>
                  <a:tcPr marL="5370" marR="5370" marT="5370" marB="0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30187">
                <a:tc>
                  <a:txBody>
                    <a:bodyPr/>
                    <a:lstStyle/>
                    <a:p>
                      <a:pPr algn="l" fontAlgn="t"/>
                      <a:r>
                        <a:rPr lang="de-DE" sz="7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&gt;90%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- 2step Timing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- 2step Timing: NT 9/2017 AT 9/2018  NT 9/2021  AT9/2022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7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S have to block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- definition of package 2 to late for 1 step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7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7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222238">
                <a:tc>
                  <a:txBody>
                    <a:bodyPr/>
                    <a:lstStyle/>
                    <a:p>
                      <a:pPr algn="l" fontAlgn="t"/>
                      <a:r>
                        <a:rPr lang="de-DE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- 2step CFs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- 2step CFs defined, so far no details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- </a:t>
                      </a:r>
                      <a:r>
                        <a:rPr lang="de-DE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emperature</a:t>
                      </a:r>
                      <a:r>
                        <a:rPr lang="de-D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not okay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7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7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26802">
                <a:tc>
                  <a:txBody>
                    <a:bodyPr/>
                    <a:lstStyle/>
                    <a:p>
                      <a:pPr algn="l" fontAlgn="t"/>
                      <a:r>
                        <a:rPr lang="de-DE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de-DE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de-D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de-DE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de-DE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de-DE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de-D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7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7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14289">
                <a:tc>
                  <a:txBody>
                    <a:bodyPr/>
                    <a:lstStyle/>
                    <a:p>
                      <a:pPr algn="l" fontAlgn="b"/>
                      <a:r>
                        <a:rPr lang="de-DE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7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7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7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33142">
                <a:tc rowSpan="2">
                  <a:txBody>
                    <a:bodyPr/>
                    <a:lstStyle/>
                    <a:p>
                      <a:pPr algn="l" rtl="0" fontAlgn="t"/>
                      <a:r>
                        <a:rPr lang="de-DE" sz="7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cenario liklyhood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7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U-COM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7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U-COM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7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7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CEA 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7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easons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7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7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58221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7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package 1 3/2015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package 2 latest  by end of 2015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eaction</a:t>
                      </a:r>
                      <a:endParaRPr lang="de-DE" sz="7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7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7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Yes</a:t>
                      </a:r>
                    </a:p>
                  </a:txBody>
                  <a:tcPr marL="5370" marR="5370" marT="537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7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o</a:t>
                      </a: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22238"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7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djustemnets of EU com RDEdraft end of 2014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7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- timing not acceptable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7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7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22238"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7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B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- BC </a:t>
                      </a:r>
                      <a:r>
                        <a:rPr lang="en-US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emperatureMod</a:t>
                      </a: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/Ext +3C/-2C   2. Step   0C/-7C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</a:p>
                  </a:txBody>
                  <a:tcPr marL="5370" marR="5370" marT="537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7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7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30187">
                <a:tc>
                  <a:txBody>
                    <a:bodyPr/>
                    <a:lstStyle/>
                    <a:p>
                      <a:pPr algn="l" fontAlgn="t"/>
                      <a:r>
                        <a:rPr lang="de-DE" sz="7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&gt; 50%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- 2step Timing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- 2step Timing: NT 9/2017 AT 9/2018  NT 9/2021  AT9/2022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7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S have to block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- definition of package 2 to late for 1 step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0463">
                <a:tc>
                  <a:txBody>
                    <a:bodyPr/>
                    <a:lstStyle/>
                    <a:p>
                      <a:pPr algn="l" fontAlgn="t"/>
                      <a:r>
                        <a:rPr lang="de-DE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- 2step CFs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- 2step CFs defined, so far no details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7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7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222238">
                <a:tc>
                  <a:txBody>
                    <a:bodyPr/>
                    <a:lstStyle/>
                    <a:p>
                      <a:pPr algn="l" fontAlgn="t"/>
                      <a:r>
                        <a:rPr lang="de-DE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- additional dynamic BCs listed w/o values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- </a:t>
                      </a:r>
                      <a:r>
                        <a:rPr lang="de-DE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values</a:t>
                      </a:r>
                      <a:r>
                        <a:rPr lang="de-D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  <a:r>
                        <a:rPr lang="de-DE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of</a:t>
                      </a:r>
                      <a:r>
                        <a:rPr lang="de-D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all BCs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de-DE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de-DE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- </a:t>
                      </a:r>
                      <a:r>
                        <a:rPr lang="de-DE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emperature</a:t>
                      </a:r>
                      <a:r>
                        <a:rPr lang="de-D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not okay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7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7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14289">
                <a:tc>
                  <a:txBody>
                    <a:bodyPr/>
                    <a:lstStyle/>
                    <a:p>
                      <a:pPr algn="l" fontAlgn="b"/>
                      <a:endParaRPr lang="de-DE" sz="7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7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7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7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7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7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7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14289">
                <a:tc>
                  <a:txBody>
                    <a:bodyPr/>
                    <a:lstStyle/>
                    <a:p>
                      <a:pPr algn="l" fontAlgn="b"/>
                      <a:endParaRPr lang="de-DE" sz="7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7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7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7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7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7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7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7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33142">
                <a:tc rowSpan="2">
                  <a:txBody>
                    <a:bodyPr/>
                    <a:lstStyle/>
                    <a:p>
                      <a:pPr algn="l" rtl="0" fontAlgn="t"/>
                      <a:r>
                        <a:rPr lang="de-DE" sz="7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cenario liklyhood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7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U-COM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7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U-COM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7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CEA 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7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easons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7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7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39483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7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package 1 3/2015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7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package 2 5/2015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eaction</a:t>
                      </a:r>
                      <a:endParaRPr lang="de-DE" sz="7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7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7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Yes</a:t>
                      </a:r>
                    </a:p>
                  </a:txBody>
                  <a:tcPr marL="5370" marR="5370" marT="537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7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o</a:t>
                      </a: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22238"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7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djustemnets of EU com RDEdraft end of 2014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7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- </a:t>
                      </a:r>
                      <a:r>
                        <a:rPr lang="de-DE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iming</a:t>
                      </a:r>
                      <a:r>
                        <a:rPr lang="de-D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not </a:t>
                      </a:r>
                      <a:r>
                        <a:rPr lang="de-DE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cceptable</a:t>
                      </a:r>
                      <a:endParaRPr lang="de-DE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7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7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22238"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7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- BC TemperatureMod/Ext +3C/-2C   2. Step   0C/-7C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- </a:t>
                      </a:r>
                      <a:r>
                        <a:rPr lang="de-DE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emperature</a:t>
                      </a:r>
                      <a:r>
                        <a:rPr lang="de-D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not okay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7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7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2238">
                <a:tc>
                  <a:txBody>
                    <a:bodyPr/>
                    <a:lstStyle/>
                    <a:p>
                      <a:pPr algn="l" fontAlgn="t"/>
                      <a:r>
                        <a:rPr lang="de-DE" sz="7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0%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- 2step Timing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- 2step Timing: NT 9/2017 AT 9/2018  NT 9/2021  AT9/2022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7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S have to block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0463">
                <a:tc>
                  <a:txBody>
                    <a:bodyPr/>
                    <a:lstStyle/>
                    <a:p>
                      <a:pPr algn="l" fontAlgn="t"/>
                      <a:r>
                        <a:rPr lang="de-DE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- 2step CFs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- 2step CFs defined, so far no details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7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222238">
                <a:tc>
                  <a:txBody>
                    <a:bodyPr/>
                    <a:lstStyle/>
                    <a:p>
                      <a:pPr algn="l" fontAlgn="t"/>
                      <a:r>
                        <a:rPr lang="de-DE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- additional dynamic BCs listed w/o values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- values of all BCs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de-DE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de-DE" sz="7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de-D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354120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Possible</a:t>
            </a:r>
            <a:r>
              <a:rPr lang="de-DE" dirty="0" smtClean="0"/>
              <a:t> Packages / ACEA </a:t>
            </a:r>
            <a:r>
              <a:rPr lang="de-DE" dirty="0" err="1" smtClean="0"/>
              <a:t>position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BD4307-8E25-4063-B042-91C9BB9E4C20}" type="slidenum">
              <a:rPr lang="de-DE" smtClean="0"/>
              <a:pPr/>
              <a:t>6</a:t>
            </a:fld>
            <a:endParaRPr lang="de-DE" dirty="0"/>
          </a:p>
        </p:txBody>
      </p:sp>
      <p:graphicFrame>
        <p:nvGraphicFramePr>
          <p:cNvPr id="5" name="Tabel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48102917"/>
              </p:ext>
            </p:extLst>
          </p:nvPr>
        </p:nvGraphicFramePr>
        <p:xfrm>
          <a:off x="228602" y="1447801"/>
          <a:ext cx="8915398" cy="4813329"/>
        </p:xfrm>
        <a:graphic>
          <a:graphicData uri="http://schemas.openxmlformats.org/drawingml/2006/table">
            <a:tbl>
              <a:tblPr/>
              <a:tblGrid>
                <a:gridCol w="1226112"/>
                <a:gridCol w="1265243"/>
                <a:gridCol w="1454377"/>
                <a:gridCol w="1454377"/>
                <a:gridCol w="939149"/>
                <a:gridCol w="939149"/>
                <a:gridCol w="776103"/>
                <a:gridCol w="430444"/>
                <a:gridCol w="430444"/>
              </a:tblGrid>
              <a:tr h="202458">
                <a:tc>
                  <a:txBody>
                    <a:bodyPr/>
                    <a:lstStyle/>
                    <a:p>
                      <a:pPr algn="l" fontAlgn="b"/>
                      <a:endParaRPr lang="de-DE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U-COM TCMV 3/2015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U-COM TCMV 5/2015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U-COM TCMV End/2015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CEA</a:t>
                      </a: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10894">
                <a:tc>
                  <a:txBody>
                    <a:bodyPr/>
                    <a:lstStyle/>
                    <a:p>
                      <a:pPr algn="l" fontAlgn="b"/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de-DE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Feedback</a:t>
                      </a: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</a:tr>
              <a:tr h="152066">
                <a:tc>
                  <a:txBody>
                    <a:bodyPr/>
                    <a:lstStyle/>
                    <a:p>
                      <a:pPr algn="l" fontAlgn="b"/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52066">
                <a:tc>
                  <a:txBody>
                    <a:bodyPr/>
                    <a:lstStyle/>
                    <a:p>
                      <a:pPr algn="l" fontAlgn="b"/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77150">
                <a:tc rowSpan="2">
                  <a:txBody>
                    <a:bodyPr/>
                    <a:lstStyle/>
                    <a:p>
                      <a:pPr algn="l" rtl="0" fontAlgn="t"/>
                      <a:r>
                        <a:rPr lang="de-DE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cenario liklyhood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U-COM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U-COM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CEA 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easons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5587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package 1 3/2015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package 2 5/2015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eaction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Yes</a:t>
                      </a:r>
                    </a:p>
                  </a:txBody>
                  <a:tcPr marL="5370" marR="5370" marT="537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o</a:t>
                      </a: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95696"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djustemnets of EU com RDEdraft end of 2014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66FF33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- timing okay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66FF3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95696"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D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- BC TemperatureMod/Ext +3C/0C   2. Step   0C/-7C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6FF33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dditional BCs included</a:t>
                      </a:r>
                    </a:p>
                  </a:txBody>
                  <a:tcPr marL="5370" marR="5370" marT="537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6FF3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95696">
                <a:tc>
                  <a:txBody>
                    <a:bodyPr/>
                    <a:lstStyle/>
                    <a:p>
                      <a:pPr algn="l" fontAlgn="t"/>
                      <a:r>
                        <a:rPr lang="de-DE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0%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- 2step Timing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- 2step Timing: NT 9/2017 AT 9/2019  NT 9/2021  AT9/2022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S can agree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6FF33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- temperature okay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6FF3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0279">
                <a:tc>
                  <a:txBody>
                    <a:bodyPr/>
                    <a:lstStyle/>
                    <a:p>
                      <a:pPr algn="l" fontAlgn="t"/>
                      <a:r>
                        <a:rPr lang="de-DE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- 2step CFs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- 2step CFs defined, so far no details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6FF33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6FF3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295696">
                <a:tc>
                  <a:txBody>
                    <a:bodyPr/>
                    <a:lstStyle/>
                    <a:p>
                      <a:pPr algn="l" fontAlgn="t"/>
                      <a:r>
                        <a:rPr lang="de-DE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- additional dynamic BCs listed </a:t>
                      </a: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with</a:t>
                      </a:r>
                      <a:r>
                        <a:rPr lang="en-US" sz="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values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de-DE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de-DE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6FF3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de-DE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6FF3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52066">
                <a:tc>
                  <a:txBody>
                    <a:bodyPr/>
                    <a:lstStyle/>
                    <a:p>
                      <a:pPr algn="l" fontAlgn="b"/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52066">
                <a:tc>
                  <a:txBody>
                    <a:bodyPr/>
                    <a:lstStyle/>
                    <a:p>
                      <a:pPr algn="l" fontAlgn="b"/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77150">
                <a:tc rowSpan="2">
                  <a:txBody>
                    <a:bodyPr/>
                    <a:lstStyle/>
                    <a:p>
                      <a:pPr algn="l" rtl="0" fontAlgn="t"/>
                      <a:r>
                        <a:rPr lang="de-DE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cenario liklyhood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U-COM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U-COM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U-COM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CEA 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easons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343573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package 1 3/2015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package 2 5/2015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package 3 latest  by end of 2015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eaction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Yes</a:t>
                      </a:r>
                    </a:p>
                  </a:txBody>
                  <a:tcPr marL="5370" marR="5370" marT="537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o</a:t>
                      </a: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328995"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djustemnets of EU com RDEdraft end of 2014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66FF33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- timing okay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66FF3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320559"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- BC TemperatureMod/Ext +3C/0C   2. Step   0C/-7C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6FF33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dditional BCs included</a:t>
                      </a:r>
                    </a:p>
                  </a:txBody>
                  <a:tcPr marL="5370" marR="5370" marT="537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6FF3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37431">
                <a:tc>
                  <a:txBody>
                    <a:bodyPr/>
                    <a:lstStyle/>
                    <a:p>
                      <a:pPr algn="l" fontAlgn="t"/>
                      <a:r>
                        <a:rPr lang="de-DE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hance to achieve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- 2step Timing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- 2step Timing: NT 9/2017 AT 9/2019  NT 9/2021  AT9/2022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S can agree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6FF33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- temperature okay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6FF3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0279">
                <a:tc>
                  <a:txBody>
                    <a:bodyPr/>
                    <a:lstStyle/>
                    <a:p>
                      <a:pPr algn="l" fontAlgn="t"/>
                      <a:r>
                        <a:rPr lang="de-DE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- 2step CFs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- cf of 1 step defined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- cf of 2 step defined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6FF33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6FF3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328995">
                <a:tc>
                  <a:txBody>
                    <a:bodyPr/>
                    <a:lstStyle/>
                    <a:p>
                      <a:pPr algn="l" fontAlgn="t"/>
                      <a:r>
                        <a:rPr lang="de-DE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- additional dynamic BCs listed </a:t>
                      </a: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with</a:t>
                      </a:r>
                      <a:r>
                        <a:rPr lang="en-US" sz="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values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de-DE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de-DE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de-DE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6FF3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de-D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6FF3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22866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Possible</a:t>
            </a:r>
            <a:r>
              <a:rPr lang="de-DE" dirty="0" smtClean="0"/>
              <a:t> Packages / ACEA </a:t>
            </a:r>
            <a:r>
              <a:rPr lang="de-DE" dirty="0" err="1" smtClean="0"/>
              <a:t>position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BD4307-8E25-4063-B042-91C9BB9E4C20}" type="slidenum">
              <a:rPr lang="de-DE" smtClean="0"/>
              <a:pPr/>
              <a:t>7</a:t>
            </a:fld>
            <a:endParaRPr lang="de-DE" dirty="0"/>
          </a:p>
        </p:txBody>
      </p:sp>
      <p:graphicFrame>
        <p:nvGraphicFramePr>
          <p:cNvPr id="6" name="Tabel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56077278"/>
              </p:ext>
            </p:extLst>
          </p:nvPr>
        </p:nvGraphicFramePr>
        <p:xfrm>
          <a:off x="152400" y="1600203"/>
          <a:ext cx="8839199" cy="4952353"/>
        </p:xfrm>
        <a:graphic>
          <a:graphicData uri="http://schemas.openxmlformats.org/drawingml/2006/table">
            <a:tbl>
              <a:tblPr/>
              <a:tblGrid>
                <a:gridCol w="1215632"/>
                <a:gridCol w="1254429"/>
                <a:gridCol w="1441947"/>
                <a:gridCol w="1441947"/>
                <a:gridCol w="931122"/>
                <a:gridCol w="931122"/>
                <a:gridCol w="769470"/>
                <a:gridCol w="426765"/>
                <a:gridCol w="426765"/>
              </a:tblGrid>
              <a:tr h="218942">
                <a:tc>
                  <a:txBody>
                    <a:bodyPr/>
                    <a:lstStyle/>
                    <a:p>
                      <a:pPr algn="l" fontAlgn="b"/>
                      <a:endParaRPr lang="de-DE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U-COM TCMV 3/2015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U-COM TCMV 5/2015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U-COM TCMV End/2015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CEA</a:t>
                      </a: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28066">
                <a:tc>
                  <a:txBody>
                    <a:bodyPr/>
                    <a:lstStyle/>
                    <a:p>
                      <a:pPr algn="l" fontAlgn="b"/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de-DE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Feedback</a:t>
                      </a: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</a:tr>
              <a:tr h="164447">
                <a:tc>
                  <a:txBody>
                    <a:bodyPr/>
                    <a:lstStyle/>
                    <a:p>
                      <a:pPr algn="l" fontAlgn="b"/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91576">
                <a:tc rowSpan="2">
                  <a:txBody>
                    <a:bodyPr/>
                    <a:lstStyle/>
                    <a:p>
                      <a:pPr algn="l" rtl="0" fontAlgn="t"/>
                      <a:r>
                        <a:rPr lang="de-DE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cenario liklyhood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U-COM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U-COM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CEA 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easons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00700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package 1 3/2015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package 2 5/2015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eaction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Yes</a:t>
                      </a:r>
                    </a:p>
                  </a:txBody>
                  <a:tcPr marL="5370" marR="5370" marT="537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o</a:t>
                      </a: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319773"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djustemnets of EU com RDEdraft end of 2014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66FF33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- timing okay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66FF3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319773"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F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- BC TemperatureMod/Ext +3C/0C   2. Step   0C/-3C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6FF33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dditional BCs included</a:t>
                      </a:r>
                    </a:p>
                  </a:txBody>
                  <a:tcPr marL="5370" marR="5370" marT="537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6FF3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9773">
                <a:tc>
                  <a:txBody>
                    <a:bodyPr/>
                    <a:lstStyle/>
                    <a:p>
                      <a:pPr algn="l" fontAlgn="t"/>
                      <a:r>
                        <a:rPr lang="de-DE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&lt;20%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- -7C with add. Cf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- 2step Timing: NT 9/2017 AT 9/2019  NT 9/2021  AT9/2022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S can agree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6FF33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- temperature okay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6FF3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3330">
                <a:tc>
                  <a:txBody>
                    <a:bodyPr/>
                    <a:lstStyle/>
                    <a:p>
                      <a:pPr algn="l" fontAlgn="t"/>
                      <a:r>
                        <a:rPr lang="de-DE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- 2step Timing &amp; 2 step CFs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- 2step CFs defined, so far no details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6FF33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6FF3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319773">
                <a:tc>
                  <a:txBody>
                    <a:bodyPr/>
                    <a:lstStyle/>
                    <a:p>
                      <a:pPr algn="l" fontAlgn="t"/>
                      <a:r>
                        <a:rPr lang="de-DE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- additional dynamic BCs listed </a:t>
                      </a: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with</a:t>
                      </a:r>
                      <a:r>
                        <a:rPr lang="en-US" sz="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values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de-DE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de-DE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6FF3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de-DE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6FF3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64447">
                <a:tc>
                  <a:txBody>
                    <a:bodyPr/>
                    <a:lstStyle/>
                    <a:p>
                      <a:pPr algn="l" fontAlgn="b"/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64447">
                <a:tc>
                  <a:txBody>
                    <a:bodyPr/>
                    <a:lstStyle/>
                    <a:p>
                      <a:pPr algn="l" fontAlgn="b"/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91576">
                <a:tc rowSpan="2">
                  <a:txBody>
                    <a:bodyPr/>
                    <a:lstStyle/>
                    <a:p>
                      <a:pPr algn="l" rtl="0" fontAlgn="t"/>
                      <a:r>
                        <a:rPr lang="de-DE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cenario liklyhood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U-COM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U-COM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U-COM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CEA 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easons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371548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package 1 3/2015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package 2 5/2015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package 3 latest  by end of 2015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eaction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Yes</a:t>
                      </a:r>
                    </a:p>
                  </a:txBody>
                  <a:tcPr marL="5370" marR="5370" marT="537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o</a:t>
                      </a: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319773"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djustemnets of EU com RDEdraft end of 2014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66FF33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- timing okay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66FF3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319773"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G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- BC TemperatureMod/Ext +3C/0C   2. Step   0C/-7C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6FF33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dditional BCs included</a:t>
                      </a:r>
                    </a:p>
                  </a:txBody>
                  <a:tcPr marL="5370" marR="5370" marT="537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6FF3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9773">
                <a:tc>
                  <a:txBody>
                    <a:bodyPr/>
                    <a:lstStyle/>
                    <a:p>
                      <a:pPr algn="l" fontAlgn="t"/>
                      <a:r>
                        <a:rPr lang="de-DE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&lt;20%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- -7C with add. Cf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- 2step Timing: NT 9/2017 AT 9/2019  NT 9/2021  AT9/2022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S can agree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6FF33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- temperature okay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6FF3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3330">
                <a:tc>
                  <a:txBody>
                    <a:bodyPr/>
                    <a:lstStyle/>
                    <a:p>
                      <a:pPr algn="l" fontAlgn="t"/>
                      <a:r>
                        <a:rPr lang="de-DE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- 2step Timing &amp; 2 step CFs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- cf of 1 step defined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- cf of 2 step defined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6FF33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6FF3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319773">
                <a:tc>
                  <a:txBody>
                    <a:bodyPr/>
                    <a:lstStyle/>
                    <a:p>
                      <a:pPr algn="l" fontAlgn="t"/>
                      <a:r>
                        <a:rPr lang="de-DE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- additional dynamic BCs listed </a:t>
                      </a: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with</a:t>
                      </a:r>
                      <a:r>
                        <a:rPr lang="en-US" sz="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values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de-DE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de-DE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de-DE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6FF3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de-DE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370" marR="5370" marT="537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6FF3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70" marR="5370" marT="537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174252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/>
        </p:nvSpPr>
        <p:spPr bwMode="auto">
          <a:xfrm>
            <a:off x="1021138" y="5004375"/>
            <a:ext cx="7741862" cy="416256"/>
          </a:xfrm>
          <a:prstGeom prst="rect">
            <a:avLst/>
          </a:prstGeom>
          <a:solidFill>
            <a:srgbClr val="DDDDD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1" i="0" u="none" strike="noStrike" cap="none" normalizeH="0" baseline="0">
              <a:ln>
                <a:noFill/>
              </a:ln>
              <a:solidFill>
                <a:srgbClr val="336699"/>
              </a:solidFill>
              <a:effectLst/>
              <a:latin typeface="Verdana" charset="0"/>
              <a:ea typeface="ＭＳ Ｐゴシック" charset="0"/>
              <a:cs typeface="Arial" charset="0"/>
            </a:endParaRPr>
          </a:p>
        </p:txBody>
      </p:sp>
      <p:sp>
        <p:nvSpPr>
          <p:cNvPr id="11" name="Rechteck 10"/>
          <p:cNvSpPr/>
          <p:nvPr/>
        </p:nvSpPr>
        <p:spPr bwMode="auto">
          <a:xfrm>
            <a:off x="990600" y="3505200"/>
            <a:ext cx="7772400" cy="340056"/>
          </a:xfrm>
          <a:prstGeom prst="rect">
            <a:avLst/>
          </a:prstGeom>
          <a:solidFill>
            <a:srgbClr val="DDDDD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1" i="0" u="none" strike="noStrike" cap="none" normalizeH="0" baseline="0">
              <a:ln>
                <a:noFill/>
              </a:ln>
              <a:solidFill>
                <a:srgbClr val="336699"/>
              </a:solidFill>
              <a:effectLst/>
              <a:latin typeface="Verdana" charset="0"/>
              <a:ea typeface="ＭＳ Ｐゴシック" charset="0"/>
              <a:cs typeface="Arial" charset="0"/>
            </a:endParaRPr>
          </a:p>
        </p:txBody>
      </p:sp>
      <p:sp>
        <p:nvSpPr>
          <p:cNvPr id="10" name="Rechteck 9"/>
          <p:cNvSpPr/>
          <p:nvPr/>
        </p:nvSpPr>
        <p:spPr bwMode="auto">
          <a:xfrm>
            <a:off x="1005869" y="2989428"/>
            <a:ext cx="7772400" cy="340056"/>
          </a:xfrm>
          <a:prstGeom prst="rect">
            <a:avLst/>
          </a:prstGeom>
          <a:solidFill>
            <a:srgbClr val="DDDDD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1" i="0" u="none" strike="noStrike" cap="none" normalizeH="0" baseline="0">
              <a:ln>
                <a:noFill/>
              </a:ln>
              <a:solidFill>
                <a:srgbClr val="336699"/>
              </a:solidFill>
              <a:effectLst/>
              <a:latin typeface="Verdana" charset="0"/>
              <a:ea typeface="ＭＳ Ｐゴシック" charset="0"/>
              <a:cs typeface="Arial" charset="0"/>
            </a:endParaRPr>
          </a:p>
        </p:txBody>
      </p:sp>
      <p:sp>
        <p:nvSpPr>
          <p:cNvPr id="9" name="Rechteck 8"/>
          <p:cNvSpPr/>
          <p:nvPr/>
        </p:nvSpPr>
        <p:spPr bwMode="auto">
          <a:xfrm>
            <a:off x="990600" y="1447800"/>
            <a:ext cx="7772400" cy="340056"/>
          </a:xfrm>
          <a:prstGeom prst="rect">
            <a:avLst/>
          </a:prstGeom>
          <a:solidFill>
            <a:srgbClr val="DDDDD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1" i="0" u="none" strike="noStrike" cap="none" normalizeH="0" baseline="0">
              <a:ln>
                <a:noFill/>
              </a:ln>
              <a:solidFill>
                <a:srgbClr val="336699"/>
              </a:solidFill>
              <a:effectLst/>
              <a:latin typeface="Verdana" charset="0"/>
              <a:ea typeface="ＭＳ Ｐゴシック" charset="0"/>
              <a:cs typeface="Arial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Next </a:t>
            </a:r>
            <a:r>
              <a:rPr lang="de-DE" dirty="0" err="1" smtClean="0"/>
              <a:t>steps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8110067" y="6548439"/>
            <a:ext cx="655864" cy="179387"/>
          </a:xfrm>
        </p:spPr>
        <p:txBody>
          <a:bodyPr/>
          <a:lstStyle/>
          <a:p>
            <a:fld id="{B8BD4307-8E25-4063-B042-91C9BB9E4C20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6" name="Textfeld 5"/>
          <p:cNvSpPr txBox="1"/>
          <p:nvPr/>
        </p:nvSpPr>
        <p:spPr>
          <a:xfrm>
            <a:off x="990600" y="1447800"/>
            <a:ext cx="77724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b="0" dirty="0" smtClean="0">
                <a:solidFill>
                  <a:schemeClr val="tx1"/>
                </a:solidFill>
              </a:rPr>
              <a:t>ACEA RDE LDC </a:t>
            </a:r>
            <a:r>
              <a:rPr lang="de-DE" sz="1600" b="0" dirty="0" err="1" smtClean="0">
                <a:solidFill>
                  <a:schemeClr val="tx1"/>
                </a:solidFill>
              </a:rPr>
              <a:t>Telco</a:t>
            </a:r>
            <a:r>
              <a:rPr lang="de-DE" sz="1600" b="0" dirty="0" smtClean="0">
                <a:solidFill>
                  <a:schemeClr val="tx1"/>
                </a:solidFill>
              </a:rPr>
              <a:t> at 18.2.2015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de-DE" sz="1600" b="0" dirty="0" smtClean="0">
              <a:solidFill>
                <a:schemeClr val="tx1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600" b="0" dirty="0" smtClean="0">
                <a:solidFill>
                  <a:schemeClr val="tx1"/>
                </a:solidFill>
              </a:rPr>
              <a:t>Status </a:t>
            </a:r>
            <a:r>
              <a:rPr lang="de-DE" sz="1600" b="0" dirty="0" err="1" smtClean="0">
                <a:solidFill>
                  <a:schemeClr val="tx1"/>
                </a:solidFill>
              </a:rPr>
              <a:t>presentation</a:t>
            </a:r>
            <a:r>
              <a:rPr lang="de-DE" sz="1600" b="0" dirty="0" smtClean="0">
                <a:solidFill>
                  <a:schemeClr val="tx1"/>
                </a:solidFill>
              </a:rPr>
              <a:t> of 2nd </a:t>
            </a:r>
            <a:r>
              <a:rPr lang="de-DE" sz="1600" b="0" dirty="0" err="1" smtClean="0">
                <a:solidFill>
                  <a:schemeClr val="tx1"/>
                </a:solidFill>
              </a:rPr>
              <a:t>road</a:t>
            </a:r>
            <a:r>
              <a:rPr lang="de-DE" sz="1600" b="0" dirty="0" smtClean="0">
                <a:solidFill>
                  <a:schemeClr val="tx1"/>
                </a:solidFill>
              </a:rPr>
              <a:t> </a:t>
            </a:r>
            <a:r>
              <a:rPr lang="de-DE" sz="1600" b="0" dirty="0" err="1" smtClean="0">
                <a:solidFill>
                  <a:schemeClr val="tx1"/>
                </a:solidFill>
              </a:rPr>
              <a:t>show</a:t>
            </a:r>
            <a:endParaRPr lang="de-DE" sz="1600" b="0" dirty="0" smtClean="0">
              <a:solidFill>
                <a:schemeClr val="tx1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600" b="0" dirty="0" err="1" smtClean="0">
                <a:solidFill>
                  <a:schemeClr val="tx1"/>
                </a:solidFill>
              </a:rPr>
              <a:t>results</a:t>
            </a:r>
            <a:r>
              <a:rPr lang="de-DE" sz="1600" b="0" dirty="0" smtClean="0">
                <a:solidFill>
                  <a:schemeClr val="tx1"/>
                </a:solidFill>
              </a:rPr>
              <a:t> </a:t>
            </a:r>
            <a:r>
              <a:rPr lang="de-DE" sz="1600" b="0" dirty="0" err="1" smtClean="0">
                <a:solidFill>
                  <a:schemeClr val="tx1"/>
                </a:solidFill>
              </a:rPr>
              <a:t>sub</a:t>
            </a:r>
            <a:r>
              <a:rPr lang="de-DE" sz="1600" b="0" dirty="0" smtClean="0">
                <a:solidFill>
                  <a:schemeClr val="tx1"/>
                </a:solidFill>
              </a:rPr>
              <a:t> </a:t>
            </a:r>
            <a:r>
              <a:rPr lang="de-DE" sz="1600" b="0" dirty="0" err="1" smtClean="0">
                <a:solidFill>
                  <a:schemeClr val="tx1"/>
                </a:solidFill>
              </a:rPr>
              <a:t>group</a:t>
            </a:r>
            <a:r>
              <a:rPr lang="de-DE" sz="1600" b="0" dirty="0" smtClean="0">
                <a:solidFill>
                  <a:schemeClr val="tx1"/>
                </a:solidFill>
              </a:rPr>
              <a:t> CF (Opel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600" b="0" dirty="0" smtClean="0">
                <a:solidFill>
                  <a:schemeClr val="tx1"/>
                </a:solidFill>
              </a:rPr>
              <a:t>Kick off „</a:t>
            </a:r>
            <a:r>
              <a:rPr lang="de-DE" sz="1600" b="0" dirty="0" err="1" smtClean="0">
                <a:solidFill>
                  <a:schemeClr val="tx1"/>
                </a:solidFill>
              </a:rPr>
              <a:t>black</a:t>
            </a:r>
            <a:r>
              <a:rPr lang="de-DE" sz="1600" b="0" dirty="0" smtClean="0">
                <a:solidFill>
                  <a:schemeClr val="tx1"/>
                </a:solidFill>
              </a:rPr>
              <a:t> </a:t>
            </a:r>
            <a:r>
              <a:rPr lang="de-DE" sz="1600" b="0" dirty="0" err="1" smtClean="0">
                <a:solidFill>
                  <a:schemeClr val="tx1"/>
                </a:solidFill>
              </a:rPr>
              <a:t>scenario</a:t>
            </a:r>
            <a:r>
              <a:rPr lang="de-DE" sz="1600" b="0" dirty="0" smtClean="0">
                <a:solidFill>
                  <a:schemeClr val="tx1"/>
                </a:solidFill>
              </a:rPr>
              <a:t>“</a:t>
            </a:r>
          </a:p>
        </p:txBody>
      </p:sp>
      <p:sp>
        <p:nvSpPr>
          <p:cNvPr id="7" name="Textfeld 6"/>
          <p:cNvSpPr txBox="1"/>
          <p:nvPr/>
        </p:nvSpPr>
        <p:spPr>
          <a:xfrm>
            <a:off x="990600" y="3002353"/>
            <a:ext cx="7772400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b="0" dirty="0" smtClean="0">
                <a:solidFill>
                  <a:schemeClr val="tx1"/>
                </a:solidFill>
              </a:rPr>
              <a:t>Task </a:t>
            </a:r>
            <a:r>
              <a:rPr lang="de-DE" sz="1600" b="0" dirty="0" err="1" smtClean="0">
                <a:solidFill>
                  <a:schemeClr val="tx1"/>
                </a:solidFill>
              </a:rPr>
              <a:t>force</a:t>
            </a:r>
            <a:r>
              <a:rPr lang="de-DE" sz="1600" b="0" dirty="0" smtClean="0">
                <a:solidFill>
                  <a:schemeClr val="tx1"/>
                </a:solidFill>
              </a:rPr>
              <a:t> BC </a:t>
            </a:r>
            <a:r>
              <a:rPr lang="de-DE" sz="1600" b="0" dirty="0" err="1" smtClean="0">
                <a:solidFill>
                  <a:schemeClr val="tx1"/>
                </a:solidFill>
              </a:rPr>
              <a:t>Telco</a:t>
            </a:r>
            <a:r>
              <a:rPr lang="de-DE" sz="1600" b="0" dirty="0" smtClean="0">
                <a:solidFill>
                  <a:schemeClr val="tx1"/>
                </a:solidFill>
              </a:rPr>
              <a:t> at 19.2. </a:t>
            </a:r>
            <a:r>
              <a:rPr lang="de-DE" sz="1600" b="0" dirty="0" err="1" smtClean="0">
                <a:solidFill>
                  <a:schemeClr val="tx1"/>
                </a:solidFill>
              </a:rPr>
              <a:t>with</a:t>
            </a:r>
            <a:r>
              <a:rPr lang="de-DE" sz="1600" b="0" dirty="0" smtClean="0">
                <a:solidFill>
                  <a:schemeClr val="tx1"/>
                </a:solidFill>
              </a:rPr>
              <a:t> JRC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b="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b="0" dirty="0" smtClean="0">
                <a:solidFill>
                  <a:schemeClr val="tx1"/>
                </a:solidFill>
              </a:rPr>
              <a:t>Task </a:t>
            </a:r>
            <a:r>
              <a:rPr lang="de-DE" sz="1600" b="0" dirty="0" err="1" smtClean="0">
                <a:solidFill>
                  <a:schemeClr val="tx1"/>
                </a:solidFill>
              </a:rPr>
              <a:t>force</a:t>
            </a:r>
            <a:r>
              <a:rPr lang="de-DE" sz="1600" b="0" dirty="0" smtClean="0">
                <a:solidFill>
                  <a:schemeClr val="tx1"/>
                </a:solidFill>
              </a:rPr>
              <a:t> BC Team </a:t>
            </a:r>
            <a:r>
              <a:rPr lang="de-DE" sz="1600" b="0" dirty="0" err="1" smtClean="0">
                <a:solidFill>
                  <a:schemeClr val="tx1"/>
                </a:solidFill>
              </a:rPr>
              <a:t>workshop</a:t>
            </a:r>
            <a:r>
              <a:rPr lang="de-DE" sz="1600" b="0" dirty="0" smtClean="0">
                <a:solidFill>
                  <a:schemeClr val="tx1"/>
                </a:solidFill>
              </a:rPr>
              <a:t> 25.2.&amp; 26.2. </a:t>
            </a:r>
            <a:r>
              <a:rPr lang="de-DE" sz="1600" b="0" dirty="0" err="1" smtClean="0">
                <a:solidFill>
                  <a:schemeClr val="tx1"/>
                </a:solidFill>
              </a:rPr>
              <a:t>with</a:t>
            </a:r>
            <a:r>
              <a:rPr lang="de-DE" sz="1600" b="0" dirty="0" smtClean="0">
                <a:solidFill>
                  <a:schemeClr val="tx1"/>
                </a:solidFill>
              </a:rPr>
              <a:t> EU COM </a:t>
            </a:r>
            <a:r>
              <a:rPr lang="de-DE" sz="1600" b="0" dirty="0" err="1" smtClean="0">
                <a:solidFill>
                  <a:schemeClr val="tx1"/>
                </a:solidFill>
              </a:rPr>
              <a:t>and</a:t>
            </a:r>
            <a:r>
              <a:rPr lang="de-DE" sz="1600" b="0" dirty="0" smtClean="0">
                <a:solidFill>
                  <a:schemeClr val="tx1"/>
                </a:solidFill>
              </a:rPr>
              <a:t> </a:t>
            </a:r>
            <a:r>
              <a:rPr lang="de-DE" sz="1600" b="0" dirty="0" err="1" smtClean="0">
                <a:solidFill>
                  <a:schemeClr val="tx1"/>
                </a:solidFill>
              </a:rPr>
              <a:t>others</a:t>
            </a:r>
            <a:endParaRPr lang="de-DE" sz="1600" b="0" dirty="0" smtClean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b="0" dirty="0">
              <a:solidFill>
                <a:schemeClr val="tx1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600" b="0" dirty="0" err="1" smtClean="0">
                <a:solidFill>
                  <a:schemeClr val="tx1"/>
                </a:solidFill>
              </a:rPr>
              <a:t>target</a:t>
            </a:r>
            <a:r>
              <a:rPr lang="de-DE" sz="1600" b="0" dirty="0" smtClean="0">
                <a:solidFill>
                  <a:schemeClr val="tx1"/>
                </a:solidFill>
              </a:rPr>
              <a:t>: all BCs </a:t>
            </a:r>
            <a:r>
              <a:rPr lang="de-DE" sz="1600" b="0" dirty="0" err="1" smtClean="0">
                <a:solidFill>
                  <a:schemeClr val="tx1"/>
                </a:solidFill>
              </a:rPr>
              <a:t>are</a:t>
            </a:r>
            <a:r>
              <a:rPr lang="de-DE" sz="1600" b="0" dirty="0" smtClean="0">
                <a:solidFill>
                  <a:schemeClr val="tx1"/>
                </a:solidFill>
              </a:rPr>
              <a:t> </a:t>
            </a:r>
            <a:r>
              <a:rPr lang="de-DE" sz="1600" b="0" dirty="0" err="1" smtClean="0">
                <a:solidFill>
                  <a:schemeClr val="tx1"/>
                </a:solidFill>
              </a:rPr>
              <a:t>defined</a:t>
            </a:r>
            <a:r>
              <a:rPr lang="de-DE" sz="1600" b="0" dirty="0" smtClean="0">
                <a:solidFill>
                  <a:schemeClr val="tx1"/>
                </a:solidFill>
              </a:rPr>
              <a:t> </a:t>
            </a:r>
            <a:r>
              <a:rPr lang="de-DE" sz="1600" b="0" dirty="0" err="1" smtClean="0">
                <a:solidFill>
                  <a:schemeClr val="tx1"/>
                </a:solidFill>
              </a:rPr>
              <a:t>and</a:t>
            </a:r>
            <a:r>
              <a:rPr lang="de-DE" sz="1600" b="0" dirty="0" smtClean="0">
                <a:solidFill>
                  <a:schemeClr val="tx1"/>
                </a:solidFill>
              </a:rPr>
              <a:t> </a:t>
            </a:r>
            <a:r>
              <a:rPr lang="de-DE" sz="1600" b="0" dirty="0" err="1" smtClean="0">
                <a:solidFill>
                  <a:schemeClr val="tx1"/>
                </a:solidFill>
              </a:rPr>
              <a:t>values</a:t>
            </a:r>
            <a:r>
              <a:rPr lang="de-DE" sz="1600" b="0" dirty="0">
                <a:solidFill>
                  <a:schemeClr val="tx1"/>
                </a:solidFill>
              </a:rPr>
              <a:t> </a:t>
            </a:r>
            <a:r>
              <a:rPr lang="de-DE" sz="1600" b="0" dirty="0" err="1" smtClean="0">
                <a:solidFill>
                  <a:schemeClr val="tx1"/>
                </a:solidFill>
              </a:rPr>
              <a:t>are</a:t>
            </a:r>
            <a:r>
              <a:rPr lang="de-DE" sz="1600" b="0" dirty="0" smtClean="0">
                <a:solidFill>
                  <a:schemeClr val="tx1"/>
                </a:solidFill>
              </a:rPr>
              <a:t> </a:t>
            </a:r>
            <a:r>
              <a:rPr lang="de-DE" sz="1600" b="0" dirty="0" err="1" smtClean="0">
                <a:solidFill>
                  <a:schemeClr val="tx1"/>
                </a:solidFill>
              </a:rPr>
              <a:t>confirmed</a:t>
            </a:r>
            <a:r>
              <a:rPr lang="de-DE" sz="1600" b="0" dirty="0" smtClean="0">
                <a:solidFill>
                  <a:schemeClr val="tx1"/>
                </a:solidFill>
              </a:rPr>
              <a:t> </a:t>
            </a:r>
            <a:r>
              <a:rPr lang="de-DE" sz="1600" b="0" dirty="0" err="1" smtClean="0">
                <a:solidFill>
                  <a:schemeClr val="tx1"/>
                </a:solidFill>
              </a:rPr>
              <a:t>and</a:t>
            </a:r>
            <a:r>
              <a:rPr lang="de-DE" sz="1600" b="0" dirty="0" smtClean="0">
                <a:solidFill>
                  <a:schemeClr val="tx1"/>
                </a:solidFill>
              </a:rPr>
              <a:t> all </a:t>
            </a:r>
            <a:r>
              <a:rPr lang="de-DE" sz="1600" b="0" dirty="0" err="1" smtClean="0">
                <a:solidFill>
                  <a:schemeClr val="tx1"/>
                </a:solidFill>
              </a:rPr>
              <a:t>is</a:t>
            </a:r>
            <a:r>
              <a:rPr lang="de-DE" sz="1600" b="0" dirty="0" smtClean="0">
                <a:solidFill>
                  <a:schemeClr val="tx1"/>
                </a:solidFill>
              </a:rPr>
              <a:t> </a:t>
            </a:r>
            <a:r>
              <a:rPr lang="de-DE" sz="1600" b="0" dirty="0" err="1" smtClean="0">
                <a:solidFill>
                  <a:schemeClr val="tx1"/>
                </a:solidFill>
              </a:rPr>
              <a:t>included</a:t>
            </a:r>
            <a:r>
              <a:rPr lang="de-DE" sz="1600" b="0" dirty="0" smtClean="0">
                <a:solidFill>
                  <a:schemeClr val="tx1"/>
                </a:solidFill>
              </a:rPr>
              <a:t> in </a:t>
            </a:r>
            <a:r>
              <a:rPr lang="de-DE" sz="1600" b="0" dirty="0" err="1" smtClean="0">
                <a:solidFill>
                  <a:schemeClr val="tx1"/>
                </a:solidFill>
              </a:rPr>
              <a:t>package</a:t>
            </a:r>
            <a:r>
              <a:rPr lang="de-DE" sz="1600" b="0" dirty="0" smtClean="0">
                <a:solidFill>
                  <a:schemeClr val="tx1"/>
                </a:solidFill>
              </a:rPr>
              <a:t> 1 of DG </a:t>
            </a:r>
            <a:r>
              <a:rPr lang="de-DE" sz="1600" b="0" dirty="0" err="1" smtClean="0">
                <a:solidFill>
                  <a:schemeClr val="tx1"/>
                </a:solidFill>
              </a:rPr>
              <a:t>Grow</a:t>
            </a:r>
            <a:r>
              <a:rPr lang="de-DE" sz="1600" b="0" dirty="0" smtClean="0">
                <a:solidFill>
                  <a:schemeClr val="tx1"/>
                </a:solidFill>
              </a:rPr>
              <a:t> </a:t>
            </a:r>
            <a:r>
              <a:rPr lang="de-DE" sz="1600" b="0" dirty="0" err="1" smtClean="0">
                <a:solidFill>
                  <a:schemeClr val="tx1"/>
                </a:solidFill>
              </a:rPr>
              <a:t>for</a:t>
            </a:r>
            <a:r>
              <a:rPr lang="de-DE" sz="1600" b="0" dirty="0" smtClean="0">
                <a:solidFill>
                  <a:schemeClr val="tx1"/>
                </a:solidFill>
              </a:rPr>
              <a:t> 24th of March TCMV</a:t>
            </a:r>
          </a:p>
          <a:p>
            <a:r>
              <a:rPr lang="de-DE" sz="1600" b="0" dirty="0">
                <a:solidFill>
                  <a:schemeClr val="tx1"/>
                </a:solidFill>
              </a:rPr>
              <a:t>	</a:t>
            </a:r>
            <a:r>
              <a:rPr lang="de-DE" sz="1600" b="0" dirty="0" smtClean="0">
                <a:solidFill>
                  <a:schemeClr val="tx1"/>
                </a:solidFill>
              </a:rPr>
              <a:t>	</a:t>
            </a:r>
            <a:endParaRPr lang="de-DE" sz="1600" b="0" dirty="0">
              <a:solidFill>
                <a:schemeClr val="tx1"/>
              </a:solidFill>
            </a:endParaRPr>
          </a:p>
        </p:txBody>
      </p:sp>
      <p:sp>
        <p:nvSpPr>
          <p:cNvPr id="8" name="Textfeld 7"/>
          <p:cNvSpPr txBox="1"/>
          <p:nvPr/>
        </p:nvSpPr>
        <p:spPr>
          <a:xfrm>
            <a:off x="990600" y="4988256"/>
            <a:ext cx="457086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b="0" dirty="0" smtClean="0">
                <a:solidFill>
                  <a:schemeClr val="tx1"/>
                </a:solidFill>
              </a:rPr>
              <a:t>ACEA  </a:t>
            </a:r>
            <a:r>
              <a:rPr lang="de-DE" sz="1600" b="0" dirty="0" err="1" smtClean="0">
                <a:solidFill>
                  <a:schemeClr val="tx1"/>
                </a:solidFill>
              </a:rPr>
              <a:t>road</a:t>
            </a:r>
            <a:r>
              <a:rPr lang="de-DE" sz="1600" b="0" dirty="0" smtClean="0">
                <a:solidFill>
                  <a:schemeClr val="tx1"/>
                </a:solidFill>
              </a:rPr>
              <a:t> </a:t>
            </a:r>
            <a:r>
              <a:rPr lang="de-DE" sz="1600" b="0" dirty="0" err="1" smtClean="0">
                <a:solidFill>
                  <a:schemeClr val="tx1"/>
                </a:solidFill>
              </a:rPr>
              <a:t>show</a:t>
            </a:r>
            <a:r>
              <a:rPr lang="de-DE" sz="1600" b="0" dirty="0" smtClean="0">
                <a:solidFill>
                  <a:schemeClr val="tx1"/>
                </a:solidFill>
              </a:rPr>
              <a:t> </a:t>
            </a:r>
            <a:r>
              <a:rPr lang="de-DE" sz="1600" b="0" dirty="0" err="1" smtClean="0">
                <a:solidFill>
                  <a:schemeClr val="tx1"/>
                </a:solidFill>
              </a:rPr>
              <a:t>starts</a:t>
            </a:r>
            <a:r>
              <a:rPr lang="de-DE" sz="1600" b="0" dirty="0" smtClean="0">
                <a:solidFill>
                  <a:schemeClr val="tx1"/>
                </a:solidFill>
              </a:rPr>
              <a:t> at 2.3. </a:t>
            </a:r>
          </a:p>
          <a:p>
            <a:endParaRPr lang="de-DE" sz="16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13567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 txBox="1">
            <a:spLocks/>
          </p:cNvSpPr>
          <p:nvPr/>
        </p:nvSpPr>
        <p:spPr bwMode="auto">
          <a:xfrm>
            <a:off x="990600" y="2376891"/>
            <a:ext cx="7772400" cy="285750"/>
          </a:xfrm>
          <a:prstGeom prst="rect">
            <a:avLst/>
          </a:prstGeom>
          <a:solidFill>
            <a:srgbClr val="DDDDD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336699"/>
                </a:solidFill>
                <a:latin typeface="+mj-lt"/>
                <a:ea typeface="ＭＳ Ｐゴシック" pitchFamily="50" charset="-128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336699"/>
                </a:solidFill>
                <a:latin typeface="Verdana" charset="0"/>
                <a:ea typeface="ＭＳ Ｐゴシック" pitchFamily="50" charset="-128"/>
                <a:cs typeface="Times New Roman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336699"/>
                </a:solidFill>
                <a:latin typeface="Verdana" charset="0"/>
                <a:ea typeface="ＭＳ Ｐゴシック" pitchFamily="50" charset="-128"/>
                <a:cs typeface="Times New Roman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336699"/>
                </a:solidFill>
                <a:latin typeface="Verdana" charset="0"/>
                <a:ea typeface="ＭＳ Ｐゴシック" pitchFamily="50" charset="-128"/>
                <a:cs typeface="Times New Roman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336699"/>
                </a:solidFill>
                <a:latin typeface="Verdana" charset="0"/>
                <a:ea typeface="ＭＳ Ｐゴシック" pitchFamily="50" charset="-128"/>
                <a:cs typeface="Times New Roman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336699"/>
                </a:solidFill>
                <a:latin typeface="Verdana" charset="0"/>
                <a:ea typeface="ＭＳ Ｐゴシック" charset="0"/>
                <a:cs typeface="Times New Roman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336699"/>
                </a:solidFill>
                <a:latin typeface="Verdana" charset="0"/>
                <a:ea typeface="ＭＳ Ｐゴシック" charset="0"/>
                <a:cs typeface="Times New Roman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336699"/>
                </a:solidFill>
                <a:latin typeface="Verdana" charset="0"/>
                <a:ea typeface="ＭＳ Ｐゴシック" charset="0"/>
                <a:cs typeface="Times New Roman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336699"/>
                </a:solidFill>
                <a:latin typeface="Verdana" charset="0"/>
                <a:ea typeface="ＭＳ Ｐゴシック" charset="0"/>
                <a:cs typeface="Times New Roman" charset="0"/>
              </a:defRPr>
            </a:lvl9pPr>
          </a:lstStyle>
          <a:p>
            <a:pPr algn="l"/>
            <a:r>
              <a:rPr lang="de-DE" sz="1800" kern="0" dirty="0" smtClean="0"/>
              <a:t>Package 1 for TCMV 3/2015</a:t>
            </a:r>
            <a:endParaRPr lang="en-US" sz="1800" kern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Recommendation  ???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1712145" y="6660991"/>
            <a:ext cx="677008" cy="179387"/>
          </a:xfrm>
        </p:spPr>
        <p:txBody>
          <a:bodyPr/>
          <a:lstStyle/>
          <a:p>
            <a:fld id="{B8BD4307-8E25-4063-B042-91C9BB9E4C20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6" name="Textfeld 5"/>
          <p:cNvSpPr txBox="1"/>
          <p:nvPr/>
        </p:nvSpPr>
        <p:spPr>
          <a:xfrm>
            <a:off x="988252" y="1260144"/>
            <a:ext cx="777474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b="0" dirty="0" smtClean="0">
                <a:solidFill>
                  <a:schemeClr val="tx1"/>
                </a:solidFill>
              </a:rPr>
              <a:t>ACEA </a:t>
            </a:r>
            <a:r>
              <a:rPr lang="de-DE" sz="1600" b="0" dirty="0" err="1" smtClean="0">
                <a:solidFill>
                  <a:schemeClr val="tx1"/>
                </a:solidFill>
              </a:rPr>
              <a:t>walk</a:t>
            </a:r>
            <a:r>
              <a:rPr lang="de-DE" sz="1600" b="0" dirty="0" smtClean="0">
                <a:solidFill>
                  <a:schemeClr val="tx1"/>
                </a:solidFill>
              </a:rPr>
              <a:t> out </a:t>
            </a:r>
            <a:r>
              <a:rPr lang="de-DE" sz="1600" b="0" dirty="0" err="1" smtClean="0">
                <a:solidFill>
                  <a:schemeClr val="tx1"/>
                </a:solidFill>
              </a:rPr>
              <a:t>postion</a:t>
            </a:r>
            <a:r>
              <a:rPr lang="de-DE" sz="1600" b="0" dirty="0" smtClean="0">
                <a:solidFill>
                  <a:schemeClr val="tx1"/>
                </a:solidFill>
              </a:rPr>
              <a:t> </a:t>
            </a:r>
            <a:r>
              <a:rPr lang="de-DE" sz="1600" b="0" dirty="0" err="1" smtClean="0">
                <a:solidFill>
                  <a:schemeClr val="tx1"/>
                </a:solidFill>
              </a:rPr>
              <a:t>is</a:t>
            </a:r>
            <a:r>
              <a:rPr lang="de-DE" sz="1600" b="0" dirty="0" smtClean="0">
                <a:solidFill>
                  <a:schemeClr val="tx1"/>
                </a:solidFill>
              </a:rPr>
              <a:t> </a:t>
            </a:r>
            <a:r>
              <a:rPr lang="de-DE" sz="1600" b="0" dirty="0" err="1" smtClean="0">
                <a:solidFill>
                  <a:schemeClr val="tx1"/>
                </a:solidFill>
              </a:rPr>
              <a:t>compromise</a:t>
            </a:r>
            <a:r>
              <a:rPr lang="de-DE" sz="1600" b="0" dirty="0" smtClean="0">
                <a:solidFill>
                  <a:schemeClr val="tx1"/>
                </a:solidFill>
              </a:rPr>
              <a:t> C2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b="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b="0" dirty="0" smtClean="0">
                <a:solidFill>
                  <a:schemeClr val="tx1"/>
                </a:solidFill>
              </a:rPr>
              <a:t>ACEA </a:t>
            </a:r>
            <a:r>
              <a:rPr lang="de-DE" sz="1600" b="0" dirty="0" err="1" smtClean="0">
                <a:solidFill>
                  <a:schemeClr val="tx1"/>
                </a:solidFill>
              </a:rPr>
              <a:t>lobby</a:t>
            </a:r>
            <a:r>
              <a:rPr lang="de-DE" sz="1600" b="0" dirty="0" smtClean="0">
                <a:solidFill>
                  <a:schemeClr val="tx1"/>
                </a:solidFill>
              </a:rPr>
              <a:t> EU COM </a:t>
            </a:r>
            <a:r>
              <a:rPr lang="de-DE" sz="1600" b="0" dirty="0" err="1" smtClean="0">
                <a:solidFill>
                  <a:schemeClr val="tx1"/>
                </a:solidFill>
              </a:rPr>
              <a:t>for</a:t>
            </a:r>
            <a:r>
              <a:rPr lang="de-DE" sz="1600" b="0" dirty="0" smtClean="0">
                <a:solidFill>
                  <a:schemeClr val="tx1"/>
                </a:solidFill>
              </a:rPr>
              <a:t> a „3 </a:t>
            </a:r>
            <a:r>
              <a:rPr lang="de-DE" sz="1600" b="0" dirty="0" err="1" smtClean="0">
                <a:solidFill>
                  <a:schemeClr val="tx1"/>
                </a:solidFill>
              </a:rPr>
              <a:t>packages</a:t>
            </a:r>
            <a:r>
              <a:rPr lang="de-DE" sz="1600" b="0" dirty="0" smtClean="0">
                <a:solidFill>
                  <a:schemeClr val="tx1"/>
                </a:solidFill>
              </a:rPr>
              <a:t>“ RDE </a:t>
            </a:r>
            <a:r>
              <a:rPr lang="de-DE" sz="1600" b="0" dirty="0" err="1" smtClean="0">
                <a:solidFill>
                  <a:schemeClr val="tx1"/>
                </a:solidFill>
              </a:rPr>
              <a:t>legislation</a:t>
            </a:r>
            <a:r>
              <a:rPr lang="de-DE" sz="1600" b="0" dirty="0" smtClean="0">
                <a:solidFill>
                  <a:schemeClr val="tx1"/>
                </a:solidFill>
              </a:rPr>
              <a:t> </a:t>
            </a:r>
            <a:r>
              <a:rPr lang="de-DE" sz="1600" b="0" dirty="0" err="1" smtClean="0">
                <a:solidFill>
                  <a:schemeClr val="tx1"/>
                </a:solidFill>
              </a:rPr>
              <a:t>developement</a:t>
            </a:r>
            <a:endParaRPr lang="de-DE" sz="1600" b="0" dirty="0">
              <a:solidFill>
                <a:schemeClr val="tx1"/>
              </a:solidFill>
            </a:endParaRPr>
          </a:p>
        </p:txBody>
      </p:sp>
      <p:sp>
        <p:nvSpPr>
          <p:cNvPr id="8" name="Textfeld 7"/>
          <p:cNvSpPr txBox="1"/>
          <p:nvPr/>
        </p:nvSpPr>
        <p:spPr>
          <a:xfrm>
            <a:off x="1712145" y="2743200"/>
            <a:ext cx="5126724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b="0" dirty="0" err="1" smtClean="0">
                <a:solidFill>
                  <a:schemeClr val="tx1"/>
                </a:solidFill>
              </a:rPr>
              <a:t>Introduction</a:t>
            </a:r>
            <a:r>
              <a:rPr lang="de-DE" sz="1600" b="0" dirty="0" smtClean="0">
                <a:solidFill>
                  <a:schemeClr val="tx1"/>
                </a:solidFill>
              </a:rPr>
              <a:t> in 2 </a:t>
            </a:r>
            <a:r>
              <a:rPr lang="de-DE" sz="1600" b="0" dirty="0" err="1" smtClean="0">
                <a:solidFill>
                  <a:schemeClr val="tx1"/>
                </a:solidFill>
              </a:rPr>
              <a:t>steps</a:t>
            </a:r>
            <a:r>
              <a:rPr lang="de-DE" sz="1600" b="0" dirty="0" smtClean="0">
                <a:solidFill>
                  <a:schemeClr val="tx1"/>
                </a:solidFill>
              </a:rPr>
              <a:t> </a:t>
            </a:r>
            <a:r>
              <a:rPr lang="de-DE" sz="1600" b="0" dirty="0" err="1" smtClean="0">
                <a:solidFill>
                  <a:schemeClr val="tx1"/>
                </a:solidFill>
              </a:rPr>
              <a:t>with</a:t>
            </a:r>
            <a:r>
              <a:rPr lang="de-DE" sz="1600" b="0" dirty="0" smtClean="0">
                <a:solidFill>
                  <a:schemeClr val="tx1"/>
                </a:solidFill>
              </a:rPr>
              <a:t> </a:t>
            </a:r>
            <a:r>
              <a:rPr lang="de-DE" sz="1600" b="0" dirty="0" err="1" smtClean="0">
                <a:solidFill>
                  <a:schemeClr val="tx1"/>
                </a:solidFill>
              </a:rPr>
              <a:t>concrete</a:t>
            </a:r>
            <a:r>
              <a:rPr lang="de-DE" sz="1600" b="0" dirty="0" smtClean="0">
                <a:solidFill>
                  <a:schemeClr val="tx1"/>
                </a:solidFill>
              </a:rPr>
              <a:t> </a:t>
            </a:r>
            <a:r>
              <a:rPr lang="de-DE" sz="1600" b="0" dirty="0" err="1" smtClean="0">
                <a:solidFill>
                  <a:schemeClr val="tx1"/>
                </a:solidFill>
              </a:rPr>
              <a:t>dates</a:t>
            </a:r>
            <a:r>
              <a:rPr lang="de-DE" sz="1600" b="0" dirty="0" smtClean="0">
                <a:solidFill>
                  <a:schemeClr val="tx1"/>
                </a:solidFill>
              </a:rPr>
              <a:t>  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600" b="0" dirty="0" err="1" smtClean="0">
                <a:solidFill>
                  <a:schemeClr val="tx1"/>
                </a:solidFill>
              </a:rPr>
              <a:t>Step</a:t>
            </a:r>
            <a:r>
              <a:rPr lang="de-DE" sz="1600" b="0" dirty="0" smtClean="0">
                <a:solidFill>
                  <a:schemeClr val="tx1"/>
                </a:solidFill>
              </a:rPr>
              <a:t> 1: NT 9/2017 AT 9/2019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600" b="0" dirty="0" err="1" smtClean="0">
                <a:solidFill>
                  <a:schemeClr val="tx1"/>
                </a:solidFill>
              </a:rPr>
              <a:t>Step</a:t>
            </a:r>
            <a:r>
              <a:rPr lang="de-DE" sz="1600" b="0" dirty="0" smtClean="0">
                <a:solidFill>
                  <a:schemeClr val="tx1"/>
                </a:solidFill>
              </a:rPr>
              <a:t> 2: NT 9/2021 AT 9/2022</a:t>
            </a:r>
          </a:p>
          <a:p>
            <a:endParaRPr lang="de-DE" sz="1600" b="0" dirty="0">
              <a:solidFill>
                <a:schemeClr val="tx1"/>
              </a:solidFill>
            </a:endParaRPr>
          </a:p>
        </p:txBody>
      </p:sp>
      <p:sp>
        <p:nvSpPr>
          <p:cNvPr id="9" name="Textfeld 8"/>
          <p:cNvSpPr txBox="1"/>
          <p:nvPr/>
        </p:nvSpPr>
        <p:spPr>
          <a:xfrm>
            <a:off x="1712145" y="3528030"/>
            <a:ext cx="6134180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b="0" dirty="0" smtClean="0">
                <a:solidFill>
                  <a:schemeClr val="tx1"/>
                </a:solidFill>
              </a:rPr>
              <a:t>All </a:t>
            </a:r>
            <a:r>
              <a:rPr lang="de-DE" sz="1600" b="0" dirty="0" err="1" smtClean="0">
                <a:solidFill>
                  <a:schemeClr val="tx1"/>
                </a:solidFill>
              </a:rPr>
              <a:t>necessary</a:t>
            </a:r>
            <a:r>
              <a:rPr lang="de-DE" sz="1600" b="0" dirty="0" smtClean="0">
                <a:solidFill>
                  <a:schemeClr val="tx1"/>
                </a:solidFill>
              </a:rPr>
              <a:t> BCs will </a:t>
            </a:r>
            <a:r>
              <a:rPr lang="de-DE" sz="1600" b="0" dirty="0" err="1" smtClean="0">
                <a:solidFill>
                  <a:schemeClr val="tx1"/>
                </a:solidFill>
              </a:rPr>
              <a:t>be</a:t>
            </a:r>
            <a:r>
              <a:rPr lang="de-DE" sz="1600" b="0" dirty="0" smtClean="0">
                <a:solidFill>
                  <a:schemeClr val="tx1"/>
                </a:solidFill>
              </a:rPr>
              <a:t> </a:t>
            </a:r>
            <a:r>
              <a:rPr lang="de-DE" sz="1600" b="0" dirty="0" err="1" smtClean="0">
                <a:solidFill>
                  <a:schemeClr val="tx1"/>
                </a:solidFill>
              </a:rPr>
              <a:t>included</a:t>
            </a:r>
            <a:r>
              <a:rPr lang="de-DE" sz="1600" b="0" dirty="0" smtClean="0">
                <a:solidFill>
                  <a:schemeClr val="tx1"/>
                </a:solidFill>
              </a:rPr>
              <a:t> </a:t>
            </a:r>
            <a:r>
              <a:rPr lang="de-DE" sz="1600" b="0" dirty="0" err="1" smtClean="0">
                <a:solidFill>
                  <a:schemeClr val="tx1"/>
                </a:solidFill>
              </a:rPr>
              <a:t>together</a:t>
            </a:r>
            <a:r>
              <a:rPr lang="de-DE" sz="1600" b="0" dirty="0" smtClean="0">
                <a:solidFill>
                  <a:schemeClr val="tx1"/>
                </a:solidFill>
              </a:rPr>
              <a:t> </a:t>
            </a:r>
            <a:r>
              <a:rPr lang="de-DE" sz="1600" b="0" dirty="0" err="1" smtClean="0">
                <a:solidFill>
                  <a:schemeClr val="tx1"/>
                </a:solidFill>
              </a:rPr>
              <a:t>with</a:t>
            </a:r>
            <a:r>
              <a:rPr lang="de-DE" sz="1600" b="0" dirty="0" smtClean="0">
                <a:solidFill>
                  <a:schemeClr val="tx1"/>
                </a:solidFill>
              </a:rPr>
              <a:t> </a:t>
            </a:r>
            <a:r>
              <a:rPr lang="de-DE" sz="1600" b="0" dirty="0" err="1" smtClean="0">
                <a:solidFill>
                  <a:schemeClr val="tx1"/>
                </a:solidFill>
              </a:rPr>
              <a:t>values</a:t>
            </a:r>
            <a:endParaRPr lang="de-DE" sz="1600" b="0" dirty="0" smtClean="0">
              <a:solidFill>
                <a:schemeClr val="tx1"/>
              </a:solidFill>
            </a:endParaRPr>
          </a:p>
          <a:p>
            <a:endParaRPr lang="de-DE" sz="1600" b="0" dirty="0">
              <a:solidFill>
                <a:schemeClr val="tx1"/>
              </a:solidFill>
            </a:endParaRPr>
          </a:p>
        </p:txBody>
      </p:sp>
      <p:sp>
        <p:nvSpPr>
          <p:cNvPr id="10" name="Textfeld 9"/>
          <p:cNvSpPr txBox="1"/>
          <p:nvPr/>
        </p:nvSpPr>
        <p:spPr>
          <a:xfrm>
            <a:off x="1712145" y="4572000"/>
            <a:ext cx="5126340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b="0" dirty="0" smtClean="0">
                <a:solidFill>
                  <a:schemeClr val="tx1"/>
                </a:solidFill>
              </a:rPr>
              <a:t>CF </a:t>
            </a:r>
            <a:r>
              <a:rPr lang="de-DE" sz="1600" b="0" dirty="0" err="1" smtClean="0">
                <a:solidFill>
                  <a:schemeClr val="tx1"/>
                </a:solidFill>
              </a:rPr>
              <a:t>definition</a:t>
            </a:r>
            <a:r>
              <a:rPr lang="de-DE" sz="1600" b="0" dirty="0" smtClean="0">
                <a:solidFill>
                  <a:schemeClr val="tx1"/>
                </a:solidFill>
              </a:rPr>
              <a:t> </a:t>
            </a:r>
            <a:r>
              <a:rPr lang="de-DE" sz="1600" b="0" dirty="0" err="1" smtClean="0">
                <a:solidFill>
                  <a:schemeClr val="tx1"/>
                </a:solidFill>
              </a:rPr>
              <a:t>for</a:t>
            </a:r>
            <a:r>
              <a:rPr lang="de-DE" sz="1600" b="0" dirty="0" smtClean="0">
                <a:solidFill>
                  <a:schemeClr val="tx1"/>
                </a:solidFill>
              </a:rPr>
              <a:t>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600" b="0" dirty="0" err="1" smtClean="0">
                <a:solidFill>
                  <a:schemeClr val="tx1"/>
                </a:solidFill>
              </a:rPr>
              <a:t>step</a:t>
            </a:r>
            <a:r>
              <a:rPr lang="de-DE" sz="1600" b="0" dirty="0" smtClean="0">
                <a:solidFill>
                  <a:schemeClr val="tx1"/>
                </a:solidFill>
              </a:rPr>
              <a:t> 1: </a:t>
            </a:r>
            <a:r>
              <a:rPr lang="de-DE" sz="1600" b="0" dirty="0" err="1" smtClean="0">
                <a:solidFill>
                  <a:schemeClr val="tx1"/>
                </a:solidFill>
              </a:rPr>
              <a:t>target</a:t>
            </a:r>
            <a:r>
              <a:rPr lang="de-DE" sz="1600" b="0" dirty="0" smtClean="0">
                <a:solidFill>
                  <a:schemeClr val="tx1"/>
                </a:solidFill>
              </a:rPr>
              <a:t> moderate 3,5 </a:t>
            </a:r>
            <a:r>
              <a:rPr lang="de-DE" sz="1600" b="0" dirty="0" err="1" smtClean="0">
                <a:solidFill>
                  <a:schemeClr val="tx1"/>
                </a:solidFill>
              </a:rPr>
              <a:t>extended</a:t>
            </a:r>
            <a:r>
              <a:rPr lang="de-DE" sz="1600" b="0" dirty="0" smtClean="0">
                <a:solidFill>
                  <a:schemeClr val="tx1"/>
                </a:solidFill>
              </a:rPr>
              <a:t> 5</a:t>
            </a:r>
            <a:endParaRPr lang="de-DE" sz="1600" b="0" dirty="0">
              <a:solidFill>
                <a:schemeClr val="tx1"/>
              </a:solidFill>
            </a:endParaRPr>
          </a:p>
        </p:txBody>
      </p:sp>
      <p:sp>
        <p:nvSpPr>
          <p:cNvPr id="11" name="Textfeld 10"/>
          <p:cNvSpPr txBox="1"/>
          <p:nvPr/>
        </p:nvSpPr>
        <p:spPr>
          <a:xfrm>
            <a:off x="1712145" y="5867400"/>
            <a:ext cx="5666936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b="0" dirty="0" smtClean="0">
                <a:solidFill>
                  <a:schemeClr val="tx1"/>
                </a:solidFill>
              </a:rPr>
              <a:t>CF </a:t>
            </a:r>
            <a:r>
              <a:rPr lang="de-DE" sz="1600" b="0" dirty="0" err="1" smtClean="0">
                <a:solidFill>
                  <a:schemeClr val="tx1"/>
                </a:solidFill>
              </a:rPr>
              <a:t>definition</a:t>
            </a:r>
            <a:r>
              <a:rPr lang="de-DE" sz="1600" b="0" dirty="0" smtClean="0">
                <a:solidFill>
                  <a:schemeClr val="tx1"/>
                </a:solidFill>
              </a:rPr>
              <a:t>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600" b="0" dirty="0" err="1" smtClean="0">
                <a:solidFill>
                  <a:schemeClr val="tx1"/>
                </a:solidFill>
              </a:rPr>
              <a:t>Step</a:t>
            </a:r>
            <a:r>
              <a:rPr lang="de-DE" sz="1600" b="0" dirty="0" smtClean="0">
                <a:solidFill>
                  <a:schemeClr val="tx1"/>
                </a:solidFill>
              </a:rPr>
              <a:t> 2: </a:t>
            </a:r>
            <a:r>
              <a:rPr lang="de-DE" sz="1600" b="0" dirty="0" err="1" smtClean="0">
                <a:solidFill>
                  <a:schemeClr val="tx1"/>
                </a:solidFill>
              </a:rPr>
              <a:t>target</a:t>
            </a:r>
            <a:r>
              <a:rPr lang="de-DE" sz="1600" b="0" dirty="0" smtClean="0">
                <a:solidFill>
                  <a:schemeClr val="tx1"/>
                </a:solidFill>
              </a:rPr>
              <a:t> moderate 2 </a:t>
            </a:r>
            <a:r>
              <a:rPr lang="de-DE" sz="1600" b="0" dirty="0" err="1" smtClean="0">
                <a:solidFill>
                  <a:schemeClr val="tx1"/>
                </a:solidFill>
              </a:rPr>
              <a:t>extended</a:t>
            </a:r>
            <a:r>
              <a:rPr lang="de-DE" sz="1600" b="0" dirty="0" smtClean="0">
                <a:solidFill>
                  <a:schemeClr val="tx1"/>
                </a:solidFill>
              </a:rPr>
              <a:t> 3 </a:t>
            </a:r>
          </a:p>
          <a:p>
            <a:pPr marL="1657350" lvl="3" indent="-285750">
              <a:buFont typeface="Arial" panose="020B0604020202020204" pitchFamily="34" charset="0"/>
              <a:buChar char="•"/>
            </a:pPr>
            <a:r>
              <a:rPr lang="de-DE" sz="1600" b="0" dirty="0" err="1" smtClean="0">
                <a:solidFill>
                  <a:schemeClr val="tx1"/>
                </a:solidFill>
              </a:rPr>
              <a:t>Adjusted</a:t>
            </a:r>
            <a:r>
              <a:rPr lang="de-DE" sz="1600" b="0" dirty="0" smtClean="0">
                <a:solidFill>
                  <a:schemeClr val="tx1"/>
                </a:solidFill>
              </a:rPr>
              <a:t> </a:t>
            </a:r>
            <a:r>
              <a:rPr lang="de-DE" sz="1600" b="0" dirty="0" err="1" smtClean="0">
                <a:solidFill>
                  <a:schemeClr val="tx1"/>
                </a:solidFill>
              </a:rPr>
              <a:t>if</a:t>
            </a:r>
            <a:r>
              <a:rPr lang="de-DE" sz="1600" b="0" dirty="0" smtClean="0">
                <a:solidFill>
                  <a:schemeClr val="tx1"/>
                </a:solidFill>
              </a:rPr>
              <a:t> </a:t>
            </a:r>
            <a:r>
              <a:rPr lang="de-DE" sz="1600" b="0" dirty="0" err="1" smtClean="0">
                <a:solidFill>
                  <a:schemeClr val="tx1"/>
                </a:solidFill>
              </a:rPr>
              <a:t>cold</a:t>
            </a:r>
            <a:r>
              <a:rPr lang="de-DE" sz="1600" b="0" dirty="0" smtClean="0">
                <a:solidFill>
                  <a:schemeClr val="tx1"/>
                </a:solidFill>
              </a:rPr>
              <a:t> </a:t>
            </a:r>
            <a:r>
              <a:rPr lang="de-DE" sz="1600" b="0" dirty="0" err="1" smtClean="0">
                <a:solidFill>
                  <a:schemeClr val="tx1"/>
                </a:solidFill>
              </a:rPr>
              <a:t>start</a:t>
            </a:r>
            <a:r>
              <a:rPr lang="de-DE" sz="1600" b="0" dirty="0" smtClean="0">
                <a:solidFill>
                  <a:schemeClr val="tx1"/>
                </a:solidFill>
              </a:rPr>
              <a:t> will </a:t>
            </a:r>
            <a:r>
              <a:rPr lang="de-DE" sz="1600" b="0" dirty="0" err="1" smtClean="0">
                <a:solidFill>
                  <a:schemeClr val="tx1"/>
                </a:solidFill>
              </a:rPr>
              <a:t>be</a:t>
            </a:r>
            <a:r>
              <a:rPr lang="de-DE" sz="1600" b="0" dirty="0" smtClean="0">
                <a:solidFill>
                  <a:schemeClr val="tx1"/>
                </a:solidFill>
              </a:rPr>
              <a:t> </a:t>
            </a:r>
            <a:r>
              <a:rPr lang="de-DE" sz="1600" b="0" dirty="0" err="1" smtClean="0">
                <a:solidFill>
                  <a:schemeClr val="tx1"/>
                </a:solidFill>
              </a:rPr>
              <a:t>included</a:t>
            </a:r>
            <a:endParaRPr lang="de-DE" sz="1600" b="0" dirty="0">
              <a:solidFill>
                <a:schemeClr val="tx1"/>
              </a:solidFill>
            </a:endParaRPr>
          </a:p>
        </p:txBody>
      </p:sp>
      <p:sp>
        <p:nvSpPr>
          <p:cNvPr id="13" name="Titel 1"/>
          <p:cNvSpPr txBox="1">
            <a:spLocks/>
          </p:cNvSpPr>
          <p:nvPr/>
        </p:nvSpPr>
        <p:spPr bwMode="auto">
          <a:xfrm>
            <a:off x="990600" y="4139952"/>
            <a:ext cx="7772400" cy="285750"/>
          </a:xfrm>
          <a:prstGeom prst="rect">
            <a:avLst/>
          </a:prstGeom>
          <a:solidFill>
            <a:srgbClr val="DDDDD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336699"/>
                </a:solidFill>
                <a:latin typeface="+mj-lt"/>
                <a:ea typeface="ＭＳ Ｐゴシック" pitchFamily="50" charset="-128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336699"/>
                </a:solidFill>
                <a:latin typeface="Verdana" charset="0"/>
                <a:ea typeface="ＭＳ Ｐゴシック" pitchFamily="50" charset="-128"/>
                <a:cs typeface="Times New Roman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336699"/>
                </a:solidFill>
                <a:latin typeface="Verdana" charset="0"/>
                <a:ea typeface="ＭＳ Ｐゴシック" pitchFamily="50" charset="-128"/>
                <a:cs typeface="Times New Roman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336699"/>
                </a:solidFill>
                <a:latin typeface="Verdana" charset="0"/>
                <a:ea typeface="ＭＳ Ｐゴシック" pitchFamily="50" charset="-128"/>
                <a:cs typeface="Times New Roman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336699"/>
                </a:solidFill>
                <a:latin typeface="Verdana" charset="0"/>
                <a:ea typeface="ＭＳ Ｐゴシック" pitchFamily="50" charset="-128"/>
                <a:cs typeface="Times New Roman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336699"/>
                </a:solidFill>
                <a:latin typeface="Verdana" charset="0"/>
                <a:ea typeface="ＭＳ Ｐゴシック" charset="0"/>
                <a:cs typeface="Times New Roman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336699"/>
                </a:solidFill>
                <a:latin typeface="Verdana" charset="0"/>
                <a:ea typeface="ＭＳ Ｐゴシック" charset="0"/>
                <a:cs typeface="Times New Roman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336699"/>
                </a:solidFill>
                <a:latin typeface="Verdana" charset="0"/>
                <a:ea typeface="ＭＳ Ｐゴシック" charset="0"/>
                <a:cs typeface="Times New Roman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336699"/>
                </a:solidFill>
                <a:latin typeface="Verdana" charset="0"/>
                <a:ea typeface="ＭＳ Ｐゴシック" charset="0"/>
                <a:cs typeface="Times New Roman" charset="0"/>
              </a:defRPr>
            </a:lvl9pPr>
          </a:lstStyle>
          <a:p>
            <a:pPr algn="l"/>
            <a:r>
              <a:rPr lang="de-DE" sz="1800" kern="0" dirty="0" smtClean="0"/>
              <a:t>Package 2 </a:t>
            </a:r>
            <a:r>
              <a:rPr lang="de-DE" sz="1800" kern="0" dirty="0" err="1" smtClean="0"/>
              <a:t>for</a:t>
            </a:r>
            <a:r>
              <a:rPr lang="de-DE" sz="1800" kern="0" dirty="0" smtClean="0"/>
              <a:t> TCMV 5/2015</a:t>
            </a:r>
            <a:endParaRPr lang="en-US" sz="1800" kern="0" dirty="0"/>
          </a:p>
        </p:txBody>
      </p:sp>
      <p:sp>
        <p:nvSpPr>
          <p:cNvPr id="14" name="Titel 1"/>
          <p:cNvSpPr txBox="1">
            <a:spLocks/>
          </p:cNvSpPr>
          <p:nvPr/>
        </p:nvSpPr>
        <p:spPr bwMode="auto">
          <a:xfrm>
            <a:off x="1045076" y="5334000"/>
            <a:ext cx="7772400" cy="285750"/>
          </a:xfrm>
          <a:prstGeom prst="rect">
            <a:avLst/>
          </a:prstGeom>
          <a:solidFill>
            <a:srgbClr val="DDDDD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336699"/>
                </a:solidFill>
                <a:latin typeface="+mj-lt"/>
                <a:ea typeface="ＭＳ Ｐゴシック" pitchFamily="50" charset="-128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336699"/>
                </a:solidFill>
                <a:latin typeface="Verdana" charset="0"/>
                <a:ea typeface="ＭＳ Ｐゴシック" pitchFamily="50" charset="-128"/>
                <a:cs typeface="Times New Roman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336699"/>
                </a:solidFill>
                <a:latin typeface="Verdana" charset="0"/>
                <a:ea typeface="ＭＳ Ｐゴシック" pitchFamily="50" charset="-128"/>
                <a:cs typeface="Times New Roman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336699"/>
                </a:solidFill>
                <a:latin typeface="Verdana" charset="0"/>
                <a:ea typeface="ＭＳ Ｐゴシック" pitchFamily="50" charset="-128"/>
                <a:cs typeface="Times New Roman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336699"/>
                </a:solidFill>
                <a:latin typeface="Verdana" charset="0"/>
                <a:ea typeface="ＭＳ Ｐゴシック" pitchFamily="50" charset="-128"/>
                <a:cs typeface="Times New Roman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336699"/>
                </a:solidFill>
                <a:latin typeface="Verdana" charset="0"/>
                <a:ea typeface="ＭＳ Ｐゴシック" charset="0"/>
                <a:cs typeface="Times New Roman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336699"/>
                </a:solidFill>
                <a:latin typeface="Verdana" charset="0"/>
                <a:ea typeface="ＭＳ Ｐゴシック" charset="0"/>
                <a:cs typeface="Times New Roman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336699"/>
                </a:solidFill>
                <a:latin typeface="Verdana" charset="0"/>
                <a:ea typeface="ＭＳ Ｐゴシック" charset="0"/>
                <a:cs typeface="Times New Roman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336699"/>
                </a:solidFill>
                <a:latin typeface="Verdana" charset="0"/>
                <a:ea typeface="ＭＳ Ｐゴシック" charset="0"/>
                <a:cs typeface="Times New Roman" charset="0"/>
              </a:defRPr>
            </a:lvl9pPr>
          </a:lstStyle>
          <a:p>
            <a:pPr algn="l"/>
            <a:r>
              <a:rPr lang="de-DE" sz="1800" kern="0" dirty="0" smtClean="0"/>
              <a:t>Package 3 </a:t>
            </a:r>
            <a:r>
              <a:rPr lang="de-DE" sz="1800" kern="0" dirty="0" err="1" smtClean="0"/>
              <a:t>for</a:t>
            </a:r>
            <a:r>
              <a:rPr lang="de-DE" sz="1800" kern="0" dirty="0" smtClean="0"/>
              <a:t> TCMV End/2015</a:t>
            </a:r>
            <a:endParaRPr lang="en-US" sz="1800" kern="0" dirty="0"/>
          </a:p>
        </p:txBody>
      </p:sp>
    </p:spTree>
    <p:extLst>
      <p:ext uri="{BB962C8B-B14F-4D97-AF65-F5344CB8AC3E}">
        <p14:creationId xmlns:p14="http://schemas.microsoft.com/office/powerpoint/2010/main" val="33582766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qyelCRVUmBF_s8NNuxe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qyelCRVUmBF_s8NNuxe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qyelCRVUmBF_s8NNuxeQ"/>
</p:tagLst>
</file>

<file path=ppt/theme/theme1.xml><?xml version="1.0" encoding="utf-8"?>
<a:theme xmlns:a="http://schemas.openxmlformats.org/drawingml/2006/main" name="Default Design">
  <a:themeElements>
    <a:clrScheme name="Benutzerdefiniert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00B0F0"/>
      </a:hlink>
      <a:folHlink>
        <a:srgbClr val="B2B2B2"/>
      </a:folHlink>
    </a:clrScheme>
    <a:fontScheme name="Default Design">
      <a:majorFont>
        <a:latin typeface="Verdana"/>
        <a:ea typeface="ＭＳ Ｐゴシック"/>
        <a:cs typeface="Times New Roman"/>
      </a:majorFont>
      <a:minorFont>
        <a:latin typeface="Verdana"/>
        <a:ea typeface="ＭＳ Ｐゴシック"/>
        <a:cs typeface="Times New Roma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DDDDDD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200" b="1" i="0" u="none" strike="noStrike" cap="none" normalizeH="0" baseline="0">
            <a:ln>
              <a:noFill/>
            </a:ln>
            <a:solidFill>
              <a:srgbClr val="336699"/>
            </a:solidFill>
            <a:effectLst/>
            <a:latin typeface="Verdana" charset="0"/>
            <a:ea typeface="ＭＳ Ｐゴシック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DDDDDD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200" b="1" i="0" u="none" strike="noStrike" cap="none" normalizeH="0" baseline="0">
            <a:ln>
              <a:noFill/>
            </a:ln>
            <a:solidFill>
              <a:srgbClr val="336699"/>
            </a:solidFill>
            <a:effectLst/>
            <a:latin typeface="Verdana" charset="0"/>
            <a:ea typeface="ＭＳ Ｐゴシック" charset="0"/>
            <a:cs typeface="Arial" charset="0"/>
          </a:defRPr>
        </a:defPPr>
      </a:lstStyle>
    </a:lnDef>
    <a:txDef>
      <a:spPr>
        <a:noFill/>
      </a:spPr>
      <a:bodyPr wrap="square" rtlCol="0">
        <a:spAutoFit/>
      </a:bodyPr>
      <a:lstStyle>
        <a:defPPr>
          <a:defRPr sz="1000" b="0" dirty="0" smtClean="0"/>
        </a:defPPr>
      </a:lstStyle>
    </a:tx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Override1.xml><?xml version="1.0" encoding="utf-8"?>
<a:themeOverride xmlns:a="http://schemas.openxmlformats.org/drawingml/2006/main">
  <a:clrScheme name="Larissa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Larissa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5731</Words>
  <Application>Microsoft Office PowerPoint</Application>
  <PresentationFormat>Bildschirmpräsentation (4:3)</PresentationFormat>
  <Paragraphs>1823</Paragraphs>
  <Slides>25</Slides>
  <Notes>2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25</vt:i4>
      </vt:variant>
    </vt:vector>
  </HeadingPairs>
  <TitlesOfParts>
    <vt:vector size="26" baseType="lpstr">
      <vt:lpstr>Default Design</vt:lpstr>
      <vt:lpstr>PowerPoint-Präsentation</vt:lpstr>
      <vt:lpstr>Infos</vt:lpstr>
      <vt:lpstr>Current ACEA walk out position is C3</vt:lpstr>
      <vt:lpstr>Conclusion of ACEA compromise Version A ??</vt:lpstr>
      <vt:lpstr>Possible Packages / ACEA position</vt:lpstr>
      <vt:lpstr>Possible Packages / ACEA position</vt:lpstr>
      <vt:lpstr>Possible Packages / ACEA position</vt:lpstr>
      <vt:lpstr>Next steps</vt:lpstr>
      <vt:lpstr>Recommendation  ???</vt:lpstr>
      <vt:lpstr>Conclusion of ACEA compromise Version B ??</vt:lpstr>
      <vt:lpstr>ACEA RDE Roadshow Part 2</vt:lpstr>
      <vt:lpstr>   Current Diesel Threats </vt:lpstr>
      <vt:lpstr>Possible EU COM timeline for the development of RDE legislation</vt:lpstr>
      <vt:lpstr>ACEA Action Plan</vt:lpstr>
      <vt:lpstr>ACEA Action Plan</vt:lpstr>
      <vt:lpstr>   Timeline to get RDE Road Show Part 2 presentation agreed by WGAE</vt:lpstr>
      <vt:lpstr>   Current Diesel Threats </vt:lpstr>
      <vt:lpstr>Thinkable rating of ACEA RDE compromise in  the view of EU COM &amp; MS</vt:lpstr>
      <vt:lpstr>Thinkable rating of ACEA RDE compromise in  the view of EU COM &amp; MS</vt:lpstr>
      <vt:lpstr>Decision Template  "Negotiationparameter” (3/5)</vt:lpstr>
      <vt:lpstr>Decision Template  "Negotiationparameter” (4/5)</vt:lpstr>
      <vt:lpstr>Decision Template  "Negotiationparameter” (5/5)</vt:lpstr>
      <vt:lpstr>Sub-Group  CF’s Argumentation Presentation</vt:lpstr>
      <vt:lpstr>Annex</vt:lpstr>
      <vt:lpstr>Influencing Boundary Conditions</vt:lpstr>
    </vt:vector>
  </TitlesOfParts>
  <LinksUpToDate>false</LinksUpToDate>
  <SharedDoc>false</SharedDoc>
  <HyperlinkBase/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4-03-27T15:04:34Z</dcterms:created>
  <dcterms:modified xsi:type="dcterms:W3CDTF">2016-02-01T11:16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</Properties>
</file>